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  <p:sldMasterId id="2147483684" r:id="rId5"/>
    <p:sldMasterId id="2147483697" r:id="rId6"/>
  </p:sldMasterIdLst>
  <p:notesMasterIdLst>
    <p:notesMasterId r:id="rId15"/>
  </p:notesMasterIdLst>
  <p:sldIdLst>
    <p:sldId id="256" r:id="rId7"/>
    <p:sldId id="1273" r:id="rId8"/>
    <p:sldId id="260" r:id="rId9"/>
    <p:sldId id="1271" r:id="rId10"/>
    <p:sldId id="2134805331" r:id="rId11"/>
    <p:sldId id="2134805332" r:id="rId12"/>
    <p:sldId id="2134805333" r:id="rId13"/>
    <p:sldId id="305" r:id="rId14"/>
  </p:sldIdLst>
  <p:sldSz cx="12192000" cy="6858000"/>
  <p:notesSz cx="7104063" cy="102346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8B7C98-8EDC-4EB8-AB22-619DE073BAF5}" v="2" dt="2021-03-18T18:04:51.089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25" autoAdjust="0"/>
    <p:restoredTop sz="92029" autoAdjust="0"/>
  </p:normalViewPr>
  <p:slideViewPr>
    <p:cSldViewPr snapToGrid="0">
      <p:cViewPr varScale="1">
        <p:scale>
          <a:sx n="119" d="100"/>
          <a:sy n="119" d="100"/>
        </p:scale>
        <p:origin x="96" y="3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3508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/>
            </a:lvl1pPr>
          </a:lstStyle>
          <a:p>
            <a:fld id="{9378A75F-2924-419E-A2B9-0B6F81294D43}" type="datetimeFigureOut">
              <a:rPr lang="zh-CN" altLang="en-US" smtClean="0"/>
              <a:t>2022/9/22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8863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407" y="4925407"/>
            <a:ext cx="5683250" cy="4029879"/>
          </a:xfrm>
          <a:prstGeom prst="rect">
            <a:avLst/>
          </a:prstGeom>
        </p:spPr>
        <p:txBody>
          <a:bodyPr vert="horz" lIns="99075" tIns="49538" rIns="99075" bIns="49538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二级</a:t>
            </a:r>
          </a:p>
          <a:p>
            <a:pPr lvl="2"/>
            <a:r>
              <a:rPr lang="zh-CN" altLang="en-US"/>
              <a:t>三级</a:t>
            </a:r>
          </a:p>
          <a:p>
            <a:pPr lvl="3"/>
            <a:r>
              <a:rPr lang="zh-CN" altLang="en-US"/>
              <a:t>四级</a:t>
            </a:r>
          </a:p>
          <a:p>
            <a:pPr lvl="4"/>
            <a:r>
              <a:rPr lang="zh-CN" altLang="en-US"/>
              <a:t>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992" y="9721107"/>
            <a:ext cx="3078427" cy="513507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/>
            </a:lvl1pPr>
          </a:lstStyle>
          <a:p>
            <a:fld id="{245FDEC2-DF3E-4D08-A694-69CAF3C42812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10742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>
          <a:xfrm>
            <a:off x="482600" y="1279525"/>
            <a:ext cx="6138863" cy="3454400"/>
          </a:xfrm>
        </p:spPr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5FDEC2-DF3E-4D08-A694-69CAF3C42812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5342845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65138" y="612775"/>
            <a:ext cx="6121400" cy="34448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729738" y="4911784"/>
            <a:ext cx="5592032" cy="184030"/>
          </a:xfrm>
        </p:spPr>
        <p:txBody>
          <a:bodyPr/>
          <a:lstStyle/>
          <a:p>
            <a:r>
              <a:rPr lang="en-IE" dirty="0"/>
              <a:t>Good morning to all of you. At the onset let me hope that you are all well, and thank you all for giving me this opportunity.</a:t>
            </a:r>
          </a:p>
          <a:p>
            <a:endParaRPr lang="en-IE" dirty="0"/>
          </a:p>
          <a:p>
            <a:r>
              <a:rPr lang="en-IE" dirty="0"/>
              <a:t>My name is Sameer Pujari and over the last 20 years I have spent and earned my career working on my passion to make an impact in the development agenda through data</a:t>
            </a:r>
          </a:p>
          <a:p>
            <a:endParaRPr lang="en-IE" dirty="0"/>
          </a:p>
          <a:p>
            <a:r>
              <a:rPr lang="en-IE" dirty="0"/>
              <a:t>I started my career with WHO in India working on Polio eradication program where I established information systems and streamlined data flows for 300 field offices during the peak of the polio eradication efforts in India. A system that is still being used</a:t>
            </a:r>
          </a:p>
          <a:p>
            <a:r>
              <a:rPr lang="en-IE" dirty="0"/>
              <a:t>I then took my learnings and experience to deliver data flows and information systems for EPI programs in African region </a:t>
            </a:r>
            <a:r>
              <a:rPr lang="en-IE" dirty="0" err="1"/>
              <a:t>region</a:t>
            </a:r>
            <a:r>
              <a:rPr lang="en-IE" dirty="0"/>
              <a:t> which was then followed by my work to setup the surveillance and reporting systems for tobacco control at the Global level. Working with WHO HQ.</a:t>
            </a:r>
          </a:p>
          <a:p>
            <a:endParaRPr lang="en-IE" dirty="0"/>
          </a:p>
          <a:p>
            <a:r>
              <a:rPr lang="en-IE" dirty="0"/>
              <a:t>Across these different portfolio’s and my passion for data systems : I have led designing and implementation of various streamlined data flows at various levels of WHO. And through the different stages of data collection, storage, processing and presentation. </a:t>
            </a:r>
          </a:p>
          <a:p>
            <a:endParaRPr lang="en-IE" dirty="0"/>
          </a:p>
          <a:p>
            <a:r>
              <a:rPr lang="en-IE" dirty="0"/>
              <a:t>I am setting this stage as I will use a few of these examples in my presentation</a:t>
            </a:r>
          </a:p>
          <a:p>
            <a:endParaRPr lang="en-IE" dirty="0"/>
          </a:p>
          <a:p>
            <a:endParaRPr lang="en-IE" dirty="0"/>
          </a:p>
          <a:p>
            <a:r>
              <a:rPr lang="en-IE" dirty="0"/>
              <a:t>As I wont be able to share slides through this recording, I will mention the slide change and the slide number I am referring so you can follow in sync. </a:t>
            </a:r>
          </a:p>
          <a:p>
            <a:endParaRPr lang="en-IE" dirty="0"/>
          </a:p>
          <a:p>
            <a:endParaRPr lang="en-I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E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Notes view: </a:t>
            </a:r>
            <a:fld id="{128CEAFE-FA94-43E5-B0FF-D47E1CCDD1B4}" type="slidenum">
              <a:rPr kumimoji="0" lang="en-IE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IE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306414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32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06F5C73-AA30-468A-9687-6DBD6F564E34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327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42366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5.xml"/><Relationship Id="rId10" Type="http://schemas.openxmlformats.org/officeDocument/2006/relationships/image" Target="../media/image3.png"/><Relationship Id="rId4" Type="http://schemas.openxmlformats.org/officeDocument/2006/relationships/tags" Target="../tags/tag4.xml"/><Relationship Id="rId9" Type="http://schemas.openxmlformats.org/officeDocument/2006/relationships/image" Target="../media/image2.emf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2/9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67443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2/9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2228989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2/9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866932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420283"/>
            <a:ext cx="5181600" cy="98001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914400" y="2590800"/>
            <a:ext cx="4267200" cy="11684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048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096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14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192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240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288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337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385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0727075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538506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1542" y="2937934"/>
            <a:ext cx="5181600" cy="908050"/>
          </a:xfrm>
        </p:spPr>
        <p:txBody>
          <a:bodyPr anchor="t"/>
          <a:lstStyle>
            <a:lvl1pPr algn="l">
              <a:defRPr sz="2667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81542" y="1937809"/>
            <a:ext cx="5181600" cy="1000125"/>
          </a:xfrm>
        </p:spPr>
        <p:txBody>
          <a:bodyPr anchor="b"/>
          <a:lstStyle>
            <a:lvl1pPr marL="0" indent="0">
              <a:buNone/>
              <a:defRPr sz="1333">
                <a:solidFill>
                  <a:schemeClr val="tx1">
                    <a:tint val="75000"/>
                  </a:schemeClr>
                </a:solidFill>
              </a:defRPr>
            </a:lvl1pPr>
            <a:lvl2pPr marL="30481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09630" indent="0">
              <a:buNone/>
              <a:defRPr sz="1067">
                <a:solidFill>
                  <a:schemeClr val="tx1">
                    <a:tint val="75000"/>
                  </a:schemeClr>
                </a:solidFill>
              </a:defRPr>
            </a:lvl3pPr>
            <a:lvl4pPr marL="91444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4pPr>
            <a:lvl5pPr marL="121926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5pPr>
            <a:lvl6pPr marL="1524076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6pPr>
            <a:lvl7pPr marL="1828891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7pPr>
            <a:lvl8pPr marL="2133707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8pPr>
            <a:lvl9pPr marL="2438522" indent="0">
              <a:buNone/>
              <a:defRPr sz="933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387197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4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98800" y="1066800"/>
            <a:ext cx="2692400" cy="3017309"/>
          </a:xfrm>
        </p:spPr>
        <p:txBody>
          <a:bodyPr/>
          <a:lstStyle>
            <a:lvl1pPr>
              <a:defRPr sz="1867"/>
            </a:lvl1pPr>
            <a:lvl2pPr>
              <a:defRPr sz="1600"/>
            </a:lvl2pPr>
            <a:lvl3pPr>
              <a:defRPr sz="1333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8664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23409"/>
            <a:ext cx="2693459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04800" y="1449917"/>
            <a:ext cx="2693459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096684" y="1023409"/>
            <a:ext cx="2694517" cy="426508"/>
          </a:xfrm>
        </p:spPr>
        <p:txBody>
          <a:bodyPr anchor="b"/>
          <a:lstStyle>
            <a:lvl1pPr marL="0" indent="0">
              <a:buNone/>
              <a:defRPr sz="1600" b="1"/>
            </a:lvl1pPr>
            <a:lvl2pPr marL="304815" indent="0">
              <a:buNone/>
              <a:defRPr sz="1333" b="1"/>
            </a:lvl2pPr>
            <a:lvl3pPr marL="609630" indent="0">
              <a:buNone/>
              <a:defRPr sz="1200" b="1"/>
            </a:lvl3pPr>
            <a:lvl4pPr marL="914446" indent="0">
              <a:buNone/>
              <a:defRPr sz="1067" b="1"/>
            </a:lvl4pPr>
            <a:lvl5pPr marL="1219261" indent="0">
              <a:buNone/>
              <a:defRPr sz="1067" b="1"/>
            </a:lvl5pPr>
            <a:lvl6pPr marL="1524076" indent="0">
              <a:buNone/>
              <a:defRPr sz="1067" b="1"/>
            </a:lvl6pPr>
            <a:lvl7pPr marL="1828891" indent="0">
              <a:buNone/>
              <a:defRPr sz="1067" b="1"/>
            </a:lvl7pPr>
            <a:lvl8pPr marL="2133707" indent="0">
              <a:buNone/>
              <a:defRPr sz="1067" b="1"/>
            </a:lvl8pPr>
            <a:lvl9pPr marL="2438522" indent="0">
              <a:buNone/>
              <a:defRPr sz="1067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096684" y="1449917"/>
            <a:ext cx="2694517" cy="2634192"/>
          </a:xfrm>
        </p:spPr>
        <p:txBody>
          <a:bodyPr/>
          <a:lstStyle>
            <a:lvl1pPr>
              <a:defRPr sz="1600"/>
            </a:lvl1pPr>
            <a:lvl2pPr>
              <a:defRPr sz="1333"/>
            </a:lvl2pPr>
            <a:lvl3pPr>
              <a:defRPr sz="1200"/>
            </a:lvl3pPr>
            <a:lvl4pPr>
              <a:defRPr sz="1067"/>
            </a:lvl4pPr>
            <a:lvl5pPr>
              <a:defRPr sz="1067"/>
            </a:lvl5pPr>
            <a:lvl6pPr>
              <a:defRPr sz="1067"/>
            </a:lvl6pPr>
            <a:lvl7pPr>
              <a:defRPr sz="1067"/>
            </a:lvl7pPr>
            <a:lvl8pPr>
              <a:defRPr sz="1067"/>
            </a:lvl8pPr>
            <a:lvl9pPr>
              <a:defRPr sz="10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820123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76193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643403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0" y="182033"/>
            <a:ext cx="2005542" cy="774700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383367" y="182034"/>
            <a:ext cx="3407833" cy="3902075"/>
          </a:xfrm>
        </p:spPr>
        <p:txBody>
          <a:bodyPr/>
          <a:lstStyle>
            <a:lvl1pPr>
              <a:defRPr sz="2133"/>
            </a:lvl1pPr>
            <a:lvl2pPr>
              <a:defRPr sz="1867"/>
            </a:lvl2pPr>
            <a:lvl3pPr>
              <a:defRPr sz="1600"/>
            </a:lvl3pPr>
            <a:lvl4pPr>
              <a:defRPr sz="1333"/>
            </a:lvl4pPr>
            <a:lvl5pPr>
              <a:defRPr sz="1333"/>
            </a:lvl5pPr>
            <a:lvl6pPr>
              <a:defRPr sz="1333"/>
            </a:lvl6pPr>
            <a:lvl7pPr>
              <a:defRPr sz="1333"/>
            </a:lvl7pPr>
            <a:lvl8pPr>
              <a:defRPr sz="1333"/>
            </a:lvl8pPr>
            <a:lvl9pPr>
              <a:defRPr sz="13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304800" y="956734"/>
            <a:ext cx="2005542" cy="31273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63801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2/9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288388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94859" y="3200400"/>
            <a:ext cx="3657600" cy="377825"/>
          </a:xfrm>
        </p:spPr>
        <p:txBody>
          <a:bodyPr anchor="b"/>
          <a:lstStyle>
            <a:lvl1pPr algn="l">
              <a:defRPr sz="1333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194859" y="408517"/>
            <a:ext cx="3657600" cy="2743200"/>
          </a:xfrm>
        </p:spPr>
        <p:txBody>
          <a:bodyPr/>
          <a:lstStyle>
            <a:lvl1pPr marL="0" indent="0">
              <a:buNone/>
              <a:defRPr sz="2133"/>
            </a:lvl1pPr>
            <a:lvl2pPr marL="304815" indent="0">
              <a:buNone/>
              <a:defRPr sz="1867"/>
            </a:lvl2pPr>
            <a:lvl3pPr marL="609630" indent="0">
              <a:buNone/>
              <a:defRPr sz="1600"/>
            </a:lvl3pPr>
            <a:lvl4pPr marL="914446" indent="0">
              <a:buNone/>
              <a:defRPr sz="1333"/>
            </a:lvl4pPr>
            <a:lvl5pPr marL="1219261" indent="0">
              <a:buNone/>
              <a:defRPr sz="1333"/>
            </a:lvl5pPr>
            <a:lvl6pPr marL="1524076" indent="0">
              <a:buNone/>
              <a:defRPr sz="1333"/>
            </a:lvl6pPr>
            <a:lvl7pPr marL="1828891" indent="0">
              <a:buNone/>
              <a:defRPr sz="1333"/>
            </a:lvl7pPr>
            <a:lvl8pPr marL="2133707" indent="0">
              <a:buNone/>
              <a:defRPr sz="1333"/>
            </a:lvl8pPr>
            <a:lvl9pPr marL="2438522" indent="0">
              <a:buNone/>
              <a:defRPr sz="1333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194859" y="3578225"/>
            <a:ext cx="3657600" cy="536575"/>
          </a:xfrm>
        </p:spPr>
        <p:txBody>
          <a:bodyPr/>
          <a:lstStyle>
            <a:lvl1pPr marL="0" indent="0">
              <a:buNone/>
              <a:defRPr sz="933"/>
            </a:lvl1pPr>
            <a:lvl2pPr marL="304815" indent="0">
              <a:buNone/>
              <a:defRPr sz="800"/>
            </a:lvl2pPr>
            <a:lvl3pPr marL="609630" indent="0">
              <a:buNone/>
              <a:defRPr sz="667"/>
            </a:lvl3pPr>
            <a:lvl4pPr marL="914446" indent="0">
              <a:buNone/>
              <a:defRPr sz="600"/>
            </a:lvl4pPr>
            <a:lvl5pPr marL="1219261" indent="0">
              <a:buNone/>
              <a:defRPr sz="600"/>
            </a:lvl5pPr>
            <a:lvl6pPr marL="1524076" indent="0">
              <a:buNone/>
              <a:defRPr sz="600"/>
            </a:lvl6pPr>
            <a:lvl7pPr marL="1828891" indent="0">
              <a:buNone/>
              <a:defRPr sz="600"/>
            </a:lvl7pPr>
            <a:lvl8pPr marL="2133707" indent="0">
              <a:buNone/>
              <a:defRPr sz="600"/>
            </a:lvl8pPr>
            <a:lvl9pPr marL="2438522" indent="0">
              <a:buNone/>
              <a:defRPr sz="6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880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128258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419600" y="183092"/>
            <a:ext cx="1371600" cy="390101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304800" y="183092"/>
            <a:ext cx="4013200" cy="390101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8BD707-D9CF-40AE-B4C6-C98DA3205C09}" type="datetimeFigureOut">
              <a:rPr lang="en-US" smtClean="0"/>
              <a:pPr/>
              <a:t>9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835571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IE" sz="4400" b="0" i="0" baseline="0" dirty="0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2BCC509-1E6E-40BC-AA03-93F3B970C32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duotone>
              <a:prstClr val="black"/>
              <a:srgbClr val="7DDAF3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1571" t="15759" r="21330" b="5518"/>
          <a:stretch/>
        </p:blipFill>
        <p:spPr bwMode="ltGray">
          <a:xfrm>
            <a:off x="2" y="189590"/>
            <a:ext cx="3960124" cy="6668411"/>
          </a:xfrm>
          <a:custGeom>
            <a:avLst/>
            <a:gdLst>
              <a:gd name="connsiteX0" fmla="*/ 0 w 3960124"/>
              <a:gd name="connsiteY0" fmla="*/ 15822 h 6668411"/>
              <a:gd name="connsiteX1" fmla="*/ 1905001 w 3960124"/>
              <a:gd name="connsiteY1" fmla="*/ 15822 h 6668411"/>
              <a:gd name="connsiteX2" fmla="*/ 1905001 w 3960124"/>
              <a:gd name="connsiteY2" fmla="*/ 6668411 h 6668411"/>
              <a:gd name="connsiteX3" fmla="*/ 0 w 3960124"/>
              <a:gd name="connsiteY3" fmla="*/ 6668411 h 6668411"/>
              <a:gd name="connsiteX4" fmla="*/ 2438131 w 3960124"/>
              <a:gd name="connsiteY4" fmla="*/ 0 h 6668411"/>
              <a:gd name="connsiteX5" fmla="*/ 2422951 w 3960124"/>
              <a:gd name="connsiteY5" fmla="*/ 79922 h 6668411"/>
              <a:gd name="connsiteX6" fmla="*/ 3815509 w 3960124"/>
              <a:gd name="connsiteY6" fmla="*/ 6435006 h 6668411"/>
              <a:gd name="connsiteX7" fmla="*/ 3960124 w 3960124"/>
              <a:gd name="connsiteY7" fmla="*/ 6668410 h 6668411"/>
              <a:gd name="connsiteX8" fmla="*/ 1905003 w 3960124"/>
              <a:gd name="connsiteY8" fmla="*/ 6668410 h 6668411"/>
              <a:gd name="connsiteX9" fmla="*/ 1905003 w 3960124"/>
              <a:gd name="connsiteY9" fmla="*/ 13787 h 66684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3960124" h="6668411">
                <a:moveTo>
                  <a:pt x="0" y="15822"/>
                </a:moveTo>
                <a:lnTo>
                  <a:pt x="1905001" y="15822"/>
                </a:lnTo>
                <a:lnTo>
                  <a:pt x="1905001" y="6668411"/>
                </a:lnTo>
                <a:lnTo>
                  <a:pt x="0" y="6668411"/>
                </a:lnTo>
                <a:close/>
                <a:moveTo>
                  <a:pt x="2438131" y="0"/>
                </a:moveTo>
                <a:lnTo>
                  <a:pt x="2422951" y="79922"/>
                </a:lnTo>
                <a:cubicBezTo>
                  <a:pt x="2068968" y="2080041"/>
                  <a:pt x="2413004" y="4118302"/>
                  <a:pt x="3815509" y="6435006"/>
                </a:cubicBezTo>
                <a:lnTo>
                  <a:pt x="3960124" y="6668410"/>
                </a:lnTo>
                <a:lnTo>
                  <a:pt x="1905003" y="6668410"/>
                </a:lnTo>
                <a:lnTo>
                  <a:pt x="1905003" y="13787"/>
                </a:lnTo>
                <a:close/>
              </a:path>
            </a:pathLst>
          </a:custGeom>
          <a:solidFill>
            <a:srgbClr val="4F81BD"/>
          </a:solidFill>
          <a:ln>
            <a:noFill/>
          </a:ln>
        </p:spPr>
      </p:pic>
      <p:sp>
        <p:nvSpPr>
          <p:cNvPr id="18" name="Freeform 17">
            <a:extLst>
              <a:ext uri="{FF2B5EF4-FFF2-40B4-BE49-F238E27FC236}">
                <a16:creationId xmlns:a16="http://schemas.microsoft.com/office/drawing/2014/main" id="{A2ADF2A4-8A14-44FC-81DE-3AED9B5FCA02}"/>
              </a:ext>
            </a:extLst>
          </p:cNvPr>
          <p:cNvSpPr/>
          <p:nvPr/>
        </p:nvSpPr>
        <p:spPr bwMode="ltGray">
          <a:xfrm>
            <a:off x="0" y="-2"/>
            <a:ext cx="2475358" cy="205413"/>
          </a:xfrm>
          <a:custGeom>
            <a:avLst/>
            <a:gdLst>
              <a:gd name="connsiteX0" fmla="*/ 1905002 w 2475358"/>
              <a:gd name="connsiteY0" fmla="*/ 1 h 205413"/>
              <a:gd name="connsiteX1" fmla="*/ 2475358 w 2475358"/>
              <a:gd name="connsiteY1" fmla="*/ 1 h 205413"/>
              <a:gd name="connsiteX2" fmla="*/ 2465136 w 2475358"/>
              <a:gd name="connsiteY2" fmla="*/ 47898 h 205413"/>
              <a:gd name="connsiteX3" fmla="*/ 2438131 w 2475358"/>
              <a:gd name="connsiteY3" fmla="*/ 191488 h 205413"/>
              <a:gd name="connsiteX4" fmla="*/ 1905002 w 2475358"/>
              <a:gd name="connsiteY4" fmla="*/ 205413 h 205413"/>
              <a:gd name="connsiteX5" fmla="*/ 0 w 2475358"/>
              <a:gd name="connsiteY5" fmla="*/ 0 h 205413"/>
              <a:gd name="connsiteX6" fmla="*/ 1905001 w 2475358"/>
              <a:gd name="connsiteY6" fmla="*/ 0 h 205413"/>
              <a:gd name="connsiteX7" fmla="*/ 1905001 w 2475358"/>
              <a:gd name="connsiteY7" fmla="*/ 205413 h 205413"/>
              <a:gd name="connsiteX8" fmla="*/ 0 w 2475358"/>
              <a:gd name="connsiteY8" fmla="*/ 205413 h 2054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475358" h="205413">
                <a:moveTo>
                  <a:pt x="1905002" y="1"/>
                </a:moveTo>
                <a:lnTo>
                  <a:pt x="2475358" y="1"/>
                </a:lnTo>
                <a:lnTo>
                  <a:pt x="2465136" y="47898"/>
                </a:lnTo>
                <a:lnTo>
                  <a:pt x="2438131" y="191488"/>
                </a:lnTo>
                <a:lnTo>
                  <a:pt x="1905002" y="205413"/>
                </a:lnTo>
                <a:close/>
                <a:moveTo>
                  <a:pt x="0" y="0"/>
                </a:moveTo>
                <a:lnTo>
                  <a:pt x="1905001" y="0"/>
                </a:lnTo>
                <a:lnTo>
                  <a:pt x="1905001" y="205413"/>
                </a:lnTo>
                <a:lnTo>
                  <a:pt x="0" y="205413"/>
                </a:lnTo>
                <a:close/>
              </a:path>
            </a:pathLst>
          </a:custGeom>
          <a:solidFill>
            <a:srgbClr val="004A99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4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1632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eform 18">
            <a:extLst>
              <a:ext uri="{FF2B5EF4-FFF2-40B4-BE49-F238E27FC236}">
                <a16:creationId xmlns:a16="http://schemas.microsoft.com/office/drawing/2014/main" id="{24AAC4B1-E577-4B69-BDB1-6F93914ED355}"/>
              </a:ext>
            </a:extLst>
          </p:cNvPr>
          <p:cNvSpPr/>
          <p:nvPr/>
        </p:nvSpPr>
        <p:spPr bwMode="ltGray">
          <a:xfrm rot="16200000" flipH="1" flipV="1">
            <a:off x="-129969" y="2575671"/>
            <a:ext cx="6674807" cy="1889853"/>
          </a:xfrm>
          <a:custGeom>
            <a:avLst/>
            <a:gdLst>
              <a:gd name="connsiteX0" fmla="*/ 1904026 w 8899742"/>
              <a:gd name="connsiteY0" fmla="*/ 2518940 h 2519803"/>
              <a:gd name="connsiteX1" fmla="*/ 115093 w 8899742"/>
              <a:gd name="connsiteY1" fmla="*/ 2347443 h 2519803"/>
              <a:gd name="connsiteX2" fmla="*/ 8530 w 8899742"/>
              <a:gd name="connsiteY2" fmla="*/ 2327202 h 2519803"/>
              <a:gd name="connsiteX3" fmla="*/ 0 w 8899742"/>
              <a:gd name="connsiteY3" fmla="*/ 1997387 h 2519803"/>
              <a:gd name="connsiteX4" fmla="*/ 8870941 w 8899742"/>
              <a:gd name="connsiteY4" fmla="*/ 19461 h 2519803"/>
              <a:gd name="connsiteX5" fmla="*/ 8899742 w 8899742"/>
              <a:gd name="connsiteY5" fmla="*/ 0 h 2519803"/>
              <a:gd name="connsiteX6" fmla="*/ 8899742 w 8899742"/>
              <a:gd name="connsiteY6" fmla="*/ 297879 h 2519803"/>
              <a:gd name="connsiteX7" fmla="*/ 8588537 w 8899742"/>
              <a:gd name="connsiteY7" fmla="*/ 490699 h 2519803"/>
              <a:gd name="connsiteX8" fmla="*/ 1904026 w 8899742"/>
              <a:gd name="connsiteY8" fmla="*/ 2518940 h 25198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899742" h="2519803">
                <a:moveTo>
                  <a:pt x="1904026" y="2518940"/>
                </a:moveTo>
                <a:cubicBezTo>
                  <a:pt x="1302860" y="2511250"/>
                  <a:pt x="707721" y="2452327"/>
                  <a:pt x="115093" y="2347443"/>
                </a:cubicBezTo>
                <a:lnTo>
                  <a:pt x="8530" y="2327202"/>
                </a:lnTo>
                <a:lnTo>
                  <a:pt x="0" y="1997387"/>
                </a:lnTo>
                <a:cubicBezTo>
                  <a:pt x="2777524" y="2631185"/>
                  <a:pt x="5587553" y="2192303"/>
                  <a:pt x="8870941" y="19461"/>
                </a:cubicBezTo>
                <a:lnTo>
                  <a:pt x="8899742" y="0"/>
                </a:lnTo>
                <a:lnTo>
                  <a:pt x="8899742" y="297879"/>
                </a:lnTo>
                <a:lnTo>
                  <a:pt x="8588537" y="490699"/>
                </a:lnTo>
                <a:cubicBezTo>
                  <a:pt x="6186029" y="1945148"/>
                  <a:pt x="4008109" y="2545853"/>
                  <a:pt x="1904026" y="2518940"/>
                </a:cubicBezTo>
                <a:close/>
              </a:path>
            </a:pathLst>
          </a:custGeom>
          <a:solidFill>
            <a:srgbClr val="018ECB">
              <a:alpha val="87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4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1632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eform 19">
            <a:extLst>
              <a:ext uri="{FF2B5EF4-FFF2-40B4-BE49-F238E27FC236}">
                <a16:creationId xmlns:a16="http://schemas.microsoft.com/office/drawing/2014/main" id="{B47BB94D-76B2-4250-B6AC-E88F67206AE5}"/>
              </a:ext>
            </a:extLst>
          </p:cNvPr>
          <p:cNvSpPr/>
          <p:nvPr/>
        </p:nvSpPr>
        <p:spPr bwMode="ltGray">
          <a:xfrm rot="16200000" flipH="1" flipV="1">
            <a:off x="-1354142" y="1543733"/>
            <a:ext cx="6668411" cy="3960124"/>
          </a:xfrm>
          <a:custGeom>
            <a:avLst/>
            <a:gdLst>
              <a:gd name="connsiteX0" fmla="*/ 15822 w 6668411"/>
              <a:gd name="connsiteY0" fmla="*/ 3960124 h 3960124"/>
              <a:gd name="connsiteX1" fmla="*/ 15822 w 6668411"/>
              <a:gd name="connsiteY1" fmla="*/ 2055123 h 3960124"/>
              <a:gd name="connsiteX2" fmla="*/ 6668411 w 6668411"/>
              <a:gd name="connsiteY2" fmla="*/ 2055123 h 3960124"/>
              <a:gd name="connsiteX3" fmla="*/ 6668411 w 6668411"/>
              <a:gd name="connsiteY3" fmla="*/ 3960124 h 3960124"/>
              <a:gd name="connsiteX4" fmla="*/ 0 w 6668411"/>
              <a:gd name="connsiteY4" fmla="*/ 1521993 h 3960124"/>
              <a:gd name="connsiteX5" fmla="*/ 79922 w 6668411"/>
              <a:gd name="connsiteY5" fmla="*/ 1537173 h 3960124"/>
              <a:gd name="connsiteX6" fmla="*/ 6435006 w 6668411"/>
              <a:gd name="connsiteY6" fmla="*/ 144615 h 3960124"/>
              <a:gd name="connsiteX7" fmla="*/ 6668410 w 6668411"/>
              <a:gd name="connsiteY7" fmla="*/ 0 h 3960124"/>
              <a:gd name="connsiteX8" fmla="*/ 6668410 w 6668411"/>
              <a:gd name="connsiteY8" fmla="*/ 2055121 h 3960124"/>
              <a:gd name="connsiteX9" fmla="*/ 13787 w 6668411"/>
              <a:gd name="connsiteY9" fmla="*/ 2055121 h 39601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668411" h="3960124">
                <a:moveTo>
                  <a:pt x="15822" y="3960124"/>
                </a:moveTo>
                <a:lnTo>
                  <a:pt x="15822" y="2055123"/>
                </a:lnTo>
                <a:lnTo>
                  <a:pt x="6668411" y="2055123"/>
                </a:lnTo>
                <a:lnTo>
                  <a:pt x="6668411" y="3960124"/>
                </a:lnTo>
                <a:close/>
                <a:moveTo>
                  <a:pt x="0" y="1521993"/>
                </a:moveTo>
                <a:lnTo>
                  <a:pt x="79922" y="1537173"/>
                </a:lnTo>
                <a:cubicBezTo>
                  <a:pt x="2080041" y="1891156"/>
                  <a:pt x="4118302" y="1547120"/>
                  <a:pt x="6435006" y="144615"/>
                </a:cubicBezTo>
                <a:lnTo>
                  <a:pt x="6668410" y="0"/>
                </a:lnTo>
                <a:lnTo>
                  <a:pt x="6668410" y="2055121"/>
                </a:lnTo>
                <a:lnTo>
                  <a:pt x="13787" y="2055121"/>
                </a:lnTo>
                <a:close/>
              </a:path>
            </a:pathLst>
          </a:custGeom>
          <a:solidFill>
            <a:srgbClr val="018ECB">
              <a:alpha val="87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46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IE" sz="1632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Documenttype">
            <a:extLst>
              <a:ext uri="{FF2B5EF4-FFF2-40B4-BE49-F238E27FC236}">
                <a16:creationId xmlns:a16="http://schemas.microsoft.com/office/drawing/2014/main" id="{310C2865-0002-4D04-9A08-A7507916E0DD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3"/>
            </p:custDataLst>
          </p:nvPr>
        </p:nvSpPr>
        <p:spPr>
          <a:xfrm>
            <a:off x="3802001" y="4726068"/>
            <a:ext cx="7832788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accent5"/>
                </a:solidFill>
              </a:defRPr>
            </a:lvl1pPr>
            <a:lvl2pPr marL="115894" indent="0">
              <a:buNone/>
              <a:defRPr>
                <a:solidFill>
                  <a:schemeClr val="bg1"/>
                </a:solidFill>
              </a:defRPr>
            </a:lvl2pPr>
            <a:lvl3pPr marL="466367" indent="0">
              <a:buNone/>
              <a:defRPr>
                <a:solidFill>
                  <a:schemeClr val="bg1"/>
                </a:solidFill>
              </a:defRPr>
            </a:lvl3pPr>
            <a:lvl4pPr marL="813857" indent="0">
              <a:buNone/>
              <a:defRPr>
                <a:solidFill>
                  <a:schemeClr val="bg1"/>
                </a:solidFill>
              </a:defRPr>
            </a:lvl4pPr>
            <a:lvl5pPr marL="1161346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IE"/>
              <a:t>Edit date or title/role</a:t>
            </a:r>
            <a:endParaRPr lang="en-IE" dirty="0"/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E7172286-520A-4D85-AC04-C8D9C6A46AFE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4"/>
            </p:custDataLst>
          </p:nvPr>
        </p:nvSpPr>
        <p:spPr>
          <a:xfrm>
            <a:off x="3802001" y="4269366"/>
            <a:ext cx="7832788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accent5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IE"/>
              <a:t>Click to edit Master subtitle style</a:t>
            </a:r>
            <a:endParaRPr lang="en-IE" dirty="0"/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0F432B6E-6ADC-479A-8A53-39454CDC7D93}"/>
              </a:ext>
            </a:extLst>
          </p:cNvPr>
          <p:cNvSpPr>
            <a:spLocks noGrp="1"/>
          </p:cNvSpPr>
          <p:nvPr userDrawn="1">
            <p:ph type="title"/>
            <p:custDataLst>
              <p:tags r:id="rId5"/>
            </p:custDataLst>
          </p:nvPr>
        </p:nvSpPr>
        <p:spPr>
          <a:xfrm>
            <a:off x="3802001" y="3202072"/>
            <a:ext cx="7832788" cy="769441"/>
          </a:xfrm>
          <a:prstGeom prst="rect">
            <a:avLst/>
          </a:prstGeom>
        </p:spPr>
        <p:txBody>
          <a:bodyPr anchor="b">
            <a:sp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accent1"/>
                </a:solidFill>
                <a:latin typeface="Georgia" panose="02040502050405020303" pitchFamily="18" charset="0"/>
              </a:defRPr>
            </a:lvl1pPr>
          </a:lstStyle>
          <a:p>
            <a:r>
              <a:rPr lang="en-IE"/>
              <a:t>Click to edit Master title style</a:t>
            </a:r>
            <a:endParaRPr lang="en-IE" dirty="0"/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50D7B681-7F8B-4037-9D71-342B504B7B1C}"/>
              </a:ext>
            </a:extLst>
          </p:cNvPr>
          <p:cNvCxnSpPr>
            <a:cxnSpLocks/>
          </p:cNvCxnSpPr>
          <p:nvPr userDrawn="1"/>
        </p:nvCxnSpPr>
        <p:spPr bwMode="ltGray">
          <a:xfrm flipH="1">
            <a:off x="3802001" y="4120439"/>
            <a:ext cx="7832788" cy="0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rgbClr val="7DDAF3">
                    <a:alpha val="0"/>
                  </a:srgbClr>
                </a:gs>
                <a:gs pos="56000">
                  <a:srgbClr val="7DDAF3"/>
                </a:gs>
              </a:gsLst>
              <a:lin ang="0" scaled="1"/>
              <a:tileRect/>
            </a:gradFill>
            <a:prstDash val="solid"/>
          </a:ln>
          <a:effectLst/>
        </p:spPr>
      </p:cxnSp>
      <p:pic>
        <p:nvPicPr>
          <p:cNvPr id="27" name="Picture 350" descr="WHO Logo [World Health Organization - who.int] Download Vector">
            <a:extLst>
              <a:ext uri="{FF2B5EF4-FFF2-40B4-BE49-F238E27FC236}">
                <a16:creationId xmlns:a16="http://schemas.microsoft.com/office/drawing/2014/main" id="{AE986161-72F5-4A12-9266-17C6A30B9FF8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894" t="36405" r="6780" b="35885"/>
          <a:stretch/>
        </p:blipFill>
        <p:spPr bwMode="ltGray">
          <a:xfrm>
            <a:off x="3802002" y="762695"/>
            <a:ext cx="3019678" cy="9692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300437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4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1" y="3886204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61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2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683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4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063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367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28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490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-06-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Health Scale-Up Propos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4B8E5-9C9E-2845-8FD0-EA2EC6AC191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49045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-06-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Health Scale-Up Propos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4B8E5-9C9E-2845-8FD0-EA2EC6AC191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83201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8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6131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22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6837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450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063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3675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288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4901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-06-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Health Scale-Up Propos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4B8E5-9C9E-2845-8FD0-EA2EC6AC191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564213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18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18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-06-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Health Scale-Up Propos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4B8E5-9C9E-2845-8FD0-EA2EC6AC191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02718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15" y="1535114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131" indent="0">
              <a:buNone/>
              <a:defRPr sz="2000" b="1"/>
            </a:lvl2pPr>
            <a:lvl3pPr marL="912254" indent="0">
              <a:buNone/>
              <a:defRPr sz="1800" b="1"/>
            </a:lvl3pPr>
            <a:lvl4pPr marL="1368378" indent="0">
              <a:buNone/>
              <a:defRPr sz="1600" b="1"/>
            </a:lvl4pPr>
            <a:lvl5pPr marL="1824505" indent="0">
              <a:buNone/>
              <a:defRPr sz="1600" b="1"/>
            </a:lvl5pPr>
            <a:lvl6pPr marL="2280633" indent="0">
              <a:buNone/>
              <a:defRPr sz="1600" b="1"/>
            </a:lvl6pPr>
            <a:lvl7pPr marL="2736757" indent="0">
              <a:buNone/>
              <a:defRPr sz="1600" b="1"/>
            </a:lvl7pPr>
            <a:lvl8pPr marL="3192885" indent="0">
              <a:buNone/>
              <a:defRPr sz="1600" b="1"/>
            </a:lvl8pPr>
            <a:lvl9pPr marL="364901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15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81" y="1535114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131" indent="0">
              <a:buNone/>
              <a:defRPr sz="2000" b="1"/>
            </a:lvl2pPr>
            <a:lvl3pPr marL="912254" indent="0">
              <a:buNone/>
              <a:defRPr sz="1800" b="1"/>
            </a:lvl3pPr>
            <a:lvl4pPr marL="1368378" indent="0">
              <a:buNone/>
              <a:defRPr sz="1600" b="1"/>
            </a:lvl4pPr>
            <a:lvl5pPr marL="1824505" indent="0">
              <a:buNone/>
              <a:defRPr sz="1600" b="1"/>
            </a:lvl5pPr>
            <a:lvl6pPr marL="2280633" indent="0">
              <a:buNone/>
              <a:defRPr sz="1600" b="1"/>
            </a:lvl6pPr>
            <a:lvl7pPr marL="2736757" indent="0">
              <a:buNone/>
              <a:defRPr sz="1600" b="1"/>
            </a:lvl7pPr>
            <a:lvl8pPr marL="3192885" indent="0">
              <a:buNone/>
              <a:defRPr sz="1600" b="1"/>
            </a:lvl8pPr>
            <a:lvl9pPr marL="364901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81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-06-2014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Health Scale-Up Propos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4B8E5-9C9E-2845-8FD0-EA2EC6AC191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960501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2254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911424" y="5445224"/>
            <a:ext cx="10972800" cy="513750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019184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2/9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7729436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2254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911424" y="5445224"/>
            <a:ext cx="10972800" cy="513750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99596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2254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911424" y="5445224"/>
            <a:ext cx="10972800" cy="513750"/>
          </a:xfrm>
        </p:spPr>
        <p:txBody>
          <a:bodyPr/>
          <a:lstStyle>
            <a:lvl1pPr algn="r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403609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-06-2014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Health Scale-Up Propos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4B8E5-9C9E-2845-8FD0-EA2EC6AC191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5395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-06-2014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Health Scale-Up Propos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4B8E5-9C9E-2845-8FD0-EA2EC6AC191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64980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26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63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26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131" indent="0">
              <a:buNone/>
              <a:defRPr sz="1200"/>
            </a:lvl2pPr>
            <a:lvl3pPr marL="912254" indent="0">
              <a:buNone/>
              <a:defRPr sz="1000"/>
            </a:lvl3pPr>
            <a:lvl4pPr marL="1368378" indent="0">
              <a:buNone/>
              <a:defRPr sz="900"/>
            </a:lvl4pPr>
            <a:lvl5pPr marL="1824505" indent="0">
              <a:buNone/>
              <a:defRPr sz="900"/>
            </a:lvl5pPr>
            <a:lvl6pPr marL="2280633" indent="0">
              <a:buNone/>
              <a:defRPr sz="900"/>
            </a:lvl6pPr>
            <a:lvl7pPr marL="2736757" indent="0">
              <a:buNone/>
              <a:defRPr sz="900"/>
            </a:lvl7pPr>
            <a:lvl8pPr marL="3192885" indent="0">
              <a:buNone/>
              <a:defRPr sz="900"/>
            </a:lvl8pPr>
            <a:lvl9pPr marL="364901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-06-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Health Scale-Up Propos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4B8E5-9C9E-2845-8FD0-EA2EC6AC191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3853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131" indent="0">
              <a:buNone/>
              <a:defRPr sz="2800"/>
            </a:lvl2pPr>
            <a:lvl3pPr marL="912254" indent="0">
              <a:buNone/>
              <a:defRPr sz="2400"/>
            </a:lvl3pPr>
            <a:lvl4pPr marL="1368378" indent="0">
              <a:buNone/>
              <a:defRPr sz="2000"/>
            </a:lvl4pPr>
            <a:lvl5pPr marL="1824505" indent="0">
              <a:buNone/>
              <a:defRPr sz="2000"/>
            </a:lvl5pPr>
            <a:lvl6pPr marL="2280633" indent="0">
              <a:buNone/>
              <a:defRPr sz="2000"/>
            </a:lvl6pPr>
            <a:lvl7pPr marL="2736757" indent="0">
              <a:buNone/>
              <a:defRPr sz="2000"/>
            </a:lvl7pPr>
            <a:lvl8pPr marL="3192885" indent="0">
              <a:buNone/>
              <a:defRPr sz="2000"/>
            </a:lvl8pPr>
            <a:lvl9pPr marL="364901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131" indent="0">
              <a:buNone/>
              <a:defRPr sz="1200"/>
            </a:lvl2pPr>
            <a:lvl3pPr marL="912254" indent="0">
              <a:buNone/>
              <a:defRPr sz="1000"/>
            </a:lvl3pPr>
            <a:lvl4pPr marL="1368378" indent="0">
              <a:buNone/>
              <a:defRPr sz="900"/>
            </a:lvl4pPr>
            <a:lvl5pPr marL="1824505" indent="0">
              <a:buNone/>
              <a:defRPr sz="900"/>
            </a:lvl5pPr>
            <a:lvl6pPr marL="2280633" indent="0">
              <a:buNone/>
              <a:defRPr sz="900"/>
            </a:lvl6pPr>
            <a:lvl7pPr marL="2736757" indent="0">
              <a:buNone/>
              <a:defRPr sz="900"/>
            </a:lvl7pPr>
            <a:lvl8pPr marL="3192885" indent="0">
              <a:buNone/>
              <a:defRPr sz="900"/>
            </a:lvl8pPr>
            <a:lvl9pPr marL="364901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-06-201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Health Scale-Up Proposa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4B8E5-9C9E-2845-8FD0-EA2EC6AC191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00983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-06-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Health Scale-Up Propos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4B8E5-9C9E-2845-8FD0-EA2EC6AC191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722769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4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4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20-06-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prstClr val="black">
                    <a:tint val="75000"/>
                  </a:prstClr>
                </a:solidFill>
              </a:rPr>
              <a:t>mHealth Scale-Up Propos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7A4B8E5-9C9E-2845-8FD0-EA2EC6AC191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18850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14A7E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2254"/>
            <a:endParaRPr lang="en-GB" sz="180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8654" r="9231"/>
          <a:stretch/>
        </p:blipFill>
        <p:spPr bwMode="auto">
          <a:xfrm>
            <a:off x="-26736" y="2154269"/>
            <a:ext cx="3626459" cy="4703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7212544" y="6121913"/>
            <a:ext cx="4966637" cy="646218"/>
          </a:xfrm>
          <a:prstGeom prst="rect">
            <a:avLst/>
          </a:prstGeom>
          <a:noFill/>
        </p:spPr>
        <p:txBody>
          <a:bodyPr wrap="square" lIns="91328" tIns="45664" rIns="91328" bIns="45664" rtlCol="0">
            <a:spAutoFit/>
          </a:bodyPr>
          <a:lstStyle/>
          <a:p>
            <a:pPr algn="ctr" defTabSz="912254"/>
            <a:r>
              <a:rPr lang="en-US" sz="3600" b="1">
                <a:solidFill>
                  <a:srgbClr val="B2DFF4"/>
                </a:solidFill>
                <a:latin typeface="Arial Black" panose="020B0A04020102020204" pitchFamily="34" charset="0"/>
              </a:rPr>
              <a:t>THANK YOU!</a:t>
            </a:r>
          </a:p>
        </p:txBody>
      </p:sp>
      <p:pic>
        <p:nvPicPr>
          <p:cNvPr id="8" name="Picture 2" descr="QRCode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56373" y="4489355"/>
            <a:ext cx="2160555" cy="16204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Screen Clippi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8"/>
            <a:ext cx="12179176" cy="21542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33698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666713" y="1571612"/>
            <a:ext cx="10953827" cy="4714908"/>
          </a:xfrm>
        </p:spPr>
        <p:txBody>
          <a:bodyPr/>
          <a:lstStyle/>
          <a:p>
            <a:pPr lvl="0"/>
            <a:endParaRPr lang="en-US"/>
          </a:p>
        </p:txBody>
      </p:sp>
      <p:sp>
        <p:nvSpPr>
          <p:cNvPr id="6" name="Rectangle 5"/>
          <p:cNvSpPr/>
          <p:nvPr userDrawn="1"/>
        </p:nvSpPr>
        <p:spPr>
          <a:xfrm>
            <a:off x="1625" y="6172200"/>
            <a:ext cx="12192000" cy="685800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328" tIns="45664" rIns="91328" bIns="45664" rtlCol="0" anchor="ctr"/>
          <a:lstStyle/>
          <a:p>
            <a:pPr algn="ctr" defTabSz="913317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26" y="6169033"/>
            <a:ext cx="2999316" cy="68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</p:pic>
      <p:pic>
        <p:nvPicPr>
          <p:cNvPr id="9" name="Picture 8" descr="http://www.itu.int/ITU-D/ict/partnership/images/Logo_ITU.jp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281895" y="6084409"/>
            <a:ext cx="910107" cy="7735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2"/>
          <p:cNvPicPr>
            <a:picLocks noChangeAspect="1" noChangeArrowheads="1"/>
          </p:cNvPicPr>
          <p:nvPr userDrawn="1"/>
        </p:nvPicPr>
        <p:blipFill rotWithShape="1">
          <a:blip r:embed="rId4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44032" y="1156456"/>
            <a:ext cx="3815184" cy="4948518"/>
          </a:xfrm>
          <a:prstGeom prst="rect">
            <a:avLst/>
          </a:prstGeom>
          <a:solidFill>
            <a:srgbClr val="FFFFFF">
              <a:shade val="85000"/>
            </a:srgbClr>
          </a:solidFill>
          <a:ln w="101600" cap="sq">
            <a:solidFill>
              <a:srgbClr val="FDFDFD"/>
            </a:solidFill>
            <a:miter lim="800000"/>
          </a:ln>
          <a:effectLst>
            <a:outerShdw blurRad="57150" dist="37500" dir="7560000" sy="98000" kx="110000" ky="200000" algn="tl" rotWithShape="0">
              <a:srgbClr val="000000">
                <a:alpha val="20000"/>
              </a:srgbClr>
            </a:outerShdw>
          </a:effectLst>
          <a:scene3d>
            <a:camera prst="perspectiveRelaxed">
              <a:rot lat="18960000" lon="0" rev="0"/>
            </a:camera>
            <a:lightRig rig="twoPt" dir="t">
              <a:rot lat="0" lon="0" rev="7200000"/>
            </a:lightRig>
          </a:scene3d>
          <a:sp3d prstMaterial="matte">
            <a:bevelT w="22860" h="1270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34836847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2/9/22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7648310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2/9/22</a:t>
            </a:fld>
            <a:endParaRPr lang="zh-CN" alt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873258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2/9/22</a:t>
            </a:fld>
            <a:endParaRPr lang="zh-CN" alt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52658199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2/9/22</a:t>
            </a:fld>
            <a:endParaRPr lang="zh-CN" alt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435011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2/9/22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03827388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24E67A-AF0E-4819-AC53-2E46C7DFBD72}" type="datetimeFigureOut">
              <a:rPr lang="zh-CN" altLang="en-US" smtClean="0"/>
              <a:t>2022/9/22</a:t>
            </a:fld>
            <a:endParaRPr lang="zh-CN" alt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16724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524E67A-AF0E-4819-AC53-2E46C7DFBD72}" type="datetimeFigureOut">
              <a:rPr lang="zh-CN" altLang="en-US" smtClean="0"/>
              <a:t>2022/9/22</a:t>
            </a:fld>
            <a:endParaRPr lang="zh-CN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zh-CN" alt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210D80-9D80-4939-87EA-5E8B36196F37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1197870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04800" y="183092"/>
            <a:ext cx="5486400" cy="762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04800" y="1066800"/>
            <a:ext cx="5486400" cy="301730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04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 smtClean="0"/>
              <a:pPr/>
              <a:t>9/22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082800" y="4237567"/>
            <a:ext cx="1930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368800" y="4237567"/>
            <a:ext cx="1422400" cy="2434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92911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p:txStyles>
    <p:titleStyle>
      <a:lvl1pPr algn="ctr" defTabSz="609630" rtl="0" eaLnBrk="1" latinLnBrk="0" hangingPunct="1">
        <a:spcBef>
          <a:spcPct val="0"/>
        </a:spcBef>
        <a:buNone/>
        <a:defRPr sz="293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11" indent="-228611" algn="l" defTabSz="609630" rtl="0" eaLnBrk="1" latinLnBrk="0" hangingPunct="1">
        <a:spcBef>
          <a:spcPct val="20000"/>
        </a:spcBef>
        <a:buFont typeface="Arial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495325" indent="-190510" algn="l" defTabSz="609630" rtl="0" eaLnBrk="1" latinLnBrk="0" hangingPunct="1">
        <a:spcBef>
          <a:spcPct val="20000"/>
        </a:spcBef>
        <a:buFont typeface="Arial" pitchFamily="34" charset="0"/>
        <a:buChar char="–"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762038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066853" indent="-152408" algn="l" defTabSz="609630" rtl="0" eaLnBrk="1" latinLnBrk="0" hangingPunct="1">
        <a:spcBef>
          <a:spcPct val="20000"/>
        </a:spcBef>
        <a:buFont typeface="Arial" pitchFamily="34" charset="0"/>
        <a:buChar char="–"/>
        <a:defRPr sz="1333" kern="1200">
          <a:solidFill>
            <a:schemeClr val="tx1"/>
          </a:solidFill>
          <a:latin typeface="+mn-lt"/>
          <a:ea typeface="+mn-ea"/>
          <a:cs typeface="+mn-cs"/>
        </a:defRPr>
      </a:lvl4pPr>
      <a:lvl5pPr marL="1371669" indent="-152408" algn="l" defTabSz="609630" rtl="0" eaLnBrk="1" latinLnBrk="0" hangingPunct="1">
        <a:spcBef>
          <a:spcPct val="20000"/>
        </a:spcBef>
        <a:buFont typeface="Arial" pitchFamily="34" charset="0"/>
        <a:buChar char="»"/>
        <a:defRPr sz="1333" kern="1200">
          <a:solidFill>
            <a:schemeClr val="tx1"/>
          </a:solidFill>
          <a:latin typeface="+mn-lt"/>
          <a:ea typeface="+mn-ea"/>
          <a:cs typeface="+mn-cs"/>
        </a:defRPr>
      </a:lvl5pPr>
      <a:lvl6pPr marL="167648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6pPr>
      <a:lvl7pPr marL="1981299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7pPr>
      <a:lvl8pPr marL="2286114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8pPr>
      <a:lvl9pPr marL="2590930" indent="-152408" algn="l" defTabSz="609630" rtl="0" eaLnBrk="1" latinLnBrk="0" hangingPunct="1">
        <a:spcBef>
          <a:spcPct val="20000"/>
        </a:spcBef>
        <a:buFont typeface="Arial" pitchFamily="34" charset="0"/>
        <a:buChar char="•"/>
        <a:defRPr sz="13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04815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609630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4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21926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1524076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6pPr>
      <a:lvl7pPr marL="1828891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2133707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8pPr>
      <a:lvl9pPr marL="2438522" algn="l" defTabSz="609630" rtl="0" eaLnBrk="1" latinLnBrk="0" hangingPunct="1">
        <a:defRPr sz="1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631188"/>
            <a:ext cx="10972800" cy="513750"/>
          </a:xfrm>
          <a:prstGeom prst="rect">
            <a:avLst/>
          </a:prstGeom>
        </p:spPr>
        <p:txBody>
          <a:bodyPr vert="horz" lIns="91221" tIns="45611" rIns="91221" bIns="45611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12"/>
            <a:ext cx="10972800" cy="4337717"/>
          </a:xfrm>
          <a:prstGeom prst="rect">
            <a:avLst/>
          </a:prstGeom>
        </p:spPr>
        <p:txBody>
          <a:bodyPr vert="horz" lIns="91221" tIns="45611" rIns="91221" bIns="4561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550941" y="6315567"/>
            <a:ext cx="2412640" cy="247148"/>
          </a:xfrm>
          <a:prstGeom prst="rect">
            <a:avLst/>
          </a:prstGeom>
        </p:spPr>
        <p:txBody>
          <a:bodyPr vert="horz" lIns="91221" tIns="45611" rIns="91221" bIns="45611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6131"/>
            <a:r>
              <a:rPr lang="en-US">
                <a:solidFill>
                  <a:prstClr val="black">
                    <a:tint val="75000"/>
                  </a:prstClr>
                </a:solidFill>
              </a:rPr>
              <a:t>20-06-201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37953" y="6315567"/>
            <a:ext cx="3860800" cy="247148"/>
          </a:xfrm>
          <a:prstGeom prst="rect">
            <a:avLst/>
          </a:prstGeom>
        </p:spPr>
        <p:txBody>
          <a:bodyPr vert="horz" lIns="91221" tIns="45611" rIns="91221" bIns="45611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2254"/>
            <a:r>
              <a:rPr lang="en-US">
                <a:solidFill>
                  <a:prstClr val="black">
                    <a:tint val="75000"/>
                  </a:prstClr>
                </a:solidFill>
              </a:rPr>
              <a:t>mHealth Scale-Up Propos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15567"/>
            <a:ext cx="2844800" cy="247148"/>
          </a:xfrm>
          <a:prstGeom prst="rect">
            <a:avLst/>
          </a:prstGeom>
        </p:spPr>
        <p:txBody>
          <a:bodyPr vert="horz" lIns="91221" tIns="45611" rIns="91221" bIns="45611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456131"/>
            <a:fld id="{17A4B8E5-9C9E-2845-8FD0-EA2EC6AC1919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 defTabSz="456131"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597759" y="1278797"/>
            <a:ext cx="10972800" cy="0"/>
          </a:xfrm>
          <a:prstGeom prst="line">
            <a:avLst/>
          </a:prstGeom>
          <a:ln w="76200" cmpd="sng">
            <a:solidFill>
              <a:srgbClr val="15A1D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8" descr="mHealth-stamp.pn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3821" y="6029181"/>
            <a:ext cx="1024227" cy="1087057"/>
          </a:xfrm>
          <a:prstGeom prst="rect">
            <a:avLst/>
          </a:prstGeom>
        </p:spPr>
      </p:pic>
      <p:cxnSp>
        <p:nvCxnSpPr>
          <p:cNvPr id="11" name="Straight Connector 10"/>
          <p:cNvCxnSpPr/>
          <p:nvPr/>
        </p:nvCxnSpPr>
        <p:spPr>
          <a:xfrm>
            <a:off x="1361757" y="6644079"/>
            <a:ext cx="10208820" cy="0"/>
          </a:xfrm>
          <a:prstGeom prst="line">
            <a:avLst/>
          </a:prstGeom>
          <a:ln w="25400" cmpd="sng">
            <a:solidFill>
              <a:srgbClr val="15A1D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/>
        </p:nvCxnSpPr>
        <p:spPr>
          <a:xfrm>
            <a:off x="1361757" y="6235348"/>
            <a:ext cx="10208820" cy="0"/>
          </a:xfrm>
          <a:prstGeom prst="line">
            <a:avLst/>
          </a:prstGeom>
          <a:ln w="25400" cmpd="sng">
            <a:solidFill>
              <a:srgbClr val="15A1D8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0644511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</p:sldLayoutIdLst>
  <p:hf hdr="0"/>
  <p:txStyles>
    <p:titleStyle>
      <a:lvl1pPr algn="l" defTabSz="456131" rtl="0" eaLnBrk="1" latinLnBrk="0" hangingPunct="1">
        <a:spcBef>
          <a:spcPct val="0"/>
        </a:spcBef>
        <a:buNone/>
        <a:defRPr sz="2800" b="1" i="0" kern="1200">
          <a:solidFill>
            <a:schemeClr val="accent2"/>
          </a:solidFill>
          <a:latin typeface="+mj-lt"/>
          <a:ea typeface="+mj-ea"/>
          <a:cs typeface="Arial"/>
        </a:defRPr>
      </a:lvl1pPr>
    </p:titleStyle>
    <p:bodyStyle>
      <a:lvl1pPr marL="174418" indent="-174418" algn="l" defTabSz="45613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1pPr>
      <a:lvl2pPr marL="741205" indent="-285082" algn="l" defTabSz="456131" rtl="0" eaLnBrk="1" latinLnBrk="0" hangingPunct="1">
        <a:spcBef>
          <a:spcPct val="20000"/>
        </a:spcBef>
        <a:buFont typeface="Arial"/>
        <a:buChar char="–"/>
        <a:defRPr sz="18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2pPr>
      <a:lvl3pPr marL="1140316" indent="-228061" algn="l" defTabSz="456131" rtl="0" eaLnBrk="1" latinLnBrk="0" hangingPunct="1">
        <a:spcBef>
          <a:spcPct val="20000"/>
        </a:spcBef>
        <a:buFont typeface="Arial"/>
        <a:buChar char="•"/>
        <a:defRPr sz="16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3pPr>
      <a:lvl4pPr marL="1596442" indent="-228061" algn="l" defTabSz="456131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4pPr>
      <a:lvl5pPr marL="2052571" indent="-228061" algn="l" defTabSz="456131" rtl="0" eaLnBrk="1" latinLnBrk="0" hangingPunct="1">
        <a:spcBef>
          <a:spcPct val="20000"/>
        </a:spcBef>
        <a:buFont typeface="Arial"/>
        <a:buChar char="»"/>
        <a:defRPr sz="1400" kern="1200">
          <a:solidFill>
            <a:schemeClr val="tx1">
              <a:lumMod val="50000"/>
              <a:lumOff val="50000"/>
            </a:schemeClr>
          </a:solidFill>
          <a:latin typeface="+mn-lt"/>
          <a:ea typeface="+mn-ea"/>
          <a:cs typeface="+mn-cs"/>
        </a:defRPr>
      </a:lvl5pPr>
      <a:lvl6pPr marL="2508693" indent="-228061" algn="l" defTabSz="45613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64822" indent="-228061" algn="l" defTabSz="45613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0947" indent="-228061" algn="l" defTabSz="45613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77072" indent="-228061" algn="l" defTabSz="456131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61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131" algn="l" defTabSz="4561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254" algn="l" defTabSz="4561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8378" algn="l" defTabSz="4561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4505" algn="l" defTabSz="4561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0633" algn="l" defTabSz="4561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6757" algn="l" defTabSz="4561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2885" algn="l" defTabSz="4561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9010" algn="l" defTabSz="4561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Pujaris@who.int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8.xml"/><Relationship Id="rId7" Type="http://schemas.openxmlformats.org/officeDocument/2006/relationships/image" Target="../media/image11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3.xml"/><Relationship Id="rId4" Type="http://schemas.openxmlformats.org/officeDocument/2006/relationships/tags" Target="../tags/tag9.xml"/><Relationship Id="rId9" Type="http://schemas.openxmlformats.org/officeDocument/2006/relationships/image" Target="../media/image12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126.xml"/><Relationship Id="rId21" Type="http://schemas.openxmlformats.org/officeDocument/2006/relationships/tags" Target="../tags/tag30.xml"/><Relationship Id="rId42" Type="http://schemas.openxmlformats.org/officeDocument/2006/relationships/tags" Target="../tags/tag51.xml"/><Relationship Id="rId63" Type="http://schemas.openxmlformats.org/officeDocument/2006/relationships/tags" Target="../tags/tag72.xml"/><Relationship Id="rId84" Type="http://schemas.openxmlformats.org/officeDocument/2006/relationships/tags" Target="../tags/tag93.xml"/><Relationship Id="rId138" Type="http://schemas.openxmlformats.org/officeDocument/2006/relationships/tags" Target="../tags/tag147.xml"/><Relationship Id="rId159" Type="http://schemas.openxmlformats.org/officeDocument/2006/relationships/tags" Target="../tags/tag168.xml"/><Relationship Id="rId170" Type="http://schemas.openxmlformats.org/officeDocument/2006/relationships/slideLayout" Target="../slideLayouts/slideLayout13.xml"/><Relationship Id="rId107" Type="http://schemas.openxmlformats.org/officeDocument/2006/relationships/tags" Target="../tags/tag116.xml"/><Relationship Id="rId11" Type="http://schemas.openxmlformats.org/officeDocument/2006/relationships/tags" Target="../tags/tag20.xml"/><Relationship Id="rId32" Type="http://schemas.openxmlformats.org/officeDocument/2006/relationships/tags" Target="../tags/tag41.xml"/><Relationship Id="rId53" Type="http://schemas.openxmlformats.org/officeDocument/2006/relationships/tags" Target="../tags/tag62.xml"/><Relationship Id="rId74" Type="http://schemas.openxmlformats.org/officeDocument/2006/relationships/tags" Target="../tags/tag83.xml"/><Relationship Id="rId128" Type="http://schemas.openxmlformats.org/officeDocument/2006/relationships/tags" Target="../tags/tag137.xml"/><Relationship Id="rId149" Type="http://schemas.openxmlformats.org/officeDocument/2006/relationships/tags" Target="../tags/tag158.xml"/><Relationship Id="rId5" Type="http://schemas.openxmlformats.org/officeDocument/2006/relationships/tags" Target="../tags/tag14.xml"/><Relationship Id="rId95" Type="http://schemas.openxmlformats.org/officeDocument/2006/relationships/tags" Target="../tags/tag104.xml"/><Relationship Id="rId160" Type="http://schemas.openxmlformats.org/officeDocument/2006/relationships/tags" Target="../tags/tag169.xml"/><Relationship Id="rId22" Type="http://schemas.openxmlformats.org/officeDocument/2006/relationships/tags" Target="../tags/tag31.xml"/><Relationship Id="rId43" Type="http://schemas.openxmlformats.org/officeDocument/2006/relationships/tags" Target="../tags/tag52.xml"/><Relationship Id="rId64" Type="http://schemas.openxmlformats.org/officeDocument/2006/relationships/tags" Target="../tags/tag73.xml"/><Relationship Id="rId118" Type="http://schemas.openxmlformats.org/officeDocument/2006/relationships/tags" Target="../tags/tag127.xml"/><Relationship Id="rId139" Type="http://schemas.openxmlformats.org/officeDocument/2006/relationships/tags" Target="../tags/tag148.xml"/><Relationship Id="rId85" Type="http://schemas.openxmlformats.org/officeDocument/2006/relationships/tags" Target="../tags/tag94.xml"/><Relationship Id="rId150" Type="http://schemas.openxmlformats.org/officeDocument/2006/relationships/tags" Target="../tags/tag159.xml"/><Relationship Id="rId171" Type="http://schemas.openxmlformats.org/officeDocument/2006/relationships/image" Target="../media/image17.png"/><Relationship Id="rId12" Type="http://schemas.openxmlformats.org/officeDocument/2006/relationships/tags" Target="../tags/tag21.xml"/><Relationship Id="rId33" Type="http://schemas.openxmlformats.org/officeDocument/2006/relationships/tags" Target="../tags/tag42.xml"/><Relationship Id="rId108" Type="http://schemas.openxmlformats.org/officeDocument/2006/relationships/tags" Target="../tags/tag117.xml"/><Relationship Id="rId129" Type="http://schemas.openxmlformats.org/officeDocument/2006/relationships/tags" Target="../tags/tag138.xml"/><Relationship Id="rId54" Type="http://schemas.openxmlformats.org/officeDocument/2006/relationships/tags" Target="../tags/tag63.xml"/><Relationship Id="rId70" Type="http://schemas.openxmlformats.org/officeDocument/2006/relationships/tags" Target="../tags/tag79.xml"/><Relationship Id="rId75" Type="http://schemas.openxmlformats.org/officeDocument/2006/relationships/tags" Target="../tags/tag84.xml"/><Relationship Id="rId91" Type="http://schemas.openxmlformats.org/officeDocument/2006/relationships/tags" Target="../tags/tag100.xml"/><Relationship Id="rId96" Type="http://schemas.openxmlformats.org/officeDocument/2006/relationships/tags" Target="../tags/tag105.xml"/><Relationship Id="rId140" Type="http://schemas.openxmlformats.org/officeDocument/2006/relationships/tags" Target="../tags/tag149.xml"/><Relationship Id="rId145" Type="http://schemas.openxmlformats.org/officeDocument/2006/relationships/tags" Target="../tags/tag154.xml"/><Relationship Id="rId161" Type="http://schemas.openxmlformats.org/officeDocument/2006/relationships/tags" Target="../tags/tag170.xml"/><Relationship Id="rId166" Type="http://schemas.openxmlformats.org/officeDocument/2006/relationships/tags" Target="../tags/tag175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23" Type="http://schemas.openxmlformats.org/officeDocument/2006/relationships/tags" Target="../tags/tag32.xml"/><Relationship Id="rId28" Type="http://schemas.openxmlformats.org/officeDocument/2006/relationships/tags" Target="../tags/tag37.xml"/><Relationship Id="rId49" Type="http://schemas.openxmlformats.org/officeDocument/2006/relationships/tags" Target="../tags/tag58.xml"/><Relationship Id="rId114" Type="http://schemas.openxmlformats.org/officeDocument/2006/relationships/tags" Target="../tags/tag123.xml"/><Relationship Id="rId119" Type="http://schemas.openxmlformats.org/officeDocument/2006/relationships/tags" Target="../tags/tag128.xml"/><Relationship Id="rId44" Type="http://schemas.openxmlformats.org/officeDocument/2006/relationships/tags" Target="../tags/tag53.xml"/><Relationship Id="rId60" Type="http://schemas.openxmlformats.org/officeDocument/2006/relationships/tags" Target="../tags/tag69.xml"/><Relationship Id="rId65" Type="http://schemas.openxmlformats.org/officeDocument/2006/relationships/tags" Target="../tags/tag74.xml"/><Relationship Id="rId81" Type="http://schemas.openxmlformats.org/officeDocument/2006/relationships/tags" Target="../tags/tag90.xml"/><Relationship Id="rId86" Type="http://schemas.openxmlformats.org/officeDocument/2006/relationships/tags" Target="../tags/tag95.xml"/><Relationship Id="rId130" Type="http://schemas.openxmlformats.org/officeDocument/2006/relationships/tags" Target="../tags/tag139.xml"/><Relationship Id="rId135" Type="http://schemas.openxmlformats.org/officeDocument/2006/relationships/tags" Target="../tags/tag144.xml"/><Relationship Id="rId151" Type="http://schemas.openxmlformats.org/officeDocument/2006/relationships/tags" Target="../tags/tag160.xml"/><Relationship Id="rId156" Type="http://schemas.openxmlformats.org/officeDocument/2006/relationships/tags" Target="../tags/tag165.xml"/><Relationship Id="rId172" Type="http://schemas.openxmlformats.org/officeDocument/2006/relationships/image" Target="../media/image15.png"/><Relationship Id="rId13" Type="http://schemas.openxmlformats.org/officeDocument/2006/relationships/tags" Target="../tags/tag22.xml"/><Relationship Id="rId18" Type="http://schemas.openxmlformats.org/officeDocument/2006/relationships/tags" Target="../tags/tag27.xml"/><Relationship Id="rId39" Type="http://schemas.openxmlformats.org/officeDocument/2006/relationships/tags" Target="../tags/tag48.xml"/><Relationship Id="rId109" Type="http://schemas.openxmlformats.org/officeDocument/2006/relationships/tags" Target="../tags/tag118.xml"/><Relationship Id="rId34" Type="http://schemas.openxmlformats.org/officeDocument/2006/relationships/tags" Target="../tags/tag43.xml"/><Relationship Id="rId50" Type="http://schemas.openxmlformats.org/officeDocument/2006/relationships/tags" Target="../tags/tag59.xml"/><Relationship Id="rId55" Type="http://schemas.openxmlformats.org/officeDocument/2006/relationships/tags" Target="../tags/tag64.xml"/><Relationship Id="rId76" Type="http://schemas.openxmlformats.org/officeDocument/2006/relationships/tags" Target="../tags/tag85.xml"/><Relationship Id="rId97" Type="http://schemas.openxmlformats.org/officeDocument/2006/relationships/tags" Target="../tags/tag106.xml"/><Relationship Id="rId104" Type="http://schemas.openxmlformats.org/officeDocument/2006/relationships/tags" Target="../tags/tag113.xml"/><Relationship Id="rId120" Type="http://schemas.openxmlformats.org/officeDocument/2006/relationships/tags" Target="../tags/tag129.xml"/><Relationship Id="rId125" Type="http://schemas.openxmlformats.org/officeDocument/2006/relationships/tags" Target="../tags/tag134.xml"/><Relationship Id="rId141" Type="http://schemas.openxmlformats.org/officeDocument/2006/relationships/tags" Target="../tags/tag150.xml"/><Relationship Id="rId146" Type="http://schemas.openxmlformats.org/officeDocument/2006/relationships/tags" Target="../tags/tag155.xml"/><Relationship Id="rId167" Type="http://schemas.openxmlformats.org/officeDocument/2006/relationships/tags" Target="../tags/tag176.xml"/><Relationship Id="rId7" Type="http://schemas.openxmlformats.org/officeDocument/2006/relationships/tags" Target="../tags/tag16.xml"/><Relationship Id="rId71" Type="http://schemas.openxmlformats.org/officeDocument/2006/relationships/tags" Target="../tags/tag80.xml"/><Relationship Id="rId92" Type="http://schemas.openxmlformats.org/officeDocument/2006/relationships/tags" Target="../tags/tag101.xml"/><Relationship Id="rId162" Type="http://schemas.openxmlformats.org/officeDocument/2006/relationships/tags" Target="../tags/tag171.xml"/><Relationship Id="rId2" Type="http://schemas.openxmlformats.org/officeDocument/2006/relationships/tags" Target="../tags/tag11.xml"/><Relationship Id="rId29" Type="http://schemas.openxmlformats.org/officeDocument/2006/relationships/tags" Target="../tags/tag38.xml"/><Relationship Id="rId24" Type="http://schemas.openxmlformats.org/officeDocument/2006/relationships/tags" Target="../tags/tag33.xml"/><Relationship Id="rId40" Type="http://schemas.openxmlformats.org/officeDocument/2006/relationships/tags" Target="../tags/tag49.xml"/><Relationship Id="rId45" Type="http://schemas.openxmlformats.org/officeDocument/2006/relationships/tags" Target="../tags/tag54.xml"/><Relationship Id="rId66" Type="http://schemas.openxmlformats.org/officeDocument/2006/relationships/tags" Target="../tags/tag75.xml"/><Relationship Id="rId87" Type="http://schemas.openxmlformats.org/officeDocument/2006/relationships/tags" Target="../tags/tag96.xml"/><Relationship Id="rId110" Type="http://schemas.openxmlformats.org/officeDocument/2006/relationships/tags" Target="../tags/tag119.xml"/><Relationship Id="rId115" Type="http://schemas.openxmlformats.org/officeDocument/2006/relationships/tags" Target="../tags/tag124.xml"/><Relationship Id="rId131" Type="http://schemas.openxmlformats.org/officeDocument/2006/relationships/tags" Target="../tags/tag140.xml"/><Relationship Id="rId136" Type="http://schemas.openxmlformats.org/officeDocument/2006/relationships/tags" Target="../tags/tag145.xml"/><Relationship Id="rId157" Type="http://schemas.openxmlformats.org/officeDocument/2006/relationships/tags" Target="../tags/tag166.xml"/><Relationship Id="rId61" Type="http://schemas.openxmlformats.org/officeDocument/2006/relationships/tags" Target="../tags/tag70.xml"/><Relationship Id="rId82" Type="http://schemas.openxmlformats.org/officeDocument/2006/relationships/tags" Target="../tags/tag91.xml"/><Relationship Id="rId152" Type="http://schemas.openxmlformats.org/officeDocument/2006/relationships/tags" Target="../tags/tag161.xml"/><Relationship Id="rId19" Type="http://schemas.openxmlformats.org/officeDocument/2006/relationships/tags" Target="../tags/tag28.xml"/><Relationship Id="rId14" Type="http://schemas.openxmlformats.org/officeDocument/2006/relationships/tags" Target="../tags/tag23.xml"/><Relationship Id="rId30" Type="http://schemas.openxmlformats.org/officeDocument/2006/relationships/tags" Target="../tags/tag39.xml"/><Relationship Id="rId35" Type="http://schemas.openxmlformats.org/officeDocument/2006/relationships/tags" Target="../tags/tag44.xml"/><Relationship Id="rId56" Type="http://schemas.openxmlformats.org/officeDocument/2006/relationships/tags" Target="../tags/tag65.xml"/><Relationship Id="rId77" Type="http://schemas.openxmlformats.org/officeDocument/2006/relationships/tags" Target="../tags/tag86.xml"/><Relationship Id="rId100" Type="http://schemas.openxmlformats.org/officeDocument/2006/relationships/tags" Target="../tags/tag109.xml"/><Relationship Id="rId105" Type="http://schemas.openxmlformats.org/officeDocument/2006/relationships/tags" Target="../tags/tag114.xml"/><Relationship Id="rId126" Type="http://schemas.openxmlformats.org/officeDocument/2006/relationships/tags" Target="../tags/tag135.xml"/><Relationship Id="rId147" Type="http://schemas.openxmlformats.org/officeDocument/2006/relationships/tags" Target="../tags/tag156.xml"/><Relationship Id="rId168" Type="http://schemas.openxmlformats.org/officeDocument/2006/relationships/tags" Target="../tags/tag177.xml"/><Relationship Id="rId8" Type="http://schemas.openxmlformats.org/officeDocument/2006/relationships/tags" Target="../tags/tag17.xml"/><Relationship Id="rId51" Type="http://schemas.openxmlformats.org/officeDocument/2006/relationships/tags" Target="../tags/tag60.xml"/><Relationship Id="rId72" Type="http://schemas.openxmlformats.org/officeDocument/2006/relationships/tags" Target="../tags/tag81.xml"/><Relationship Id="rId93" Type="http://schemas.openxmlformats.org/officeDocument/2006/relationships/tags" Target="../tags/tag102.xml"/><Relationship Id="rId98" Type="http://schemas.openxmlformats.org/officeDocument/2006/relationships/tags" Target="../tags/tag107.xml"/><Relationship Id="rId121" Type="http://schemas.openxmlformats.org/officeDocument/2006/relationships/tags" Target="../tags/tag130.xml"/><Relationship Id="rId142" Type="http://schemas.openxmlformats.org/officeDocument/2006/relationships/tags" Target="../tags/tag151.xml"/><Relationship Id="rId163" Type="http://schemas.openxmlformats.org/officeDocument/2006/relationships/tags" Target="../tags/tag172.xml"/><Relationship Id="rId3" Type="http://schemas.openxmlformats.org/officeDocument/2006/relationships/tags" Target="../tags/tag12.xml"/><Relationship Id="rId25" Type="http://schemas.openxmlformats.org/officeDocument/2006/relationships/tags" Target="../tags/tag34.xml"/><Relationship Id="rId46" Type="http://schemas.openxmlformats.org/officeDocument/2006/relationships/tags" Target="../tags/tag55.xml"/><Relationship Id="rId67" Type="http://schemas.openxmlformats.org/officeDocument/2006/relationships/tags" Target="../tags/tag76.xml"/><Relationship Id="rId116" Type="http://schemas.openxmlformats.org/officeDocument/2006/relationships/tags" Target="../tags/tag125.xml"/><Relationship Id="rId137" Type="http://schemas.openxmlformats.org/officeDocument/2006/relationships/tags" Target="../tags/tag146.xml"/><Relationship Id="rId158" Type="http://schemas.openxmlformats.org/officeDocument/2006/relationships/tags" Target="../tags/tag167.xml"/><Relationship Id="rId20" Type="http://schemas.openxmlformats.org/officeDocument/2006/relationships/tags" Target="../tags/tag29.xml"/><Relationship Id="rId41" Type="http://schemas.openxmlformats.org/officeDocument/2006/relationships/tags" Target="../tags/tag50.xml"/><Relationship Id="rId62" Type="http://schemas.openxmlformats.org/officeDocument/2006/relationships/tags" Target="../tags/tag71.xml"/><Relationship Id="rId83" Type="http://schemas.openxmlformats.org/officeDocument/2006/relationships/tags" Target="../tags/tag92.xml"/><Relationship Id="rId88" Type="http://schemas.openxmlformats.org/officeDocument/2006/relationships/tags" Target="../tags/tag97.xml"/><Relationship Id="rId111" Type="http://schemas.openxmlformats.org/officeDocument/2006/relationships/tags" Target="../tags/tag120.xml"/><Relationship Id="rId132" Type="http://schemas.openxmlformats.org/officeDocument/2006/relationships/tags" Target="../tags/tag141.xml"/><Relationship Id="rId153" Type="http://schemas.openxmlformats.org/officeDocument/2006/relationships/tags" Target="../tags/tag162.xml"/><Relationship Id="rId15" Type="http://schemas.openxmlformats.org/officeDocument/2006/relationships/tags" Target="../tags/tag24.xml"/><Relationship Id="rId36" Type="http://schemas.openxmlformats.org/officeDocument/2006/relationships/tags" Target="../tags/tag45.xml"/><Relationship Id="rId57" Type="http://schemas.openxmlformats.org/officeDocument/2006/relationships/tags" Target="../tags/tag66.xml"/><Relationship Id="rId106" Type="http://schemas.openxmlformats.org/officeDocument/2006/relationships/tags" Target="../tags/tag115.xml"/><Relationship Id="rId127" Type="http://schemas.openxmlformats.org/officeDocument/2006/relationships/tags" Target="../tags/tag136.xml"/><Relationship Id="rId10" Type="http://schemas.openxmlformats.org/officeDocument/2006/relationships/tags" Target="../tags/tag19.xml"/><Relationship Id="rId31" Type="http://schemas.openxmlformats.org/officeDocument/2006/relationships/tags" Target="../tags/tag40.xml"/><Relationship Id="rId52" Type="http://schemas.openxmlformats.org/officeDocument/2006/relationships/tags" Target="../tags/tag61.xml"/><Relationship Id="rId73" Type="http://schemas.openxmlformats.org/officeDocument/2006/relationships/tags" Target="../tags/tag82.xml"/><Relationship Id="rId78" Type="http://schemas.openxmlformats.org/officeDocument/2006/relationships/tags" Target="../tags/tag87.xml"/><Relationship Id="rId94" Type="http://schemas.openxmlformats.org/officeDocument/2006/relationships/tags" Target="../tags/tag103.xml"/><Relationship Id="rId99" Type="http://schemas.openxmlformats.org/officeDocument/2006/relationships/tags" Target="../tags/tag108.xml"/><Relationship Id="rId101" Type="http://schemas.openxmlformats.org/officeDocument/2006/relationships/tags" Target="../tags/tag110.xml"/><Relationship Id="rId122" Type="http://schemas.openxmlformats.org/officeDocument/2006/relationships/tags" Target="../tags/tag131.xml"/><Relationship Id="rId143" Type="http://schemas.openxmlformats.org/officeDocument/2006/relationships/tags" Target="../tags/tag152.xml"/><Relationship Id="rId148" Type="http://schemas.openxmlformats.org/officeDocument/2006/relationships/tags" Target="../tags/tag157.xml"/><Relationship Id="rId164" Type="http://schemas.openxmlformats.org/officeDocument/2006/relationships/tags" Target="../tags/tag173.xml"/><Relationship Id="rId169" Type="http://schemas.openxmlformats.org/officeDocument/2006/relationships/tags" Target="../tags/tag178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26" Type="http://schemas.openxmlformats.org/officeDocument/2006/relationships/tags" Target="../tags/tag35.xml"/><Relationship Id="rId47" Type="http://schemas.openxmlformats.org/officeDocument/2006/relationships/tags" Target="../tags/tag56.xml"/><Relationship Id="rId68" Type="http://schemas.openxmlformats.org/officeDocument/2006/relationships/tags" Target="../tags/tag77.xml"/><Relationship Id="rId89" Type="http://schemas.openxmlformats.org/officeDocument/2006/relationships/tags" Target="../tags/tag98.xml"/><Relationship Id="rId112" Type="http://schemas.openxmlformats.org/officeDocument/2006/relationships/tags" Target="../tags/tag121.xml"/><Relationship Id="rId133" Type="http://schemas.openxmlformats.org/officeDocument/2006/relationships/tags" Target="../tags/tag142.xml"/><Relationship Id="rId154" Type="http://schemas.openxmlformats.org/officeDocument/2006/relationships/tags" Target="../tags/tag163.xml"/><Relationship Id="rId16" Type="http://schemas.openxmlformats.org/officeDocument/2006/relationships/tags" Target="../tags/tag25.xml"/><Relationship Id="rId37" Type="http://schemas.openxmlformats.org/officeDocument/2006/relationships/tags" Target="../tags/tag46.xml"/><Relationship Id="rId58" Type="http://schemas.openxmlformats.org/officeDocument/2006/relationships/tags" Target="../tags/tag67.xml"/><Relationship Id="rId79" Type="http://schemas.openxmlformats.org/officeDocument/2006/relationships/tags" Target="../tags/tag88.xml"/><Relationship Id="rId102" Type="http://schemas.openxmlformats.org/officeDocument/2006/relationships/tags" Target="../tags/tag111.xml"/><Relationship Id="rId123" Type="http://schemas.openxmlformats.org/officeDocument/2006/relationships/tags" Target="../tags/tag132.xml"/><Relationship Id="rId144" Type="http://schemas.openxmlformats.org/officeDocument/2006/relationships/tags" Target="../tags/tag153.xml"/><Relationship Id="rId90" Type="http://schemas.openxmlformats.org/officeDocument/2006/relationships/tags" Target="../tags/tag99.xml"/><Relationship Id="rId165" Type="http://schemas.openxmlformats.org/officeDocument/2006/relationships/tags" Target="../tags/tag174.xml"/><Relationship Id="rId27" Type="http://schemas.openxmlformats.org/officeDocument/2006/relationships/tags" Target="../tags/tag36.xml"/><Relationship Id="rId48" Type="http://schemas.openxmlformats.org/officeDocument/2006/relationships/tags" Target="../tags/tag57.xml"/><Relationship Id="rId69" Type="http://schemas.openxmlformats.org/officeDocument/2006/relationships/tags" Target="../tags/tag78.xml"/><Relationship Id="rId113" Type="http://schemas.openxmlformats.org/officeDocument/2006/relationships/tags" Target="../tags/tag122.xml"/><Relationship Id="rId134" Type="http://schemas.openxmlformats.org/officeDocument/2006/relationships/tags" Target="../tags/tag143.xml"/><Relationship Id="rId80" Type="http://schemas.openxmlformats.org/officeDocument/2006/relationships/tags" Target="../tags/tag89.xml"/><Relationship Id="rId155" Type="http://schemas.openxmlformats.org/officeDocument/2006/relationships/tags" Target="../tags/tag164.xml"/><Relationship Id="rId17" Type="http://schemas.openxmlformats.org/officeDocument/2006/relationships/tags" Target="../tags/tag26.xml"/><Relationship Id="rId38" Type="http://schemas.openxmlformats.org/officeDocument/2006/relationships/tags" Target="../tags/tag47.xml"/><Relationship Id="rId59" Type="http://schemas.openxmlformats.org/officeDocument/2006/relationships/tags" Target="../tags/tag68.xml"/><Relationship Id="rId103" Type="http://schemas.openxmlformats.org/officeDocument/2006/relationships/tags" Target="../tags/tag112.xml"/><Relationship Id="rId124" Type="http://schemas.openxmlformats.org/officeDocument/2006/relationships/tags" Target="../tags/tag13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6">
            <a:extLst>
              <a:ext uri="{FF2B5EF4-FFF2-40B4-BE49-F238E27FC236}">
                <a16:creationId xmlns:a16="http://schemas.microsoft.com/office/drawing/2014/main" id="{8C7CA0D1-8B49-4675-8A5E-57C7F64475C1}"/>
              </a:ext>
            </a:extLst>
          </p:cNvPr>
          <p:cNvSpPr/>
          <p:nvPr/>
        </p:nvSpPr>
        <p:spPr>
          <a:xfrm>
            <a:off x="8493790" y="935321"/>
            <a:ext cx="151509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GB" b="1" dirty="0"/>
              <a:t>FGAI4H-P-050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36F58C8-2F54-4864-94DC-A069EA8D2640}"/>
              </a:ext>
            </a:extLst>
          </p:cNvPr>
          <p:cNvSpPr/>
          <p:nvPr/>
        </p:nvSpPr>
        <p:spPr>
          <a:xfrm>
            <a:off x="6833336" y="1304653"/>
            <a:ext cx="317554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en-US" dirty="0"/>
              <a:t>Helsinki, 20-22 September 2022</a:t>
            </a:r>
            <a:endParaRPr lang="en-GB" dirty="0"/>
          </a:p>
        </p:txBody>
      </p:sp>
      <p:graphicFrame>
        <p:nvGraphicFramePr>
          <p:cNvPr id="14" name="Table 2">
            <a:extLst>
              <a:ext uri="{FF2B5EF4-FFF2-40B4-BE49-F238E27FC236}">
                <a16:creationId xmlns:a16="http://schemas.microsoft.com/office/drawing/2014/main" id="{F23ADA95-2EB2-45F5-AA21-8B52FA9A9E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3258780"/>
              </p:ext>
            </p:extLst>
          </p:nvPr>
        </p:nvGraphicFramePr>
        <p:xfrm>
          <a:off x="1790700" y="3247161"/>
          <a:ext cx="8401049" cy="20802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46348">
                  <a:extLst>
                    <a:ext uri="{9D8B030D-6E8A-4147-A177-3AD203B41FA5}">
                      <a16:colId xmlns:a16="http://schemas.microsoft.com/office/drawing/2014/main" val="3760236376"/>
                    </a:ext>
                  </a:extLst>
                </a:gridCol>
                <a:gridCol w="3476483">
                  <a:extLst>
                    <a:ext uri="{9D8B030D-6E8A-4147-A177-3AD203B41FA5}">
                      <a16:colId xmlns:a16="http://schemas.microsoft.com/office/drawing/2014/main" val="4118390399"/>
                    </a:ext>
                  </a:extLst>
                </a:gridCol>
                <a:gridCol w="3578218">
                  <a:extLst>
                    <a:ext uri="{9D8B030D-6E8A-4147-A177-3AD203B41FA5}">
                      <a16:colId xmlns:a16="http://schemas.microsoft.com/office/drawing/2014/main" val="3689152469"/>
                    </a:ext>
                  </a:extLst>
                </a:gridCol>
              </a:tblGrid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Source:</a:t>
                      </a:r>
                      <a:endParaRPr lang="en-GB" sz="1800" b="1" dirty="0"/>
                    </a:p>
                  </a:txBody>
                  <a:tcPr marL="68580" marR="68580" marT="34290" marB="34290"/>
                </a:tc>
                <a:tc gridSpan="2">
                  <a:txBody>
                    <a:bodyPr/>
                    <a:lstStyle/>
                    <a:p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G-AI4H Management</a:t>
                      </a:r>
                      <a:endParaRPr lang="en-GB" sz="1800" dirty="0">
                        <a:solidFill>
                          <a:schemeClr val="tx1"/>
                        </a:solidFill>
                      </a:endParaRPr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0436266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Title:</a:t>
                      </a:r>
                      <a:endParaRPr lang="en-GB" sz="1800" b="1" dirty="0"/>
                    </a:p>
                  </a:txBody>
                  <a:tcPr marL="68580" marR="68580" marT="34290" marB="34290"/>
                </a:tc>
                <a:tc gridSpan="2">
                  <a:txBody>
                    <a:bodyPr/>
                    <a:lstStyle/>
                    <a:p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itial considerations on a Global Initiative on AI for health (GI-AI4H)</a:t>
                      </a:r>
                      <a:endParaRPr lang="en-GB" sz="1800" dirty="0"/>
                    </a:p>
                  </a:txBody>
                  <a:tcPr marL="68580" marR="68580" marT="34290" marB="34290"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4681210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Purpose:</a:t>
                      </a:r>
                      <a:endParaRPr lang="en-GB" sz="1800" b="1" dirty="0"/>
                    </a:p>
                  </a:txBody>
                  <a:tcPr marL="68580" marR="68580" marT="34290" marB="34290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r>
                        <a:rPr lang="en-US" sz="1800" dirty="0"/>
                        <a:t>Discussion </a:t>
                      </a:r>
                      <a:endParaRPr lang="en-GB" sz="1800" dirty="0"/>
                    </a:p>
                  </a:txBody>
                  <a:tcPr marL="68580" marR="68580" marT="34290" marB="34290"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7445829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Contact:</a:t>
                      </a:r>
                      <a:endParaRPr lang="en-GB" sz="1800" b="1" dirty="0"/>
                    </a:p>
                  </a:txBody>
                  <a:tcPr marL="68580" marR="68580" marT="34290" marB="3429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Sameer </a:t>
                      </a:r>
                      <a:r>
                        <a:rPr lang="en-GB" sz="18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ujari</a:t>
                      </a:r>
                      <a:endParaRPr lang="en-GB" sz="1800" dirty="0">
                        <a:solidFill>
                          <a:srgbClr val="FF0000"/>
                        </a:solidFill>
                      </a:endParaRPr>
                    </a:p>
                  </a:txBody>
                  <a:tcPr marL="68580" marR="68580" marT="34290" marB="3429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/>
                        <a:t>E-mail: </a:t>
                      </a:r>
                      <a:r>
                        <a:rPr lang="en-GB" sz="180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3"/>
                        </a:rPr>
                        <a:t>Pujaris@who.int</a:t>
                      </a:r>
                      <a:r>
                        <a:rPr lang="en-GB" sz="1800" kern="1200" dirty="0">
                          <a:effectLst/>
                        </a:rPr>
                        <a:t> </a:t>
                      </a:r>
                      <a:endParaRPr lang="en-GB" sz="1800" dirty="0"/>
                    </a:p>
                  </a:txBody>
                  <a:tcPr marL="68580" marR="68580" marT="34290" marB="3429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8741495"/>
                  </a:ext>
                </a:extLst>
              </a:tr>
              <a:tr h="365760">
                <a:tc>
                  <a:txBody>
                    <a:bodyPr/>
                    <a:lstStyle/>
                    <a:p>
                      <a:r>
                        <a:rPr lang="en-US" sz="1800" b="1" dirty="0"/>
                        <a:t>Abstract:</a:t>
                      </a:r>
                      <a:endParaRPr lang="en-GB" sz="1800" b="1" dirty="0"/>
                    </a:p>
                  </a:txBody>
                  <a:tcPr marL="68580" marR="68580" marT="34290" marB="3429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/>
                        <a:t>This PPT contains a presentation on </a:t>
                      </a:r>
                      <a:r>
                        <a:rPr lang="en-GB" sz="1800" b="0" i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itial considerations on a Global Initiative on AI for health (GI-AI4H)</a:t>
                      </a:r>
                      <a:r>
                        <a:rPr lang="en-US" sz="1800" dirty="0"/>
                        <a:t> .</a:t>
                      </a:r>
                      <a:endParaRPr lang="en-GB" sz="1800" dirty="0"/>
                    </a:p>
                  </a:txBody>
                  <a:tcPr marL="68580" marR="68580" marT="34290" marB="34290"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9794747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839349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17A37F7C-2954-4B29-A06D-C975F8BECA3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0" y="0"/>
            <a:ext cx="12192000" cy="8127999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6" imgH="357" progId="TCLayout.ActiveDocument.1">
                  <p:embed/>
                </p:oleObj>
              </mc:Choice>
              <mc:Fallback>
                <p:oleObj name="think-cell Slide" r:id="rId8" imgW="476" imgH="35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25192" y="85844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914446">
              <a:defRPr/>
            </a:pPr>
            <a:endParaRPr lang="en-IE" sz="4400" b="1" dirty="0">
              <a:solidFill>
                <a:srgbClr val="000000"/>
              </a:solidFill>
              <a:latin typeface="Georgia" panose="02040502050405020303" pitchFamily="18" charset="0"/>
              <a:sym typeface="Georgia" panose="02040502050405020303" pitchFamily="18" charset="0"/>
            </a:endParaRPr>
          </a:p>
        </p:txBody>
      </p:sp>
      <p:sp>
        <p:nvSpPr>
          <p:cNvPr id="3" name="Documenttype">
            <a:extLst>
              <a:ext uri="{FF2B5EF4-FFF2-40B4-BE49-F238E27FC236}">
                <a16:creationId xmlns:a16="http://schemas.microsoft.com/office/drawing/2014/main" id="{D6F0E11B-4091-403B-9466-F3AD29AB1760}"/>
              </a:ext>
            </a:extLst>
          </p:cNvPr>
          <p:cNvSpPr>
            <a:spLocks noGrp="1"/>
          </p:cNvSpPr>
          <p:nvPr>
            <p:ph type="body" sz="quarter" idx="13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IE" dirty="0"/>
              <a:t>July 2020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1F536F5-EF28-458D-8DF9-AD7E84942C0B}"/>
              </a:ext>
            </a:extLst>
          </p:cNvPr>
          <p:cNvSpPr/>
          <p:nvPr/>
        </p:nvSpPr>
        <p:spPr>
          <a:xfrm>
            <a:off x="-70961" y="-392036"/>
            <a:ext cx="9299628" cy="8520033"/>
          </a:xfrm>
          <a:prstGeom prst="rect">
            <a:avLst/>
          </a:prstGeom>
          <a:gradFill>
            <a:gsLst>
              <a:gs pos="68000">
                <a:schemeClr val="accent1">
                  <a:tint val="100000"/>
                  <a:shade val="100000"/>
                  <a:satMod val="130000"/>
                </a:schemeClr>
              </a:gs>
              <a:gs pos="10000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09630"/>
            <a:endParaRPr lang="da-DK">
              <a:solidFill>
                <a:prstClr val="white"/>
              </a:solidFill>
              <a:latin typeface="Calibri"/>
            </a:endParaRPr>
          </a:p>
        </p:txBody>
      </p:sp>
      <p:sp>
        <p:nvSpPr>
          <p:cNvPr id="4" name="Title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auto">
          <a:xfrm>
            <a:off x="-9662" y="1308745"/>
            <a:ext cx="6738709" cy="34470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b" anchorCtr="0">
            <a:spAutoFit/>
          </a:bodyPr>
          <a:lstStyle/>
          <a:p>
            <a:pPr algn="ctr"/>
            <a:r>
              <a:rPr lang="en-IE" b="1" dirty="0">
                <a:solidFill>
                  <a:schemeClr val="bg1"/>
                </a:solidFill>
              </a:rPr>
              <a:t>Global Initiative on AI for health</a:t>
            </a:r>
            <a:br>
              <a:rPr lang="en-IE" b="1" dirty="0">
                <a:solidFill>
                  <a:schemeClr val="bg1"/>
                </a:solidFill>
              </a:rPr>
            </a:br>
            <a:r>
              <a:rPr lang="en-IE" b="1" dirty="0">
                <a:solidFill>
                  <a:schemeClr val="bg1"/>
                </a:solidFill>
              </a:rPr>
              <a:t>WHO ITU</a:t>
            </a:r>
            <a:br>
              <a:rPr lang="en-IE" b="1" dirty="0">
                <a:solidFill>
                  <a:schemeClr val="bg1"/>
                </a:solidFill>
              </a:rPr>
            </a:br>
            <a:r>
              <a:rPr lang="en-IE" b="1" dirty="0">
                <a:solidFill>
                  <a:schemeClr val="bg1"/>
                </a:solidFill>
              </a:rPr>
              <a:t>+ </a:t>
            </a:r>
            <a:br>
              <a:rPr lang="en-IE" b="1" dirty="0">
                <a:solidFill>
                  <a:schemeClr val="bg1"/>
                </a:solidFill>
              </a:rPr>
            </a:br>
            <a:r>
              <a:rPr lang="en-IE" b="1" dirty="0">
                <a:solidFill>
                  <a:schemeClr val="bg1"/>
                </a:solidFill>
              </a:rPr>
              <a:t>Partners</a:t>
            </a:r>
            <a:endParaRPr lang="en-IE" dirty="0">
              <a:solidFill>
                <a:srgbClr val="FFFF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382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795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3"/>
          <p:cNvSpPr txBox="1"/>
          <p:nvPr/>
        </p:nvSpPr>
        <p:spPr>
          <a:xfrm>
            <a:off x="290934" y="556127"/>
            <a:ext cx="4642758" cy="72301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defTabSz="609630">
              <a:lnSpc>
                <a:spcPts val="6067"/>
              </a:lnSpc>
            </a:pPr>
            <a:r>
              <a:rPr lang="en-US" sz="4667" spc="140" dirty="0">
                <a:solidFill>
                  <a:srgbClr val="F3F7FA"/>
                </a:solidFill>
                <a:latin typeface="Cooper Hewitt Bold"/>
              </a:rPr>
              <a:t>Main functions</a:t>
            </a:r>
          </a:p>
        </p:txBody>
      </p:sp>
      <p:sp>
        <p:nvSpPr>
          <p:cNvPr id="4" name="AutoShape 4"/>
          <p:cNvSpPr/>
          <p:nvPr/>
        </p:nvSpPr>
        <p:spPr>
          <a:xfrm>
            <a:off x="5231313" y="1"/>
            <a:ext cx="6960687" cy="5706093"/>
          </a:xfrm>
          <a:prstGeom prst="rect">
            <a:avLst/>
          </a:prstGeom>
          <a:solidFill>
            <a:srgbClr val="F3F7FA"/>
          </a:solidFill>
        </p:spPr>
        <p:txBody>
          <a:bodyPr/>
          <a:lstStyle/>
          <a:p>
            <a:pPr defTabSz="609630"/>
            <a:endParaRPr lang="en-US" sz="1200" dirty="0">
              <a:solidFill>
                <a:prstClr val="black"/>
              </a:solidFill>
              <a:latin typeface="Calibri"/>
            </a:endParaRPr>
          </a:p>
        </p:txBody>
      </p:sp>
      <p:grpSp>
        <p:nvGrpSpPr>
          <p:cNvPr id="5" name="Group 5"/>
          <p:cNvGrpSpPr/>
          <p:nvPr/>
        </p:nvGrpSpPr>
        <p:grpSpPr>
          <a:xfrm>
            <a:off x="5408510" y="556127"/>
            <a:ext cx="6606293" cy="5129161"/>
            <a:chOff x="-73840" y="567645"/>
            <a:chExt cx="13212585" cy="10258316"/>
          </a:xfrm>
        </p:grpSpPr>
        <p:sp>
          <p:nvSpPr>
            <p:cNvPr id="6" name="TextBox 6"/>
            <p:cNvSpPr txBox="1"/>
            <p:nvPr/>
          </p:nvSpPr>
          <p:spPr>
            <a:xfrm>
              <a:off x="-73840" y="984181"/>
              <a:ext cx="13212585" cy="807274"/>
            </a:xfrm>
            <a:prstGeom prst="rect">
              <a:avLst/>
            </a:prstGeom>
          </p:spPr>
          <p:txBody>
            <a:bodyPr lIns="0" tIns="0" rIns="0" bIns="0" rtlCol="0" anchor="t">
              <a:spAutoFit/>
            </a:bodyPr>
            <a:lstStyle/>
            <a:p>
              <a:pPr defTabSz="609630">
                <a:lnSpc>
                  <a:spcPts val="3410"/>
                </a:lnSpc>
              </a:pPr>
              <a:endParaRPr lang="en-US" sz="2623" spc="262" dirty="0">
                <a:solidFill>
                  <a:srgbClr val="0927EB"/>
                </a:solidFill>
                <a:latin typeface="Cooper Hewitt Bold"/>
              </a:endParaRPr>
            </a:p>
          </p:txBody>
        </p:sp>
        <p:sp>
          <p:nvSpPr>
            <p:cNvPr id="7" name="TextBox 7"/>
            <p:cNvSpPr txBox="1"/>
            <p:nvPr/>
          </p:nvSpPr>
          <p:spPr>
            <a:xfrm>
              <a:off x="-73840" y="567645"/>
              <a:ext cx="12316517" cy="10258316"/>
            </a:xfrm>
            <a:prstGeom prst="rect">
              <a:avLst/>
            </a:prstGeom>
          </p:spPr>
          <p:txBody>
            <a:bodyPr wrap="square" lIns="0" tIns="0" rIns="0" bIns="0" rtlCol="0" anchor="t">
              <a:spAutoFit/>
            </a:bodyPr>
            <a:lstStyle/>
            <a:p>
              <a:pPr defTabSz="609630">
                <a:lnSpc>
                  <a:spcPts val="3106"/>
                </a:lnSpc>
              </a:pPr>
              <a:r>
                <a:rPr lang="en-US" sz="2400" spc="262" dirty="0">
                  <a:solidFill>
                    <a:srgbClr val="0070C0"/>
                  </a:solidFill>
                  <a:latin typeface="Cooper Hewitt Bold"/>
                </a:rPr>
                <a:t>GAI4H...</a:t>
              </a:r>
            </a:p>
            <a:p>
              <a:pPr defTabSz="609630">
                <a:lnSpc>
                  <a:spcPts val="3106"/>
                </a:lnSpc>
              </a:pPr>
              <a:endParaRPr sz="1200" dirty="0">
                <a:solidFill>
                  <a:srgbClr val="0070C0"/>
                </a:solidFill>
                <a:latin typeface="Calibri"/>
              </a:endParaRPr>
            </a:p>
            <a:p>
              <a:pPr defTabSz="609630">
                <a:lnSpc>
                  <a:spcPts val="3106"/>
                </a:lnSpc>
              </a:pPr>
              <a:r>
                <a:rPr lang="en-US" sz="2133" spc="8" dirty="0">
                  <a:solidFill>
                    <a:srgbClr val="0070C0"/>
                  </a:solidFill>
                  <a:latin typeface="Arimo"/>
                  <a:ea typeface="Arimo"/>
                  <a:cs typeface="Arimo"/>
                </a:rPr>
                <a:t>has three main functions:</a:t>
              </a:r>
            </a:p>
            <a:p>
              <a:pPr defTabSz="609630">
                <a:lnSpc>
                  <a:spcPts val="3106"/>
                </a:lnSpc>
              </a:pPr>
              <a:endParaRPr lang="en-US" sz="2133" spc="8" dirty="0">
                <a:solidFill>
                  <a:srgbClr val="0070C0"/>
                </a:solidFill>
                <a:latin typeface="Arimo" panose="020B0604020202020204" charset="0"/>
                <a:ea typeface="Arimo" panose="020B0604020202020204" charset="0"/>
                <a:cs typeface="Arimo" panose="020B0604020202020204" charset="0"/>
              </a:endParaRPr>
            </a:p>
            <a:p>
              <a:pPr marL="341647" lvl="1" indent="-170612" defTabSz="609630">
                <a:lnSpc>
                  <a:spcPts val="3106"/>
                </a:lnSpc>
                <a:buFont typeface="Arial"/>
                <a:buChar char="•"/>
              </a:pPr>
              <a:r>
                <a:rPr lang="en-US" sz="2133" spc="21" dirty="0">
                  <a:solidFill>
                    <a:srgbClr val="0070C0"/>
                  </a:solidFill>
                  <a:latin typeface="Arimo"/>
                  <a:ea typeface="Arimo"/>
                  <a:cs typeface="Arimo"/>
                </a:rPr>
                <a:t>Enable</a:t>
              </a:r>
              <a:endParaRPr lang="en-US" sz="2133" spc="21" dirty="0">
                <a:solidFill>
                  <a:srgbClr val="0070C0"/>
                </a:solidFill>
                <a:latin typeface="Arimo" panose="020B0604020202020204" charset="0"/>
                <a:ea typeface="Arimo" panose="020B0604020202020204" charset="0"/>
                <a:cs typeface="Arimo" panose="020B0604020202020204" charset="0"/>
              </a:endParaRPr>
            </a:p>
            <a:p>
              <a:pPr defTabSz="609630">
                <a:lnSpc>
                  <a:spcPts val="3106"/>
                </a:lnSpc>
              </a:pPr>
              <a:endParaRPr lang="en-US" sz="2133" spc="21" dirty="0">
                <a:solidFill>
                  <a:srgbClr val="0070C0"/>
                </a:solidFill>
                <a:latin typeface="Arimo" panose="020B0604020202020204" charset="0"/>
                <a:ea typeface="Arimo" panose="020B0604020202020204" charset="0"/>
                <a:cs typeface="Arimo" panose="020B0604020202020204" charset="0"/>
              </a:endParaRPr>
            </a:p>
            <a:p>
              <a:pPr marL="341647" lvl="1" indent="-170612" defTabSz="609630">
                <a:lnSpc>
                  <a:spcPts val="3106"/>
                </a:lnSpc>
                <a:buFont typeface="Arial"/>
                <a:buChar char="•"/>
              </a:pPr>
              <a:r>
                <a:rPr lang="en-US" sz="2133" spc="21" dirty="0">
                  <a:solidFill>
                    <a:srgbClr val="0070C0"/>
                  </a:solidFill>
                  <a:latin typeface="Arimo"/>
                  <a:ea typeface="Arimo"/>
                  <a:cs typeface="Arimo"/>
                </a:rPr>
                <a:t>Facilitate</a:t>
              </a:r>
            </a:p>
            <a:p>
              <a:pPr marL="341647" lvl="1" indent="-170612" defTabSz="609630">
                <a:lnSpc>
                  <a:spcPts val="3106"/>
                </a:lnSpc>
                <a:buFont typeface="Arial"/>
                <a:buChar char="•"/>
              </a:pPr>
              <a:endParaRPr lang="en-US" sz="2133" spc="8" dirty="0">
                <a:solidFill>
                  <a:srgbClr val="0070C0"/>
                </a:solidFill>
                <a:latin typeface="Arimo"/>
                <a:ea typeface="Arimo"/>
                <a:cs typeface="Arimo"/>
              </a:endParaRPr>
            </a:p>
            <a:p>
              <a:pPr marL="341647" lvl="1" indent="-170612" defTabSz="609630">
                <a:lnSpc>
                  <a:spcPts val="3106"/>
                </a:lnSpc>
                <a:buFont typeface="Arial"/>
                <a:buChar char="•"/>
              </a:pPr>
              <a:r>
                <a:rPr lang="en-US" sz="2133" spc="8" dirty="0">
                  <a:solidFill>
                    <a:srgbClr val="0070C0"/>
                  </a:solidFill>
                  <a:latin typeface="Arimo"/>
                  <a:ea typeface="Arimo"/>
                  <a:cs typeface="Arimo"/>
                </a:rPr>
                <a:t>Implement</a:t>
              </a:r>
            </a:p>
            <a:p>
              <a:pPr marL="171035" lvl="1" defTabSz="609630">
                <a:lnSpc>
                  <a:spcPts val="3106"/>
                </a:lnSpc>
              </a:pPr>
              <a:endParaRPr lang="en-US" sz="2133" spc="21" dirty="0">
                <a:solidFill>
                  <a:srgbClr val="0070C0"/>
                </a:solidFill>
                <a:latin typeface="Arimo"/>
                <a:ea typeface="Arimo"/>
                <a:cs typeface="Arimo"/>
              </a:endParaRPr>
            </a:p>
            <a:p>
              <a:pPr defTabSz="609630">
                <a:lnSpc>
                  <a:spcPts val="3106"/>
                </a:lnSpc>
              </a:pPr>
              <a:endParaRPr lang="en-US" sz="2133" spc="21" dirty="0">
                <a:solidFill>
                  <a:srgbClr val="0070C0"/>
                </a:solidFill>
                <a:latin typeface="Arimo" panose="020B0604020202020204" charset="0"/>
                <a:ea typeface="Arimo" panose="020B0604020202020204" charset="0"/>
                <a:cs typeface="Arimo" panose="020B0604020202020204" charset="0"/>
              </a:endParaRPr>
            </a:p>
            <a:p>
              <a:pPr defTabSz="609630">
                <a:lnSpc>
                  <a:spcPts val="3106"/>
                </a:lnSpc>
              </a:pPr>
              <a:endParaRPr lang="en-US" sz="2071" spc="21" dirty="0">
                <a:solidFill>
                  <a:srgbClr val="0927EB"/>
                </a:solidFill>
                <a:latin typeface="Cooper Hewitt"/>
              </a:endParaRPr>
            </a:p>
            <a:p>
              <a:pPr defTabSz="609630">
                <a:lnSpc>
                  <a:spcPts val="3106"/>
                </a:lnSpc>
              </a:pPr>
              <a:endParaRPr lang="en-US" sz="2071" spc="21" dirty="0">
                <a:solidFill>
                  <a:srgbClr val="0927EB"/>
                </a:solidFill>
                <a:latin typeface="Cooper Hewitt"/>
              </a:endParaRPr>
            </a:p>
          </p:txBody>
        </p:sp>
      </p:grpSp>
      <p:pic>
        <p:nvPicPr>
          <p:cNvPr id="2056" name="Picture 8" descr="Build a Stacked Storage Chest End Table | DIYwithRick">
            <a:extLst>
              <a:ext uri="{FF2B5EF4-FFF2-40B4-BE49-F238E27FC236}">
                <a16:creationId xmlns:a16="http://schemas.microsoft.com/office/drawing/2014/main" id="{6D63F394-DBD4-48B8-A354-DCBBA7B2AC6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2944" y="2130351"/>
            <a:ext cx="541087" cy="541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8" name="Picture 10" descr="Build a link, business, link, partners, puzzle icon">
            <a:extLst>
              <a:ext uri="{FF2B5EF4-FFF2-40B4-BE49-F238E27FC236}">
                <a16:creationId xmlns:a16="http://schemas.microsoft.com/office/drawing/2014/main" id="{172DB74D-18AA-4E2B-8D5C-B69E366032F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0035" y="2887913"/>
            <a:ext cx="541087" cy="541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60" name="Picture 12" descr="Chart, graph, increasing icon">
            <a:extLst>
              <a:ext uri="{FF2B5EF4-FFF2-40B4-BE49-F238E27FC236}">
                <a16:creationId xmlns:a16="http://schemas.microsoft.com/office/drawing/2014/main" id="{79452607-BD27-4F59-98F5-123E360E304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7703" y="3617237"/>
            <a:ext cx="541087" cy="555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FFB6F088-9386-4C57-B8B4-13FF7D7DE84D}"/>
              </a:ext>
            </a:extLst>
          </p:cNvPr>
          <p:cNvSpPr>
            <a:spLocks/>
          </p:cNvSpPr>
          <p:nvPr/>
        </p:nvSpPr>
        <p:spPr>
          <a:xfrm>
            <a:off x="0" y="6294854"/>
            <a:ext cx="12192000" cy="571497"/>
          </a:xfrm>
          <a:prstGeom prst="rect">
            <a:avLst/>
          </a:prstGeom>
          <a:solidFill>
            <a:srgbClr val="00B0F0"/>
          </a:solidFill>
          <a:ln w="9525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defTabSz="914423">
              <a:defRPr/>
            </a:pPr>
            <a:endParaRPr lang="en-US" sz="1400" b="1" kern="0" dirty="0">
              <a:solidFill>
                <a:prstClr val="white"/>
              </a:solidFill>
              <a:latin typeface="Calibri" panose="020F0502020204030204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F4D1773-22A7-4A15-931E-0EFAB0678240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88981" y="6327979"/>
            <a:ext cx="1599919" cy="497449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65DA92-2B28-4FDD-A436-C320E2392B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7293" y="587855"/>
            <a:ext cx="5486400" cy="762000"/>
          </a:xfrm>
        </p:spPr>
        <p:txBody>
          <a:bodyPr>
            <a:normAutofit fontScale="90000"/>
          </a:bodyPr>
          <a:lstStyle/>
          <a:p>
            <a:r>
              <a:rPr lang="en-US" sz="4000" b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able</a:t>
            </a:r>
            <a:br>
              <a:rPr lang="en-US" sz="4000" b="1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31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E0E7809-BCF7-4756-B26D-5CB044F90F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17592" y="888280"/>
            <a:ext cx="2096086" cy="64155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68AAAF0-0DA4-4EB5-9F6D-111386137D4C}"/>
              </a:ext>
            </a:extLst>
          </p:cNvPr>
          <p:cNvSpPr txBox="1"/>
          <p:nvPr/>
        </p:nvSpPr>
        <p:spPr>
          <a:xfrm>
            <a:off x="2422525" y="1972390"/>
            <a:ext cx="9197975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64" indent="-285764" defTabSz="60963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prstClr val="black"/>
                </a:solidFill>
                <a:latin typeface="Calibri"/>
              </a:rPr>
              <a:t>Norms, guidance, standards, </a:t>
            </a:r>
            <a:br>
              <a:rPr lang="en-US" sz="2400" b="1" dirty="0">
                <a:solidFill>
                  <a:prstClr val="black"/>
                </a:solidFill>
                <a:latin typeface="Calibri"/>
              </a:rPr>
            </a:br>
            <a:r>
              <a:rPr lang="en-US" sz="2400" b="1" dirty="0">
                <a:solidFill>
                  <a:prstClr val="black"/>
                </a:solidFill>
                <a:latin typeface="Calibri"/>
              </a:rPr>
              <a:t>(including all benchmarking framework deliverables)</a:t>
            </a:r>
          </a:p>
          <a:p>
            <a:pPr marL="285764" indent="-285764" defTabSz="609630">
              <a:buFont typeface="Arial" panose="020B0604020202020204" pitchFamily="34" charset="0"/>
              <a:buChar char="•"/>
            </a:pPr>
            <a:endParaRPr lang="en-US" sz="2400" b="1" dirty="0">
              <a:solidFill>
                <a:prstClr val="black"/>
              </a:solidFill>
              <a:latin typeface="Calibri"/>
            </a:endParaRPr>
          </a:p>
          <a:p>
            <a:pPr marL="285764" indent="-285764" defTabSz="60963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prstClr val="black"/>
                </a:solidFill>
                <a:latin typeface="Calibri"/>
              </a:rPr>
              <a:t>Governance (Ethics, Regulations)</a:t>
            </a:r>
          </a:p>
          <a:p>
            <a:pPr marL="285764" indent="-285764" defTabSz="609630">
              <a:buFont typeface="Arial" panose="020B0604020202020204" pitchFamily="34" charset="0"/>
              <a:buChar char="•"/>
            </a:pPr>
            <a:endParaRPr lang="en-US" sz="2400" b="1" dirty="0">
              <a:solidFill>
                <a:prstClr val="black"/>
              </a:solidFill>
              <a:latin typeface="Calibri"/>
            </a:endParaRPr>
          </a:p>
          <a:p>
            <a:pPr marL="285764" indent="-285764" defTabSz="60963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prstClr val="black"/>
                </a:solidFill>
                <a:latin typeface="Calibri"/>
              </a:rPr>
              <a:t>Surveillance, research and evidence </a:t>
            </a:r>
          </a:p>
          <a:p>
            <a:pPr marL="285764" indent="-285764" defTabSz="609630">
              <a:buFont typeface="Arial" panose="020B0604020202020204" pitchFamily="34" charset="0"/>
              <a:buChar char="•"/>
            </a:pPr>
            <a:endParaRPr lang="en-US" sz="2400" b="1" dirty="0">
              <a:solidFill>
                <a:prstClr val="black"/>
              </a:solidFill>
              <a:latin typeface="Calibri"/>
            </a:endParaRPr>
          </a:p>
          <a:p>
            <a:pPr marL="285764" indent="-285764" defTabSz="60963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prstClr val="black"/>
                </a:solidFill>
                <a:latin typeface="Calibri"/>
              </a:rPr>
              <a:t>Data sharing </a:t>
            </a:r>
          </a:p>
        </p:txBody>
      </p:sp>
      <p:pic>
        <p:nvPicPr>
          <p:cNvPr id="16" name="Picture 8" descr="Build a Stacked Storage Chest End Table | DIYwithRick">
            <a:extLst>
              <a:ext uri="{FF2B5EF4-FFF2-40B4-BE49-F238E27FC236}">
                <a16:creationId xmlns:a16="http://schemas.microsoft.com/office/drawing/2014/main" id="{4EC7111D-4C6A-4511-8CBE-B38EC4E5680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84494" y="542069"/>
            <a:ext cx="541087" cy="541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76923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65DA92-2B28-4FDD-A436-C320E2392B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3793" y="888279"/>
            <a:ext cx="5486400" cy="762000"/>
          </a:xfrm>
        </p:spPr>
        <p:txBody>
          <a:bodyPr>
            <a:normAutofit fontScale="90000"/>
          </a:bodyPr>
          <a:lstStyle/>
          <a:p>
            <a:r>
              <a:rPr lang="en-US" sz="4000" b="1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acilitate</a:t>
            </a:r>
            <a:br>
              <a:rPr lang="en-US" sz="4000" b="1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31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E0E7809-BCF7-4756-B26D-5CB044F90F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17592" y="888280"/>
            <a:ext cx="2096086" cy="64155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68AAAF0-0DA4-4EB5-9F6D-111386137D4C}"/>
              </a:ext>
            </a:extLst>
          </p:cNvPr>
          <p:cNvSpPr txBox="1"/>
          <p:nvPr/>
        </p:nvSpPr>
        <p:spPr>
          <a:xfrm>
            <a:off x="2784475" y="1972389"/>
            <a:ext cx="9197975" cy="267765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/>
            <a:endParaRPr lang="en-US" sz="2400" b="1" dirty="0">
              <a:solidFill>
                <a:prstClr val="black"/>
              </a:solidFill>
              <a:latin typeface="Calibri"/>
            </a:endParaRPr>
          </a:p>
          <a:p>
            <a:pPr marL="285764" indent="-285764" defTabSz="60963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prstClr val="black"/>
                </a:solidFill>
                <a:latin typeface="Calibri"/>
              </a:rPr>
              <a:t>Knowledge Sharing between countries</a:t>
            </a:r>
          </a:p>
          <a:p>
            <a:pPr marL="285764" indent="-285764" defTabSz="609630">
              <a:buFont typeface="Arial" panose="020B0604020202020204" pitchFamily="34" charset="0"/>
              <a:buChar char="•"/>
            </a:pPr>
            <a:endParaRPr lang="en-US" sz="2400" b="1" dirty="0">
              <a:solidFill>
                <a:prstClr val="black"/>
              </a:solidFill>
              <a:latin typeface="Calibri"/>
            </a:endParaRPr>
          </a:p>
          <a:p>
            <a:pPr marL="285764" indent="-285764" defTabSz="60963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prstClr val="black"/>
                </a:solidFill>
                <a:latin typeface="Calibri"/>
              </a:rPr>
              <a:t>Pool funding</a:t>
            </a:r>
          </a:p>
          <a:p>
            <a:pPr marL="285764" indent="-285764" defTabSz="609630">
              <a:buFont typeface="Arial" panose="020B0604020202020204" pitchFamily="34" charset="0"/>
              <a:buChar char="•"/>
            </a:pPr>
            <a:endParaRPr lang="en-US" sz="2400" b="1" dirty="0">
              <a:solidFill>
                <a:prstClr val="black"/>
              </a:solidFill>
              <a:latin typeface="Calibri"/>
            </a:endParaRPr>
          </a:p>
          <a:p>
            <a:pPr marL="285764" indent="-285764" defTabSz="60963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prstClr val="black"/>
                </a:solidFill>
                <a:latin typeface="Calibri"/>
              </a:rPr>
              <a:t>Cooperation between all stakeholders</a:t>
            </a:r>
          </a:p>
          <a:p>
            <a:pPr defTabSz="609630"/>
            <a:endParaRPr lang="en-US" sz="2400" b="1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6" name="Picture 10" descr="Build a link, business, link, partners, puzzle icon">
            <a:extLst>
              <a:ext uri="{FF2B5EF4-FFF2-40B4-BE49-F238E27FC236}">
                <a16:creationId xmlns:a16="http://schemas.microsoft.com/office/drawing/2014/main" id="{8816EED1-73B9-45A7-A721-1B442041127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1285" y="728193"/>
            <a:ext cx="541087" cy="5410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1888695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A0079A06-C8C7-4EED-9DC9-A27E5435BA6B}"/>
              </a:ext>
            </a:extLst>
          </p:cNvPr>
          <p:cNvGrpSpPr/>
          <p:nvPr/>
        </p:nvGrpSpPr>
        <p:grpSpPr>
          <a:xfrm>
            <a:off x="1923003" y="1783775"/>
            <a:ext cx="8255020" cy="4387601"/>
            <a:chOff x="444490" y="1574551"/>
            <a:chExt cx="8255020" cy="4387601"/>
          </a:xfrm>
          <a:solidFill>
            <a:schemeClr val="bg1">
              <a:lumMod val="85000"/>
            </a:schemeClr>
          </a:solidFill>
        </p:grpSpPr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39B4785A-27B7-48A0-892F-41256742600E}"/>
                </a:ext>
              </a:extLst>
            </p:cNvPr>
            <p:cNvGrpSpPr/>
            <p:nvPr/>
          </p:nvGrpSpPr>
          <p:grpSpPr>
            <a:xfrm>
              <a:off x="444490" y="1574551"/>
              <a:ext cx="8255020" cy="4387601"/>
              <a:chOff x="444490" y="1574551"/>
              <a:chExt cx="8255020" cy="4387601"/>
            </a:xfrm>
            <a:grpFill/>
          </p:grpSpPr>
          <p:sp>
            <p:nvSpPr>
              <p:cNvPr id="17" name="Freeform 5">
                <a:extLst>
                  <a:ext uri="{FF2B5EF4-FFF2-40B4-BE49-F238E27FC236}">
                    <a16:creationId xmlns:a16="http://schemas.microsoft.com/office/drawing/2014/main" id="{AB3474B3-54D3-457D-8187-C2210EA0B060}"/>
                  </a:ext>
                </a:extLst>
              </p:cNvPr>
              <p:cNvSpPr>
                <a:spLocks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4253557" y="3490177"/>
                <a:ext cx="470957" cy="476210"/>
              </a:xfrm>
              <a:custGeom>
                <a:avLst/>
                <a:gdLst>
                  <a:gd name="T0" fmla="*/ 192 w 313"/>
                  <a:gd name="T1" fmla="*/ 306 h 309"/>
                  <a:gd name="T2" fmla="*/ 171 w 313"/>
                  <a:gd name="T3" fmla="*/ 294 h 309"/>
                  <a:gd name="T4" fmla="*/ 131 w 313"/>
                  <a:gd name="T5" fmla="*/ 264 h 309"/>
                  <a:gd name="T6" fmla="*/ 102 w 313"/>
                  <a:gd name="T7" fmla="*/ 246 h 309"/>
                  <a:gd name="T8" fmla="*/ 86 w 313"/>
                  <a:gd name="T9" fmla="*/ 231 h 309"/>
                  <a:gd name="T10" fmla="*/ 45 w 313"/>
                  <a:gd name="T11" fmla="*/ 205 h 309"/>
                  <a:gd name="T12" fmla="*/ 17 w 313"/>
                  <a:gd name="T13" fmla="*/ 187 h 309"/>
                  <a:gd name="T14" fmla="*/ 15 w 313"/>
                  <a:gd name="T15" fmla="*/ 180 h 309"/>
                  <a:gd name="T16" fmla="*/ 0 w 313"/>
                  <a:gd name="T17" fmla="*/ 165 h 309"/>
                  <a:gd name="T18" fmla="*/ 14 w 313"/>
                  <a:gd name="T19" fmla="*/ 147 h 309"/>
                  <a:gd name="T20" fmla="*/ 24 w 313"/>
                  <a:gd name="T21" fmla="*/ 139 h 309"/>
                  <a:gd name="T22" fmla="*/ 38 w 313"/>
                  <a:gd name="T23" fmla="*/ 138 h 309"/>
                  <a:gd name="T24" fmla="*/ 53 w 313"/>
                  <a:gd name="T25" fmla="*/ 129 h 309"/>
                  <a:gd name="T26" fmla="*/ 62 w 313"/>
                  <a:gd name="T27" fmla="*/ 120 h 309"/>
                  <a:gd name="T28" fmla="*/ 77 w 313"/>
                  <a:gd name="T29" fmla="*/ 114 h 309"/>
                  <a:gd name="T30" fmla="*/ 89 w 313"/>
                  <a:gd name="T31" fmla="*/ 102 h 309"/>
                  <a:gd name="T32" fmla="*/ 92 w 313"/>
                  <a:gd name="T33" fmla="*/ 91 h 309"/>
                  <a:gd name="T34" fmla="*/ 108 w 313"/>
                  <a:gd name="T35" fmla="*/ 90 h 309"/>
                  <a:gd name="T36" fmla="*/ 110 w 313"/>
                  <a:gd name="T37" fmla="*/ 73 h 309"/>
                  <a:gd name="T38" fmla="*/ 110 w 313"/>
                  <a:gd name="T39" fmla="*/ 44 h 309"/>
                  <a:gd name="T40" fmla="*/ 116 w 313"/>
                  <a:gd name="T41" fmla="*/ 33 h 309"/>
                  <a:gd name="T42" fmla="*/ 131 w 313"/>
                  <a:gd name="T43" fmla="*/ 28 h 309"/>
                  <a:gd name="T44" fmla="*/ 149 w 313"/>
                  <a:gd name="T45" fmla="*/ 18 h 309"/>
                  <a:gd name="T46" fmla="*/ 188 w 313"/>
                  <a:gd name="T47" fmla="*/ 12 h 309"/>
                  <a:gd name="T48" fmla="*/ 228 w 313"/>
                  <a:gd name="T49" fmla="*/ 19 h 309"/>
                  <a:gd name="T50" fmla="*/ 222 w 313"/>
                  <a:gd name="T51" fmla="*/ 9 h 309"/>
                  <a:gd name="T52" fmla="*/ 258 w 313"/>
                  <a:gd name="T53" fmla="*/ 18 h 309"/>
                  <a:gd name="T54" fmla="*/ 251 w 313"/>
                  <a:gd name="T55" fmla="*/ 52 h 309"/>
                  <a:gd name="T56" fmla="*/ 254 w 313"/>
                  <a:gd name="T57" fmla="*/ 84 h 309"/>
                  <a:gd name="T58" fmla="*/ 255 w 313"/>
                  <a:gd name="T59" fmla="*/ 90 h 309"/>
                  <a:gd name="T60" fmla="*/ 260 w 313"/>
                  <a:gd name="T61" fmla="*/ 91 h 309"/>
                  <a:gd name="T62" fmla="*/ 270 w 313"/>
                  <a:gd name="T63" fmla="*/ 102 h 309"/>
                  <a:gd name="T64" fmla="*/ 281 w 313"/>
                  <a:gd name="T65" fmla="*/ 111 h 309"/>
                  <a:gd name="T66" fmla="*/ 279 w 313"/>
                  <a:gd name="T67" fmla="*/ 142 h 309"/>
                  <a:gd name="T68" fmla="*/ 279 w 313"/>
                  <a:gd name="T69" fmla="*/ 154 h 309"/>
                  <a:gd name="T70" fmla="*/ 288 w 313"/>
                  <a:gd name="T71" fmla="*/ 181 h 309"/>
                  <a:gd name="T72" fmla="*/ 272 w 313"/>
                  <a:gd name="T73" fmla="*/ 198 h 309"/>
                  <a:gd name="T74" fmla="*/ 281 w 313"/>
                  <a:gd name="T75" fmla="*/ 211 h 309"/>
                  <a:gd name="T76" fmla="*/ 296 w 313"/>
                  <a:gd name="T77" fmla="*/ 226 h 309"/>
                  <a:gd name="T78" fmla="*/ 305 w 313"/>
                  <a:gd name="T79" fmla="*/ 232 h 309"/>
                  <a:gd name="T80" fmla="*/ 290 w 313"/>
                  <a:gd name="T81" fmla="*/ 250 h 309"/>
                  <a:gd name="T82" fmla="*/ 273 w 313"/>
                  <a:gd name="T83" fmla="*/ 256 h 309"/>
                  <a:gd name="T84" fmla="*/ 258 w 313"/>
                  <a:gd name="T85" fmla="*/ 265 h 309"/>
                  <a:gd name="T86" fmla="*/ 246 w 313"/>
                  <a:gd name="T87" fmla="*/ 280 h 309"/>
                  <a:gd name="T88" fmla="*/ 237 w 313"/>
                  <a:gd name="T89" fmla="*/ 286 h 309"/>
                  <a:gd name="T90" fmla="*/ 218 w 313"/>
                  <a:gd name="T91" fmla="*/ 304 h 309"/>
                  <a:gd name="T92" fmla="*/ 192 w 313"/>
                  <a:gd name="T93" fmla="*/ 306 h 3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313" h="309">
                    <a:moveTo>
                      <a:pt x="192" y="306"/>
                    </a:moveTo>
                    <a:cubicBezTo>
                      <a:pt x="176" y="303"/>
                      <a:pt x="184" y="296"/>
                      <a:pt x="171" y="294"/>
                    </a:cubicBezTo>
                    <a:cubicBezTo>
                      <a:pt x="161" y="287"/>
                      <a:pt x="142" y="272"/>
                      <a:pt x="131" y="264"/>
                    </a:cubicBezTo>
                    <a:cubicBezTo>
                      <a:pt x="123" y="257"/>
                      <a:pt x="109" y="251"/>
                      <a:pt x="102" y="246"/>
                    </a:cubicBezTo>
                    <a:cubicBezTo>
                      <a:pt x="100" y="245"/>
                      <a:pt x="89" y="233"/>
                      <a:pt x="86" y="231"/>
                    </a:cubicBezTo>
                    <a:cubicBezTo>
                      <a:pt x="72" y="222"/>
                      <a:pt x="58" y="215"/>
                      <a:pt x="45" y="205"/>
                    </a:cubicBezTo>
                    <a:cubicBezTo>
                      <a:pt x="37" y="199"/>
                      <a:pt x="28" y="189"/>
                      <a:pt x="17" y="187"/>
                    </a:cubicBezTo>
                    <a:cubicBezTo>
                      <a:pt x="11" y="182"/>
                      <a:pt x="18" y="184"/>
                      <a:pt x="15" y="180"/>
                    </a:cubicBezTo>
                    <a:cubicBezTo>
                      <a:pt x="12" y="176"/>
                      <a:pt x="0" y="170"/>
                      <a:pt x="0" y="165"/>
                    </a:cubicBezTo>
                    <a:cubicBezTo>
                      <a:pt x="0" y="160"/>
                      <a:pt x="10" y="151"/>
                      <a:pt x="14" y="147"/>
                    </a:cubicBezTo>
                    <a:cubicBezTo>
                      <a:pt x="17" y="141"/>
                      <a:pt x="20" y="140"/>
                      <a:pt x="24" y="139"/>
                    </a:cubicBezTo>
                    <a:cubicBezTo>
                      <a:pt x="28" y="138"/>
                      <a:pt x="33" y="140"/>
                      <a:pt x="38" y="138"/>
                    </a:cubicBezTo>
                    <a:cubicBezTo>
                      <a:pt x="45" y="135"/>
                      <a:pt x="49" y="132"/>
                      <a:pt x="53" y="129"/>
                    </a:cubicBezTo>
                    <a:cubicBezTo>
                      <a:pt x="57" y="126"/>
                      <a:pt x="58" y="123"/>
                      <a:pt x="62" y="120"/>
                    </a:cubicBezTo>
                    <a:cubicBezTo>
                      <a:pt x="64" y="117"/>
                      <a:pt x="75" y="117"/>
                      <a:pt x="77" y="114"/>
                    </a:cubicBezTo>
                    <a:cubicBezTo>
                      <a:pt x="81" y="111"/>
                      <a:pt x="87" y="106"/>
                      <a:pt x="89" y="102"/>
                    </a:cubicBezTo>
                    <a:cubicBezTo>
                      <a:pt x="91" y="98"/>
                      <a:pt x="89" y="93"/>
                      <a:pt x="92" y="91"/>
                    </a:cubicBezTo>
                    <a:cubicBezTo>
                      <a:pt x="97" y="89"/>
                      <a:pt x="101" y="91"/>
                      <a:pt x="108" y="90"/>
                    </a:cubicBezTo>
                    <a:cubicBezTo>
                      <a:pt x="110" y="81"/>
                      <a:pt x="112" y="82"/>
                      <a:pt x="110" y="73"/>
                    </a:cubicBezTo>
                    <a:cubicBezTo>
                      <a:pt x="110" y="65"/>
                      <a:pt x="109" y="51"/>
                      <a:pt x="110" y="44"/>
                    </a:cubicBezTo>
                    <a:cubicBezTo>
                      <a:pt x="111" y="37"/>
                      <a:pt x="112" y="36"/>
                      <a:pt x="116" y="33"/>
                    </a:cubicBezTo>
                    <a:cubicBezTo>
                      <a:pt x="118" y="22"/>
                      <a:pt x="123" y="26"/>
                      <a:pt x="131" y="28"/>
                    </a:cubicBezTo>
                    <a:cubicBezTo>
                      <a:pt x="136" y="21"/>
                      <a:pt x="141" y="20"/>
                      <a:pt x="149" y="18"/>
                    </a:cubicBezTo>
                    <a:cubicBezTo>
                      <a:pt x="161" y="9"/>
                      <a:pt x="169" y="13"/>
                      <a:pt x="188" y="12"/>
                    </a:cubicBezTo>
                    <a:cubicBezTo>
                      <a:pt x="200" y="3"/>
                      <a:pt x="215" y="17"/>
                      <a:pt x="228" y="19"/>
                    </a:cubicBezTo>
                    <a:cubicBezTo>
                      <a:pt x="239" y="23"/>
                      <a:pt x="227" y="15"/>
                      <a:pt x="222" y="9"/>
                    </a:cubicBezTo>
                    <a:cubicBezTo>
                      <a:pt x="237" y="0"/>
                      <a:pt x="282" y="4"/>
                      <a:pt x="258" y="18"/>
                    </a:cubicBezTo>
                    <a:cubicBezTo>
                      <a:pt x="251" y="27"/>
                      <a:pt x="263" y="43"/>
                      <a:pt x="251" y="52"/>
                    </a:cubicBezTo>
                    <a:cubicBezTo>
                      <a:pt x="248" y="64"/>
                      <a:pt x="245" y="75"/>
                      <a:pt x="254" y="84"/>
                    </a:cubicBezTo>
                    <a:cubicBezTo>
                      <a:pt x="254" y="86"/>
                      <a:pt x="254" y="88"/>
                      <a:pt x="255" y="90"/>
                    </a:cubicBezTo>
                    <a:cubicBezTo>
                      <a:pt x="256" y="91"/>
                      <a:pt x="259" y="90"/>
                      <a:pt x="260" y="91"/>
                    </a:cubicBezTo>
                    <a:cubicBezTo>
                      <a:pt x="262" y="93"/>
                      <a:pt x="269" y="99"/>
                      <a:pt x="270" y="102"/>
                    </a:cubicBezTo>
                    <a:cubicBezTo>
                      <a:pt x="271" y="108"/>
                      <a:pt x="278" y="105"/>
                      <a:pt x="281" y="111"/>
                    </a:cubicBezTo>
                    <a:cubicBezTo>
                      <a:pt x="282" y="117"/>
                      <a:pt x="279" y="135"/>
                      <a:pt x="279" y="142"/>
                    </a:cubicBezTo>
                    <a:cubicBezTo>
                      <a:pt x="279" y="149"/>
                      <a:pt x="278" y="148"/>
                      <a:pt x="279" y="154"/>
                    </a:cubicBezTo>
                    <a:cubicBezTo>
                      <a:pt x="280" y="160"/>
                      <a:pt x="289" y="174"/>
                      <a:pt x="288" y="181"/>
                    </a:cubicBezTo>
                    <a:cubicBezTo>
                      <a:pt x="287" y="188"/>
                      <a:pt x="273" y="193"/>
                      <a:pt x="272" y="198"/>
                    </a:cubicBezTo>
                    <a:cubicBezTo>
                      <a:pt x="275" y="202"/>
                      <a:pt x="278" y="207"/>
                      <a:pt x="281" y="211"/>
                    </a:cubicBezTo>
                    <a:cubicBezTo>
                      <a:pt x="283" y="220"/>
                      <a:pt x="288" y="225"/>
                      <a:pt x="296" y="226"/>
                    </a:cubicBezTo>
                    <a:cubicBezTo>
                      <a:pt x="303" y="230"/>
                      <a:pt x="296" y="228"/>
                      <a:pt x="305" y="232"/>
                    </a:cubicBezTo>
                    <a:cubicBezTo>
                      <a:pt x="313" y="242"/>
                      <a:pt x="295" y="250"/>
                      <a:pt x="290" y="250"/>
                    </a:cubicBezTo>
                    <a:cubicBezTo>
                      <a:pt x="283" y="253"/>
                      <a:pt x="280" y="253"/>
                      <a:pt x="273" y="256"/>
                    </a:cubicBezTo>
                    <a:cubicBezTo>
                      <a:pt x="268" y="263"/>
                      <a:pt x="267" y="263"/>
                      <a:pt x="258" y="265"/>
                    </a:cubicBezTo>
                    <a:cubicBezTo>
                      <a:pt x="254" y="268"/>
                      <a:pt x="250" y="277"/>
                      <a:pt x="246" y="280"/>
                    </a:cubicBezTo>
                    <a:cubicBezTo>
                      <a:pt x="243" y="286"/>
                      <a:pt x="244" y="285"/>
                      <a:pt x="237" y="286"/>
                    </a:cubicBezTo>
                    <a:cubicBezTo>
                      <a:pt x="231" y="290"/>
                      <a:pt x="225" y="303"/>
                      <a:pt x="218" y="304"/>
                    </a:cubicBezTo>
                    <a:cubicBezTo>
                      <a:pt x="211" y="309"/>
                      <a:pt x="200" y="306"/>
                      <a:pt x="192" y="30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8" name="Freeform 6">
                <a:extLst>
                  <a:ext uri="{FF2B5EF4-FFF2-40B4-BE49-F238E27FC236}">
                    <a16:creationId xmlns:a16="http://schemas.microsoft.com/office/drawing/2014/main" id="{4BBC2DEE-FE4C-4309-8C70-1368C0058897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4662312" y="3610385"/>
                <a:ext cx="355439" cy="345213"/>
              </a:xfrm>
              <a:custGeom>
                <a:avLst/>
                <a:gdLst>
                  <a:gd name="T0" fmla="*/ 6 w 236"/>
                  <a:gd name="T1" fmla="*/ 43 h 224"/>
                  <a:gd name="T2" fmla="*/ 16 w 236"/>
                  <a:gd name="T3" fmla="*/ 22 h 224"/>
                  <a:gd name="T4" fmla="*/ 28 w 236"/>
                  <a:gd name="T5" fmla="*/ 15 h 224"/>
                  <a:gd name="T6" fmla="*/ 48 w 236"/>
                  <a:gd name="T7" fmla="*/ 0 h 224"/>
                  <a:gd name="T8" fmla="*/ 85 w 236"/>
                  <a:gd name="T9" fmla="*/ 6 h 224"/>
                  <a:gd name="T10" fmla="*/ 118 w 236"/>
                  <a:gd name="T11" fmla="*/ 30 h 224"/>
                  <a:gd name="T12" fmla="*/ 142 w 236"/>
                  <a:gd name="T13" fmla="*/ 40 h 224"/>
                  <a:gd name="T14" fmla="*/ 150 w 236"/>
                  <a:gd name="T15" fmla="*/ 43 h 224"/>
                  <a:gd name="T16" fmla="*/ 160 w 236"/>
                  <a:gd name="T17" fmla="*/ 30 h 224"/>
                  <a:gd name="T18" fmla="*/ 156 w 236"/>
                  <a:gd name="T19" fmla="*/ 13 h 224"/>
                  <a:gd name="T20" fmla="*/ 174 w 236"/>
                  <a:gd name="T21" fmla="*/ 3 h 224"/>
                  <a:gd name="T22" fmla="*/ 213 w 236"/>
                  <a:gd name="T23" fmla="*/ 12 h 224"/>
                  <a:gd name="T24" fmla="*/ 226 w 236"/>
                  <a:gd name="T25" fmla="*/ 21 h 224"/>
                  <a:gd name="T26" fmla="*/ 228 w 236"/>
                  <a:gd name="T27" fmla="*/ 34 h 224"/>
                  <a:gd name="T28" fmla="*/ 229 w 236"/>
                  <a:gd name="T29" fmla="*/ 66 h 224"/>
                  <a:gd name="T30" fmla="*/ 231 w 236"/>
                  <a:gd name="T31" fmla="*/ 183 h 224"/>
                  <a:gd name="T32" fmla="*/ 232 w 236"/>
                  <a:gd name="T33" fmla="*/ 217 h 224"/>
                  <a:gd name="T34" fmla="*/ 208 w 236"/>
                  <a:gd name="T35" fmla="*/ 223 h 224"/>
                  <a:gd name="T36" fmla="*/ 186 w 236"/>
                  <a:gd name="T37" fmla="*/ 208 h 224"/>
                  <a:gd name="T38" fmla="*/ 168 w 236"/>
                  <a:gd name="T39" fmla="*/ 198 h 224"/>
                  <a:gd name="T40" fmla="*/ 153 w 236"/>
                  <a:gd name="T41" fmla="*/ 195 h 224"/>
                  <a:gd name="T42" fmla="*/ 145 w 236"/>
                  <a:gd name="T43" fmla="*/ 187 h 224"/>
                  <a:gd name="T44" fmla="*/ 129 w 236"/>
                  <a:gd name="T45" fmla="*/ 175 h 224"/>
                  <a:gd name="T46" fmla="*/ 103 w 236"/>
                  <a:gd name="T47" fmla="*/ 168 h 224"/>
                  <a:gd name="T48" fmla="*/ 78 w 236"/>
                  <a:gd name="T49" fmla="*/ 171 h 224"/>
                  <a:gd name="T50" fmla="*/ 58 w 236"/>
                  <a:gd name="T51" fmla="*/ 163 h 224"/>
                  <a:gd name="T52" fmla="*/ 39 w 236"/>
                  <a:gd name="T53" fmla="*/ 160 h 224"/>
                  <a:gd name="T54" fmla="*/ 12 w 236"/>
                  <a:gd name="T55" fmla="*/ 139 h 224"/>
                  <a:gd name="T56" fmla="*/ 1 w 236"/>
                  <a:gd name="T57" fmla="*/ 127 h 224"/>
                  <a:gd name="T58" fmla="*/ 15 w 236"/>
                  <a:gd name="T59" fmla="*/ 106 h 224"/>
                  <a:gd name="T60" fmla="*/ 7 w 236"/>
                  <a:gd name="T61" fmla="*/ 73 h 224"/>
                  <a:gd name="T62" fmla="*/ 6 w 236"/>
                  <a:gd name="T63" fmla="*/ 43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236" h="224">
                    <a:moveTo>
                      <a:pt x="6" y="43"/>
                    </a:moveTo>
                    <a:cubicBezTo>
                      <a:pt x="8" y="35"/>
                      <a:pt x="12" y="27"/>
                      <a:pt x="16" y="22"/>
                    </a:cubicBezTo>
                    <a:cubicBezTo>
                      <a:pt x="20" y="17"/>
                      <a:pt x="23" y="19"/>
                      <a:pt x="28" y="15"/>
                    </a:cubicBezTo>
                    <a:cubicBezTo>
                      <a:pt x="34" y="5"/>
                      <a:pt x="37" y="2"/>
                      <a:pt x="48" y="0"/>
                    </a:cubicBezTo>
                    <a:cubicBezTo>
                      <a:pt x="73" y="1"/>
                      <a:pt x="67" y="2"/>
                      <a:pt x="85" y="6"/>
                    </a:cubicBezTo>
                    <a:cubicBezTo>
                      <a:pt x="103" y="30"/>
                      <a:pt x="74" y="26"/>
                      <a:pt x="118" y="30"/>
                    </a:cubicBezTo>
                    <a:cubicBezTo>
                      <a:pt x="127" y="32"/>
                      <a:pt x="133" y="38"/>
                      <a:pt x="142" y="40"/>
                    </a:cubicBezTo>
                    <a:cubicBezTo>
                      <a:pt x="144" y="44"/>
                      <a:pt x="145" y="48"/>
                      <a:pt x="150" y="43"/>
                    </a:cubicBezTo>
                    <a:cubicBezTo>
                      <a:pt x="154" y="39"/>
                      <a:pt x="160" y="30"/>
                      <a:pt x="160" y="30"/>
                    </a:cubicBezTo>
                    <a:cubicBezTo>
                      <a:pt x="159" y="23"/>
                      <a:pt x="157" y="19"/>
                      <a:pt x="156" y="13"/>
                    </a:cubicBezTo>
                    <a:cubicBezTo>
                      <a:pt x="161" y="9"/>
                      <a:pt x="168" y="7"/>
                      <a:pt x="174" y="3"/>
                    </a:cubicBezTo>
                    <a:cubicBezTo>
                      <a:pt x="197" y="4"/>
                      <a:pt x="194" y="8"/>
                      <a:pt x="213" y="12"/>
                    </a:cubicBezTo>
                    <a:cubicBezTo>
                      <a:pt x="217" y="15"/>
                      <a:pt x="222" y="18"/>
                      <a:pt x="226" y="21"/>
                    </a:cubicBezTo>
                    <a:cubicBezTo>
                      <a:pt x="229" y="27"/>
                      <a:pt x="229" y="28"/>
                      <a:pt x="228" y="34"/>
                    </a:cubicBezTo>
                    <a:cubicBezTo>
                      <a:pt x="230" y="44"/>
                      <a:pt x="227" y="56"/>
                      <a:pt x="229" y="66"/>
                    </a:cubicBezTo>
                    <a:cubicBezTo>
                      <a:pt x="232" y="90"/>
                      <a:pt x="234" y="157"/>
                      <a:pt x="231" y="183"/>
                    </a:cubicBezTo>
                    <a:cubicBezTo>
                      <a:pt x="231" y="208"/>
                      <a:pt x="236" y="210"/>
                      <a:pt x="232" y="217"/>
                    </a:cubicBezTo>
                    <a:cubicBezTo>
                      <a:pt x="228" y="224"/>
                      <a:pt x="216" y="224"/>
                      <a:pt x="208" y="223"/>
                    </a:cubicBezTo>
                    <a:cubicBezTo>
                      <a:pt x="201" y="222"/>
                      <a:pt x="193" y="212"/>
                      <a:pt x="186" y="208"/>
                    </a:cubicBezTo>
                    <a:cubicBezTo>
                      <a:pt x="179" y="204"/>
                      <a:pt x="173" y="200"/>
                      <a:pt x="168" y="198"/>
                    </a:cubicBezTo>
                    <a:cubicBezTo>
                      <a:pt x="163" y="194"/>
                      <a:pt x="155" y="197"/>
                      <a:pt x="153" y="195"/>
                    </a:cubicBezTo>
                    <a:cubicBezTo>
                      <a:pt x="149" y="193"/>
                      <a:pt x="149" y="190"/>
                      <a:pt x="145" y="187"/>
                    </a:cubicBezTo>
                    <a:cubicBezTo>
                      <a:pt x="139" y="183"/>
                      <a:pt x="136" y="178"/>
                      <a:pt x="129" y="175"/>
                    </a:cubicBezTo>
                    <a:cubicBezTo>
                      <a:pt x="122" y="172"/>
                      <a:pt x="111" y="169"/>
                      <a:pt x="103" y="168"/>
                    </a:cubicBezTo>
                    <a:cubicBezTo>
                      <a:pt x="75" y="169"/>
                      <a:pt x="94" y="162"/>
                      <a:pt x="78" y="171"/>
                    </a:cubicBezTo>
                    <a:cubicBezTo>
                      <a:pt x="74" y="170"/>
                      <a:pt x="62" y="164"/>
                      <a:pt x="58" y="163"/>
                    </a:cubicBezTo>
                    <a:cubicBezTo>
                      <a:pt x="52" y="161"/>
                      <a:pt x="39" y="160"/>
                      <a:pt x="39" y="160"/>
                    </a:cubicBezTo>
                    <a:cubicBezTo>
                      <a:pt x="30" y="154"/>
                      <a:pt x="20" y="147"/>
                      <a:pt x="12" y="139"/>
                    </a:cubicBezTo>
                    <a:cubicBezTo>
                      <a:pt x="7" y="134"/>
                      <a:pt x="7" y="131"/>
                      <a:pt x="1" y="127"/>
                    </a:cubicBezTo>
                    <a:cubicBezTo>
                      <a:pt x="0" y="119"/>
                      <a:pt x="10" y="112"/>
                      <a:pt x="15" y="106"/>
                    </a:cubicBezTo>
                    <a:cubicBezTo>
                      <a:pt x="17" y="94"/>
                      <a:pt x="11" y="84"/>
                      <a:pt x="7" y="73"/>
                    </a:cubicBezTo>
                    <a:cubicBezTo>
                      <a:pt x="6" y="61"/>
                      <a:pt x="6" y="54"/>
                      <a:pt x="6" y="4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9" name="Freeform 7">
                <a:extLst>
                  <a:ext uri="{FF2B5EF4-FFF2-40B4-BE49-F238E27FC236}">
                    <a16:creationId xmlns:a16="http://schemas.microsoft.com/office/drawing/2014/main" id="{C28E54C5-CCDE-4A18-8F87-1853CF61E4CF}"/>
                  </a:ext>
                </a:extLst>
              </p:cNvPr>
              <p:cNvSpPr>
                <a:spLocks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4945182" y="3006262"/>
                <a:ext cx="432451" cy="274321"/>
              </a:xfrm>
              <a:custGeom>
                <a:avLst/>
                <a:gdLst>
                  <a:gd name="T0" fmla="*/ 107 w 287"/>
                  <a:gd name="T1" fmla="*/ 158 h 178"/>
                  <a:gd name="T2" fmla="*/ 131 w 287"/>
                  <a:gd name="T3" fmla="*/ 137 h 178"/>
                  <a:gd name="T4" fmla="*/ 151 w 287"/>
                  <a:gd name="T5" fmla="*/ 132 h 178"/>
                  <a:gd name="T6" fmla="*/ 152 w 287"/>
                  <a:gd name="T7" fmla="*/ 149 h 178"/>
                  <a:gd name="T8" fmla="*/ 163 w 287"/>
                  <a:gd name="T9" fmla="*/ 156 h 178"/>
                  <a:gd name="T10" fmla="*/ 176 w 287"/>
                  <a:gd name="T11" fmla="*/ 176 h 178"/>
                  <a:gd name="T12" fmla="*/ 211 w 287"/>
                  <a:gd name="T13" fmla="*/ 164 h 178"/>
                  <a:gd name="T14" fmla="*/ 194 w 287"/>
                  <a:gd name="T15" fmla="*/ 149 h 178"/>
                  <a:gd name="T16" fmla="*/ 185 w 287"/>
                  <a:gd name="T17" fmla="*/ 143 h 178"/>
                  <a:gd name="T18" fmla="*/ 199 w 287"/>
                  <a:gd name="T19" fmla="*/ 134 h 178"/>
                  <a:gd name="T20" fmla="*/ 217 w 287"/>
                  <a:gd name="T21" fmla="*/ 125 h 178"/>
                  <a:gd name="T22" fmla="*/ 251 w 287"/>
                  <a:gd name="T23" fmla="*/ 114 h 178"/>
                  <a:gd name="T24" fmla="*/ 263 w 287"/>
                  <a:gd name="T25" fmla="*/ 104 h 178"/>
                  <a:gd name="T26" fmla="*/ 263 w 287"/>
                  <a:gd name="T27" fmla="*/ 63 h 178"/>
                  <a:gd name="T28" fmla="*/ 225 w 287"/>
                  <a:gd name="T29" fmla="*/ 52 h 178"/>
                  <a:gd name="T30" fmla="*/ 214 w 287"/>
                  <a:gd name="T31" fmla="*/ 45 h 178"/>
                  <a:gd name="T32" fmla="*/ 187 w 287"/>
                  <a:gd name="T33" fmla="*/ 29 h 178"/>
                  <a:gd name="T34" fmla="*/ 179 w 287"/>
                  <a:gd name="T35" fmla="*/ 11 h 178"/>
                  <a:gd name="T36" fmla="*/ 142 w 287"/>
                  <a:gd name="T37" fmla="*/ 8 h 178"/>
                  <a:gd name="T38" fmla="*/ 122 w 287"/>
                  <a:gd name="T39" fmla="*/ 12 h 178"/>
                  <a:gd name="T40" fmla="*/ 109 w 287"/>
                  <a:gd name="T41" fmla="*/ 18 h 178"/>
                  <a:gd name="T42" fmla="*/ 92 w 287"/>
                  <a:gd name="T43" fmla="*/ 17 h 178"/>
                  <a:gd name="T44" fmla="*/ 31 w 287"/>
                  <a:gd name="T45" fmla="*/ 15 h 178"/>
                  <a:gd name="T46" fmla="*/ 28 w 287"/>
                  <a:gd name="T47" fmla="*/ 32 h 178"/>
                  <a:gd name="T48" fmla="*/ 14 w 287"/>
                  <a:gd name="T49" fmla="*/ 53 h 178"/>
                  <a:gd name="T50" fmla="*/ 5 w 287"/>
                  <a:gd name="T51" fmla="*/ 63 h 178"/>
                  <a:gd name="T52" fmla="*/ 7 w 287"/>
                  <a:gd name="T53" fmla="*/ 72 h 178"/>
                  <a:gd name="T54" fmla="*/ 5 w 287"/>
                  <a:gd name="T55" fmla="*/ 84 h 178"/>
                  <a:gd name="T56" fmla="*/ 7 w 287"/>
                  <a:gd name="T57" fmla="*/ 96 h 178"/>
                  <a:gd name="T58" fmla="*/ 47 w 287"/>
                  <a:gd name="T59" fmla="*/ 98 h 178"/>
                  <a:gd name="T60" fmla="*/ 65 w 287"/>
                  <a:gd name="T61" fmla="*/ 95 h 178"/>
                  <a:gd name="T62" fmla="*/ 73 w 287"/>
                  <a:gd name="T63" fmla="*/ 89 h 178"/>
                  <a:gd name="T64" fmla="*/ 91 w 287"/>
                  <a:gd name="T65" fmla="*/ 90 h 178"/>
                  <a:gd name="T66" fmla="*/ 103 w 287"/>
                  <a:gd name="T67" fmla="*/ 99 h 178"/>
                  <a:gd name="T68" fmla="*/ 109 w 287"/>
                  <a:gd name="T69" fmla="*/ 117 h 178"/>
                  <a:gd name="T70" fmla="*/ 110 w 287"/>
                  <a:gd name="T71" fmla="*/ 132 h 178"/>
                  <a:gd name="T72" fmla="*/ 104 w 287"/>
                  <a:gd name="T73" fmla="*/ 144 h 178"/>
                  <a:gd name="T74" fmla="*/ 98 w 287"/>
                  <a:gd name="T75" fmla="*/ 150 h 178"/>
                  <a:gd name="T76" fmla="*/ 107 w 287"/>
                  <a:gd name="T77" fmla="*/ 158 h 1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287" h="178">
                    <a:moveTo>
                      <a:pt x="107" y="158"/>
                    </a:moveTo>
                    <a:cubicBezTo>
                      <a:pt x="117" y="154"/>
                      <a:pt x="123" y="143"/>
                      <a:pt x="131" y="137"/>
                    </a:cubicBezTo>
                    <a:cubicBezTo>
                      <a:pt x="135" y="126"/>
                      <a:pt x="141" y="130"/>
                      <a:pt x="151" y="132"/>
                    </a:cubicBezTo>
                    <a:cubicBezTo>
                      <a:pt x="155" y="139"/>
                      <a:pt x="156" y="142"/>
                      <a:pt x="152" y="149"/>
                    </a:cubicBezTo>
                    <a:cubicBezTo>
                      <a:pt x="155" y="155"/>
                      <a:pt x="157" y="155"/>
                      <a:pt x="163" y="156"/>
                    </a:cubicBezTo>
                    <a:cubicBezTo>
                      <a:pt x="170" y="168"/>
                      <a:pt x="159" y="178"/>
                      <a:pt x="176" y="176"/>
                    </a:cubicBezTo>
                    <a:cubicBezTo>
                      <a:pt x="190" y="162"/>
                      <a:pt x="186" y="165"/>
                      <a:pt x="211" y="164"/>
                    </a:cubicBezTo>
                    <a:cubicBezTo>
                      <a:pt x="217" y="154"/>
                      <a:pt x="202" y="150"/>
                      <a:pt x="194" y="149"/>
                    </a:cubicBezTo>
                    <a:cubicBezTo>
                      <a:pt x="191" y="147"/>
                      <a:pt x="185" y="147"/>
                      <a:pt x="185" y="143"/>
                    </a:cubicBezTo>
                    <a:cubicBezTo>
                      <a:pt x="185" y="138"/>
                      <a:pt x="196" y="135"/>
                      <a:pt x="199" y="134"/>
                    </a:cubicBezTo>
                    <a:cubicBezTo>
                      <a:pt x="205" y="131"/>
                      <a:pt x="211" y="129"/>
                      <a:pt x="217" y="125"/>
                    </a:cubicBezTo>
                    <a:cubicBezTo>
                      <a:pt x="223" y="115"/>
                      <a:pt x="240" y="116"/>
                      <a:pt x="251" y="114"/>
                    </a:cubicBezTo>
                    <a:cubicBezTo>
                      <a:pt x="256" y="111"/>
                      <a:pt x="259" y="109"/>
                      <a:pt x="263" y="104"/>
                    </a:cubicBezTo>
                    <a:cubicBezTo>
                      <a:pt x="266" y="84"/>
                      <a:pt x="287" y="67"/>
                      <a:pt x="263" y="63"/>
                    </a:cubicBezTo>
                    <a:cubicBezTo>
                      <a:pt x="257" y="54"/>
                      <a:pt x="234" y="54"/>
                      <a:pt x="225" y="52"/>
                    </a:cubicBezTo>
                    <a:cubicBezTo>
                      <a:pt x="217" y="49"/>
                      <a:pt x="220" y="49"/>
                      <a:pt x="214" y="45"/>
                    </a:cubicBezTo>
                    <a:cubicBezTo>
                      <a:pt x="209" y="38"/>
                      <a:pt x="195" y="34"/>
                      <a:pt x="187" y="29"/>
                    </a:cubicBezTo>
                    <a:cubicBezTo>
                      <a:pt x="183" y="24"/>
                      <a:pt x="183" y="16"/>
                      <a:pt x="179" y="11"/>
                    </a:cubicBezTo>
                    <a:cubicBezTo>
                      <a:pt x="177" y="0"/>
                      <a:pt x="151" y="9"/>
                      <a:pt x="142" y="8"/>
                    </a:cubicBezTo>
                    <a:cubicBezTo>
                      <a:pt x="133" y="9"/>
                      <a:pt x="130" y="10"/>
                      <a:pt x="122" y="12"/>
                    </a:cubicBezTo>
                    <a:cubicBezTo>
                      <a:pt x="117" y="14"/>
                      <a:pt x="114" y="17"/>
                      <a:pt x="109" y="18"/>
                    </a:cubicBezTo>
                    <a:cubicBezTo>
                      <a:pt x="104" y="19"/>
                      <a:pt x="105" y="17"/>
                      <a:pt x="92" y="17"/>
                    </a:cubicBezTo>
                    <a:cubicBezTo>
                      <a:pt x="74" y="8"/>
                      <a:pt x="46" y="15"/>
                      <a:pt x="31" y="15"/>
                    </a:cubicBezTo>
                    <a:cubicBezTo>
                      <a:pt x="21" y="19"/>
                      <a:pt x="23" y="24"/>
                      <a:pt x="28" y="32"/>
                    </a:cubicBezTo>
                    <a:cubicBezTo>
                      <a:pt x="26" y="41"/>
                      <a:pt x="22" y="48"/>
                      <a:pt x="14" y="53"/>
                    </a:cubicBezTo>
                    <a:cubicBezTo>
                      <a:pt x="11" y="58"/>
                      <a:pt x="6" y="60"/>
                      <a:pt x="5" y="63"/>
                    </a:cubicBezTo>
                    <a:cubicBezTo>
                      <a:pt x="4" y="66"/>
                      <a:pt x="7" y="69"/>
                      <a:pt x="7" y="72"/>
                    </a:cubicBezTo>
                    <a:cubicBezTo>
                      <a:pt x="7" y="75"/>
                      <a:pt x="5" y="80"/>
                      <a:pt x="5" y="84"/>
                    </a:cubicBezTo>
                    <a:cubicBezTo>
                      <a:pt x="6" y="88"/>
                      <a:pt x="0" y="94"/>
                      <a:pt x="7" y="96"/>
                    </a:cubicBezTo>
                    <a:cubicBezTo>
                      <a:pt x="14" y="98"/>
                      <a:pt x="37" y="98"/>
                      <a:pt x="47" y="98"/>
                    </a:cubicBezTo>
                    <a:cubicBezTo>
                      <a:pt x="56" y="97"/>
                      <a:pt x="61" y="96"/>
                      <a:pt x="65" y="95"/>
                    </a:cubicBezTo>
                    <a:cubicBezTo>
                      <a:pt x="69" y="94"/>
                      <a:pt x="69" y="90"/>
                      <a:pt x="73" y="89"/>
                    </a:cubicBezTo>
                    <a:cubicBezTo>
                      <a:pt x="79" y="86"/>
                      <a:pt x="84" y="89"/>
                      <a:pt x="91" y="90"/>
                    </a:cubicBezTo>
                    <a:cubicBezTo>
                      <a:pt x="96" y="93"/>
                      <a:pt x="99" y="94"/>
                      <a:pt x="103" y="99"/>
                    </a:cubicBezTo>
                    <a:cubicBezTo>
                      <a:pt x="104" y="107"/>
                      <a:pt x="104" y="111"/>
                      <a:pt x="109" y="117"/>
                    </a:cubicBezTo>
                    <a:cubicBezTo>
                      <a:pt x="111" y="125"/>
                      <a:pt x="114" y="124"/>
                      <a:pt x="110" y="132"/>
                    </a:cubicBezTo>
                    <a:cubicBezTo>
                      <a:pt x="110" y="136"/>
                      <a:pt x="106" y="141"/>
                      <a:pt x="104" y="144"/>
                    </a:cubicBezTo>
                    <a:cubicBezTo>
                      <a:pt x="102" y="147"/>
                      <a:pt x="98" y="148"/>
                      <a:pt x="98" y="150"/>
                    </a:cubicBezTo>
                    <a:cubicBezTo>
                      <a:pt x="96" y="159"/>
                      <a:pt x="99" y="159"/>
                      <a:pt x="107" y="15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20" name="Freeform 8">
                <a:extLst>
                  <a:ext uri="{FF2B5EF4-FFF2-40B4-BE49-F238E27FC236}">
                    <a16:creationId xmlns:a16="http://schemas.microsoft.com/office/drawing/2014/main" id="{F1731A7C-9D17-495E-9918-A1BF7DE033C0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5701972" y="3249760"/>
                <a:ext cx="367287" cy="251205"/>
              </a:xfrm>
              <a:custGeom>
                <a:avLst/>
                <a:gdLst>
                  <a:gd name="T0" fmla="*/ 174 w 244"/>
                  <a:gd name="T1" fmla="*/ 93 h 163"/>
                  <a:gd name="T2" fmla="*/ 189 w 244"/>
                  <a:gd name="T3" fmla="*/ 82 h 163"/>
                  <a:gd name="T4" fmla="*/ 219 w 244"/>
                  <a:gd name="T5" fmla="*/ 61 h 163"/>
                  <a:gd name="T6" fmla="*/ 237 w 244"/>
                  <a:gd name="T7" fmla="*/ 73 h 163"/>
                  <a:gd name="T8" fmla="*/ 244 w 244"/>
                  <a:gd name="T9" fmla="*/ 84 h 163"/>
                  <a:gd name="T10" fmla="*/ 196 w 244"/>
                  <a:gd name="T11" fmla="*/ 97 h 163"/>
                  <a:gd name="T12" fmla="*/ 183 w 244"/>
                  <a:gd name="T13" fmla="*/ 106 h 163"/>
                  <a:gd name="T14" fmla="*/ 172 w 244"/>
                  <a:gd name="T15" fmla="*/ 115 h 163"/>
                  <a:gd name="T16" fmla="*/ 177 w 244"/>
                  <a:gd name="T17" fmla="*/ 142 h 163"/>
                  <a:gd name="T18" fmla="*/ 153 w 244"/>
                  <a:gd name="T19" fmla="*/ 157 h 163"/>
                  <a:gd name="T20" fmla="*/ 150 w 244"/>
                  <a:gd name="T21" fmla="*/ 153 h 163"/>
                  <a:gd name="T22" fmla="*/ 148 w 244"/>
                  <a:gd name="T23" fmla="*/ 147 h 163"/>
                  <a:gd name="T24" fmla="*/ 121 w 244"/>
                  <a:gd name="T25" fmla="*/ 129 h 163"/>
                  <a:gd name="T26" fmla="*/ 99 w 244"/>
                  <a:gd name="T27" fmla="*/ 112 h 163"/>
                  <a:gd name="T28" fmla="*/ 91 w 244"/>
                  <a:gd name="T29" fmla="*/ 93 h 163"/>
                  <a:gd name="T30" fmla="*/ 76 w 244"/>
                  <a:gd name="T31" fmla="*/ 78 h 163"/>
                  <a:gd name="T32" fmla="*/ 58 w 244"/>
                  <a:gd name="T33" fmla="*/ 73 h 163"/>
                  <a:gd name="T34" fmla="*/ 49 w 244"/>
                  <a:gd name="T35" fmla="*/ 57 h 163"/>
                  <a:gd name="T36" fmla="*/ 18 w 244"/>
                  <a:gd name="T37" fmla="*/ 72 h 163"/>
                  <a:gd name="T38" fmla="*/ 4 w 244"/>
                  <a:gd name="T39" fmla="*/ 79 h 163"/>
                  <a:gd name="T40" fmla="*/ 4 w 244"/>
                  <a:gd name="T41" fmla="*/ 19 h 163"/>
                  <a:gd name="T42" fmla="*/ 30 w 244"/>
                  <a:gd name="T43" fmla="*/ 9 h 163"/>
                  <a:gd name="T44" fmla="*/ 43 w 244"/>
                  <a:gd name="T45" fmla="*/ 0 h 163"/>
                  <a:gd name="T46" fmla="*/ 51 w 244"/>
                  <a:gd name="T47" fmla="*/ 9 h 163"/>
                  <a:gd name="T48" fmla="*/ 61 w 244"/>
                  <a:gd name="T49" fmla="*/ 12 h 163"/>
                  <a:gd name="T50" fmla="*/ 69 w 244"/>
                  <a:gd name="T51" fmla="*/ 25 h 163"/>
                  <a:gd name="T52" fmla="*/ 90 w 244"/>
                  <a:gd name="T53" fmla="*/ 34 h 163"/>
                  <a:gd name="T54" fmla="*/ 105 w 244"/>
                  <a:gd name="T55" fmla="*/ 46 h 163"/>
                  <a:gd name="T56" fmla="*/ 139 w 244"/>
                  <a:gd name="T57" fmla="*/ 46 h 163"/>
                  <a:gd name="T58" fmla="*/ 150 w 244"/>
                  <a:gd name="T59" fmla="*/ 63 h 163"/>
                  <a:gd name="T60" fmla="*/ 156 w 244"/>
                  <a:gd name="T61" fmla="*/ 75 h 163"/>
                  <a:gd name="T62" fmla="*/ 165 w 244"/>
                  <a:gd name="T63" fmla="*/ 81 h 163"/>
                  <a:gd name="T64" fmla="*/ 174 w 244"/>
                  <a:gd name="T65" fmla="*/ 93 h 1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44" h="163">
                    <a:moveTo>
                      <a:pt x="174" y="93"/>
                    </a:moveTo>
                    <a:cubicBezTo>
                      <a:pt x="186" y="84"/>
                      <a:pt x="180" y="87"/>
                      <a:pt x="189" y="82"/>
                    </a:cubicBezTo>
                    <a:cubicBezTo>
                      <a:pt x="196" y="73"/>
                      <a:pt x="209" y="65"/>
                      <a:pt x="219" y="61"/>
                    </a:cubicBezTo>
                    <a:cubicBezTo>
                      <a:pt x="227" y="64"/>
                      <a:pt x="229" y="71"/>
                      <a:pt x="237" y="73"/>
                    </a:cubicBezTo>
                    <a:cubicBezTo>
                      <a:pt x="243" y="76"/>
                      <a:pt x="243" y="78"/>
                      <a:pt x="244" y="84"/>
                    </a:cubicBezTo>
                    <a:cubicBezTo>
                      <a:pt x="242" y="101"/>
                      <a:pt x="211" y="95"/>
                      <a:pt x="196" y="97"/>
                    </a:cubicBezTo>
                    <a:cubicBezTo>
                      <a:pt x="192" y="100"/>
                      <a:pt x="187" y="103"/>
                      <a:pt x="183" y="106"/>
                    </a:cubicBezTo>
                    <a:cubicBezTo>
                      <a:pt x="180" y="112"/>
                      <a:pt x="179" y="114"/>
                      <a:pt x="172" y="115"/>
                    </a:cubicBezTo>
                    <a:cubicBezTo>
                      <a:pt x="174" y="124"/>
                      <a:pt x="173" y="134"/>
                      <a:pt x="177" y="142"/>
                    </a:cubicBezTo>
                    <a:cubicBezTo>
                      <a:pt x="174" y="163"/>
                      <a:pt x="175" y="159"/>
                      <a:pt x="153" y="157"/>
                    </a:cubicBezTo>
                    <a:cubicBezTo>
                      <a:pt x="152" y="156"/>
                      <a:pt x="151" y="154"/>
                      <a:pt x="150" y="153"/>
                    </a:cubicBezTo>
                    <a:cubicBezTo>
                      <a:pt x="149" y="151"/>
                      <a:pt x="149" y="149"/>
                      <a:pt x="148" y="147"/>
                    </a:cubicBezTo>
                    <a:cubicBezTo>
                      <a:pt x="143" y="140"/>
                      <a:pt x="128" y="133"/>
                      <a:pt x="121" y="129"/>
                    </a:cubicBezTo>
                    <a:cubicBezTo>
                      <a:pt x="116" y="121"/>
                      <a:pt x="106" y="118"/>
                      <a:pt x="99" y="112"/>
                    </a:cubicBezTo>
                    <a:cubicBezTo>
                      <a:pt x="95" y="106"/>
                      <a:pt x="94" y="99"/>
                      <a:pt x="91" y="93"/>
                    </a:cubicBezTo>
                    <a:cubicBezTo>
                      <a:pt x="90" y="86"/>
                      <a:pt x="83" y="79"/>
                      <a:pt x="76" y="78"/>
                    </a:cubicBezTo>
                    <a:cubicBezTo>
                      <a:pt x="72" y="74"/>
                      <a:pt x="62" y="76"/>
                      <a:pt x="58" y="73"/>
                    </a:cubicBezTo>
                    <a:cubicBezTo>
                      <a:pt x="54" y="70"/>
                      <a:pt x="56" y="57"/>
                      <a:pt x="49" y="57"/>
                    </a:cubicBezTo>
                    <a:cubicBezTo>
                      <a:pt x="31" y="58"/>
                      <a:pt x="24" y="58"/>
                      <a:pt x="18" y="72"/>
                    </a:cubicBezTo>
                    <a:cubicBezTo>
                      <a:pt x="17" y="79"/>
                      <a:pt x="9" y="75"/>
                      <a:pt x="4" y="79"/>
                    </a:cubicBezTo>
                    <a:cubicBezTo>
                      <a:pt x="5" y="72"/>
                      <a:pt x="0" y="30"/>
                      <a:pt x="4" y="19"/>
                    </a:cubicBezTo>
                    <a:cubicBezTo>
                      <a:pt x="8" y="8"/>
                      <a:pt x="24" y="12"/>
                      <a:pt x="30" y="9"/>
                    </a:cubicBezTo>
                    <a:cubicBezTo>
                      <a:pt x="34" y="6"/>
                      <a:pt x="39" y="3"/>
                      <a:pt x="43" y="0"/>
                    </a:cubicBezTo>
                    <a:cubicBezTo>
                      <a:pt x="46" y="0"/>
                      <a:pt x="48" y="7"/>
                      <a:pt x="51" y="9"/>
                    </a:cubicBezTo>
                    <a:cubicBezTo>
                      <a:pt x="54" y="11"/>
                      <a:pt x="58" y="9"/>
                      <a:pt x="61" y="12"/>
                    </a:cubicBezTo>
                    <a:cubicBezTo>
                      <a:pt x="64" y="14"/>
                      <a:pt x="66" y="22"/>
                      <a:pt x="69" y="25"/>
                    </a:cubicBezTo>
                    <a:cubicBezTo>
                      <a:pt x="74" y="29"/>
                      <a:pt x="73" y="31"/>
                      <a:pt x="90" y="34"/>
                    </a:cubicBezTo>
                    <a:cubicBezTo>
                      <a:pt x="95" y="37"/>
                      <a:pt x="97" y="44"/>
                      <a:pt x="105" y="46"/>
                    </a:cubicBezTo>
                    <a:cubicBezTo>
                      <a:pt x="113" y="48"/>
                      <a:pt x="132" y="43"/>
                      <a:pt x="139" y="46"/>
                    </a:cubicBezTo>
                    <a:cubicBezTo>
                      <a:pt x="148" y="51"/>
                      <a:pt x="141" y="56"/>
                      <a:pt x="150" y="63"/>
                    </a:cubicBezTo>
                    <a:cubicBezTo>
                      <a:pt x="152" y="68"/>
                      <a:pt x="154" y="72"/>
                      <a:pt x="156" y="75"/>
                    </a:cubicBezTo>
                    <a:cubicBezTo>
                      <a:pt x="158" y="78"/>
                      <a:pt x="162" y="78"/>
                      <a:pt x="165" y="81"/>
                    </a:cubicBezTo>
                    <a:cubicBezTo>
                      <a:pt x="172" y="76"/>
                      <a:pt x="165" y="87"/>
                      <a:pt x="174" y="9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21" name="Freeform 9">
                <a:extLst>
                  <a:ext uri="{FF2B5EF4-FFF2-40B4-BE49-F238E27FC236}">
                    <a16:creationId xmlns:a16="http://schemas.microsoft.com/office/drawing/2014/main" id="{3011ABD8-FBDE-4325-89A2-476F10AEFAAF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5456127" y="3351475"/>
                <a:ext cx="109594" cy="101715"/>
              </a:xfrm>
              <a:custGeom>
                <a:avLst/>
                <a:gdLst>
                  <a:gd name="T0" fmla="*/ 44 w 73"/>
                  <a:gd name="T1" fmla="*/ 22 h 66"/>
                  <a:gd name="T2" fmla="*/ 31 w 73"/>
                  <a:gd name="T3" fmla="*/ 18 h 66"/>
                  <a:gd name="T4" fmla="*/ 20 w 73"/>
                  <a:gd name="T5" fmla="*/ 0 h 66"/>
                  <a:gd name="T6" fmla="*/ 4 w 73"/>
                  <a:gd name="T7" fmla="*/ 7 h 66"/>
                  <a:gd name="T8" fmla="*/ 7 w 73"/>
                  <a:gd name="T9" fmla="*/ 28 h 66"/>
                  <a:gd name="T10" fmla="*/ 13 w 73"/>
                  <a:gd name="T11" fmla="*/ 36 h 66"/>
                  <a:gd name="T12" fmla="*/ 16 w 73"/>
                  <a:gd name="T13" fmla="*/ 46 h 66"/>
                  <a:gd name="T14" fmla="*/ 28 w 73"/>
                  <a:gd name="T15" fmla="*/ 51 h 66"/>
                  <a:gd name="T16" fmla="*/ 41 w 73"/>
                  <a:gd name="T17" fmla="*/ 48 h 66"/>
                  <a:gd name="T18" fmla="*/ 56 w 73"/>
                  <a:gd name="T19" fmla="*/ 66 h 66"/>
                  <a:gd name="T20" fmla="*/ 62 w 73"/>
                  <a:gd name="T21" fmla="*/ 45 h 66"/>
                  <a:gd name="T22" fmla="*/ 73 w 73"/>
                  <a:gd name="T23" fmla="*/ 31 h 66"/>
                  <a:gd name="T24" fmla="*/ 61 w 73"/>
                  <a:gd name="T25" fmla="*/ 18 h 66"/>
                  <a:gd name="T26" fmla="*/ 49 w 73"/>
                  <a:gd name="T27" fmla="*/ 4 h 66"/>
                  <a:gd name="T28" fmla="*/ 44 w 73"/>
                  <a:gd name="T29" fmla="*/ 22 h 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3" h="66">
                    <a:moveTo>
                      <a:pt x="44" y="22"/>
                    </a:moveTo>
                    <a:cubicBezTo>
                      <a:pt x="39" y="21"/>
                      <a:pt x="36" y="19"/>
                      <a:pt x="31" y="18"/>
                    </a:cubicBezTo>
                    <a:cubicBezTo>
                      <a:pt x="24" y="13"/>
                      <a:pt x="28" y="5"/>
                      <a:pt x="20" y="0"/>
                    </a:cubicBezTo>
                    <a:cubicBezTo>
                      <a:pt x="15" y="2"/>
                      <a:pt x="8" y="4"/>
                      <a:pt x="4" y="7"/>
                    </a:cubicBezTo>
                    <a:cubicBezTo>
                      <a:pt x="0" y="16"/>
                      <a:pt x="1" y="20"/>
                      <a:pt x="7" y="28"/>
                    </a:cubicBezTo>
                    <a:cubicBezTo>
                      <a:pt x="10" y="42"/>
                      <a:pt x="5" y="24"/>
                      <a:pt x="13" y="36"/>
                    </a:cubicBezTo>
                    <a:cubicBezTo>
                      <a:pt x="15" y="39"/>
                      <a:pt x="14" y="43"/>
                      <a:pt x="16" y="46"/>
                    </a:cubicBezTo>
                    <a:cubicBezTo>
                      <a:pt x="18" y="54"/>
                      <a:pt x="21" y="52"/>
                      <a:pt x="28" y="51"/>
                    </a:cubicBezTo>
                    <a:cubicBezTo>
                      <a:pt x="32" y="44"/>
                      <a:pt x="35" y="43"/>
                      <a:pt x="41" y="48"/>
                    </a:cubicBezTo>
                    <a:cubicBezTo>
                      <a:pt x="46" y="57"/>
                      <a:pt x="46" y="61"/>
                      <a:pt x="56" y="66"/>
                    </a:cubicBezTo>
                    <a:cubicBezTo>
                      <a:pt x="68" y="62"/>
                      <a:pt x="58" y="55"/>
                      <a:pt x="62" y="45"/>
                    </a:cubicBezTo>
                    <a:cubicBezTo>
                      <a:pt x="63" y="41"/>
                      <a:pt x="71" y="35"/>
                      <a:pt x="73" y="31"/>
                    </a:cubicBezTo>
                    <a:cubicBezTo>
                      <a:pt x="71" y="26"/>
                      <a:pt x="65" y="21"/>
                      <a:pt x="61" y="18"/>
                    </a:cubicBezTo>
                    <a:cubicBezTo>
                      <a:pt x="59" y="12"/>
                      <a:pt x="54" y="7"/>
                      <a:pt x="49" y="4"/>
                    </a:cubicBezTo>
                    <a:cubicBezTo>
                      <a:pt x="47" y="10"/>
                      <a:pt x="47" y="16"/>
                      <a:pt x="44" y="2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22" name="Freeform 10">
                <a:extLst>
                  <a:ext uri="{FF2B5EF4-FFF2-40B4-BE49-F238E27FC236}">
                    <a16:creationId xmlns:a16="http://schemas.microsoft.com/office/drawing/2014/main" id="{3057CE8C-EE6C-4DD6-BA66-D61770662800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5037004" y="3137258"/>
                <a:ext cx="78493" cy="104797"/>
              </a:xfrm>
              <a:custGeom>
                <a:avLst/>
                <a:gdLst>
                  <a:gd name="T0" fmla="*/ 0 w 52"/>
                  <a:gd name="T1" fmla="*/ 11 h 68"/>
                  <a:gd name="T2" fmla="*/ 25 w 52"/>
                  <a:gd name="T3" fmla="*/ 1 h 68"/>
                  <a:gd name="T4" fmla="*/ 42 w 52"/>
                  <a:gd name="T5" fmla="*/ 11 h 68"/>
                  <a:gd name="T6" fmla="*/ 45 w 52"/>
                  <a:gd name="T7" fmla="*/ 29 h 68"/>
                  <a:gd name="T8" fmla="*/ 52 w 52"/>
                  <a:gd name="T9" fmla="*/ 43 h 68"/>
                  <a:gd name="T10" fmla="*/ 46 w 52"/>
                  <a:gd name="T11" fmla="*/ 55 h 68"/>
                  <a:gd name="T12" fmla="*/ 34 w 52"/>
                  <a:gd name="T13" fmla="*/ 68 h 68"/>
                  <a:gd name="T14" fmla="*/ 18 w 52"/>
                  <a:gd name="T15" fmla="*/ 28 h 68"/>
                  <a:gd name="T16" fmla="*/ 0 w 52"/>
                  <a:gd name="T17" fmla="*/ 11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2" h="68">
                    <a:moveTo>
                      <a:pt x="0" y="11"/>
                    </a:moveTo>
                    <a:cubicBezTo>
                      <a:pt x="2" y="1"/>
                      <a:pt x="14" y="0"/>
                      <a:pt x="25" y="1"/>
                    </a:cubicBezTo>
                    <a:cubicBezTo>
                      <a:pt x="34" y="4"/>
                      <a:pt x="31" y="10"/>
                      <a:pt x="42" y="11"/>
                    </a:cubicBezTo>
                    <a:cubicBezTo>
                      <a:pt x="46" y="15"/>
                      <a:pt x="43" y="24"/>
                      <a:pt x="45" y="29"/>
                    </a:cubicBezTo>
                    <a:cubicBezTo>
                      <a:pt x="47" y="34"/>
                      <a:pt x="52" y="39"/>
                      <a:pt x="52" y="43"/>
                    </a:cubicBezTo>
                    <a:cubicBezTo>
                      <a:pt x="48" y="46"/>
                      <a:pt x="50" y="52"/>
                      <a:pt x="46" y="55"/>
                    </a:cubicBezTo>
                    <a:cubicBezTo>
                      <a:pt x="43" y="62"/>
                      <a:pt x="40" y="63"/>
                      <a:pt x="34" y="68"/>
                    </a:cubicBezTo>
                    <a:cubicBezTo>
                      <a:pt x="14" y="66"/>
                      <a:pt x="37" y="42"/>
                      <a:pt x="18" y="28"/>
                    </a:cubicBezTo>
                    <a:cubicBezTo>
                      <a:pt x="16" y="24"/>
                      <a:pt x="2" y="4"/>
                      <a:pt x="0" y="1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23" name="Freeform 11">
                <a:extLst>
                  <a:ext uri="{FF2B5EF4-FFF2-40B4-BE49-F238E27FC236}">
                    <a16:creationId xmlns:a16="http://schemas.microsoft.com/office/drawing/2014/main" id="{D262F0B0-E93D-478F-8AC3-D7B6C4B4C73A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5358381" y="3319112"/>
                <a:ext cx="116999" cy="64728"/>
              </a:xfrm>
              <a:custGeom>
                <a:avLst/>
                <a:gdLst>
                  <a:gd name="T0" fmla="*/ 34 w 78"/>
                  <a:gd name="T1" fmla="*/ 31 h 42"/>
                  <a:gd name="T2" fmla="*/ 12 w 78"/>
                  <a:gd name="T3" fmla="*/ 13 h 42"/>
                  <a:gd name="T4" fmla="*/ 37 w 78"/>
                  <a:gd name="T5" fmla="*/ 7 h 42"/>
                  <a:gd name="T6" fmla="*/ 57 w 78"/>
                  <a:gd name="T7" fmla="*/ 10 h 42"/>
                  <a:gd name="T8" fmla="*/ 78 w 78"/>
                  <a:gd name="T9" fmla="*/ 19 h 42"/>
                  <a:gd name="T10" fmla="*/ 64 w 78"/>
                  <a:gd name="T11" fmla="*/ 36 h 42"/>
                  <a:gd name="T12" fmla="*/ 34 w 78"/>
                  <a:gd name="T13" fmla="*/ 31 h 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8" h="42">
                    <a:moveTo>
                      <a:pt x="34" y="31"/>
                    </a:moveTo>
                    <a:cubicBezTo>
                      <a:pt x="0" y="25"/>
                      <a:pt x="34" y="30"/>
                      <a:pt x="12" y="13"/>
                    </a:cubicBezTo>
                    <a:cubicBezTo>
                      <a:pt x="6" y="0"/>
                      <a:pt x="35" y="7"/>
                      <a:pt x="37" y="7"/>
                    </a:cubicBezTo>
                    <a:cubicBezTo>
                      <a:pt x="51" y="13"/>
                      <a:pt x="27" y="4"/>
                      <a:pt x="57" y="10"/>
                    </a:cubicBezTo>
                    <a:cubicBezTo>
                      <a:pt x="64" y="11"/>
                      <a:pt x="70" y="18"/>
                      <a:pt x="78" y="19"/>
                    </a:cubicBezTo>
                    <a:cubicBezTo>
                      <a:pt x="67" y="23"/>
                      <a:pt x="73" y="32"/>
                      <a:pt x="64" y="36"/>
                    </a:cubicBezTo>
                    <a:cubicBezTo>
                      <a:pt x="35" y="34"/>
                      <a:pt x="41" y="42"/>
                      <a:pt x="34" y="3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24" name="Freeform 12">
                <a:extLst>
                  <a:ext uri="{FF2B5EF4-FFF2-40B4-BE49-F238E27FC236}">
                    <a16:creationId xmlns:a16="http://schemas.microsoft.com/office/drawing/2014/main" id="{DC457732-B071-418D-BB7F-29A5E586DBE9}"/>
                  </a:ext>
                </a:extLst>
              </p:cNvPr>
              <p:cNvSpPr>
                <a:spLocks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874095" y="3339146"/>
                <a:ext cx="60721" cy="72434"/>
              </a:xfrm>
              <a:custGeom>
                <a:avLst/>
                <a:gdLst>
                  <a:gd name="T0" fmla="*/ 8 w 41"/>
                  <a:gd name="T1" fmla="*/ 3 h 47"/>
                  <a:gd name="T2" fmla="*/ 23 w 41"/>
                  <a:gd name="T3" fmla="*/ 6 h 47"/>
                  <a:gd name="T4" fmla="*/ 40 w 41"/>
                  <a:gd name="T5" fmla="*/ 32 h 47"/>
                  <a:gd name="T6" fmla="*/ 26 w 41"/>
                  <a:gd name="T7" fmla="*/ 42 h 47"/>
                  <a:gd name="T8" fmla="*/ 10 w 41"/>
                  <a:gd name="T9" fmla="*/ 45 h 47"/>
                  <a:gd name="T10" fmla="*/ 5 w 41"/>
                  <a:gd name="T11" fmla="*/ 18 h 47"/>
                  <a:gd name="T12" fmla="*/ 8 w 41"/>
                  <a:gd name="T13" fmla="*/ 3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1" h="47">
                    <a:moveTo>
                      <a:pt x="8" y="3"/>
                    </a:moveTo>
                    <a:cubicBezTo>
                      <a:pt x="15" y="2"/>
                      <a:pt x="20" y="0"/>
                      <a:pt x="23" y="6"/>
                    </a:cubicBezTo>
                    <a:cubicBezTo>
                      <a:pt x="25" y="17"/>
                      <a:pt x="31" y="26"/>
                      <a:pt x="40" y="32"/>
                    </a:cubicBezTo>
                    <a:cubicBezTo>
                      <a:pt x="41" y="39"/>
                      <a:pt x="33" y="41"/>
                      <a:pt x="26" y="42"/>
                    </a:cubicBezTo>
                    <a:cubicBezTo>
                      <a:pt x="20" y="47"/>
                      <a:pt x="18" y="47"/>
                      <a:pt x="10" y="45"/>
                    </a:cubicBezTo>
                    <a:cubicBezTo>
                      <a:pt x="0" y="39"/>
                      <a:pt x="4" y="30"/>
                      <a:pt x="5" y="18"/>
                    </a:cubicBezTo>
                    <a:cubicBezTo>
                      <a:pt x="5" y="14"/>
                      <a:pt x="1" y="3"/>
                      <a:pt x="8" y="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25" name="Freeform 13">
                <a:extLst>
                  <a:ext uri="{FF2B5EF4-FFF2-40B4-BE49-F238E27FC236}">
                    <a16:creationId xmlns:a16="http://schemas.microsoft.com/office/drawing/2014/main" id="{2FD06DF9-2BF4-4118-B5CE-1E92DBF2F394}"/>
                  </a:ext>
                </a:extLst>
              </p:cNvPr>
              <p:cNvSpPr>
                <a:spLocks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902234" y="3342228"/>
                <a:ext cx="82936" cy="43152"/>
              </a:xfrm>
              <a:custGeom>
                <a:avLst/>
                <a:gdLst>
                  <a:gd name="T0" fmla="*/ 4 w 55"/>
                  <a:gd name="T1" fmla="*/ 7 h 28"/>
                  <a:gd name="T2" fmla="*/ 21 w 55"/>
                  <a:gd name="T3" fmla="*/ 0 h 28"/>
                  <a:gd name="T4" fmla="*/ 46 w 55"/>
                  <a:gd name="T5" fmla="*/ 15 h 28"/>
                  <a:gd name="T6" fmla="*/ 31 w 55"/>
                  <a:gd name="T7" fmla="*/ 19 h 28"/>
                  <a:gd name="T8" fmla="*/ 19 w 55"/>
                  <a:gd name="T9" fmla="*/ 28 h 28"/>
                  <a:gd name="T10" fmla="*/ 4 w 55"/>
                  <a:gd name="T11" fmla="*/ 7 h 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5" h="28">
                    <a:moveTo>
                      <a:pt x="4" y="7"/>
                    </a:moveTo>
                    <a:cubicBezTo>
                      <a:pt x="17" y="6"/>
                      <a:pt x="10" y="2"/>
                      <a:pt x="21" y="0"/>
                    </a:cubicBezTo>
                    <a:cubicBezTo>
                      <a:pt x="55" y="2"/>
                      <a:pt x="28" y="2"/>
                      <a:pt x="46" y="15"/>
                    </a:cubicBezTo>
                    <a:cubicBezTo>
                      <a:pt x="41" y="16"/>
                      <a:pt x="36" y="18"/>
                      <a:pt x="31" y="19"/>
                    </a:cubicBezTo>
                    <a:cubicBezTo>
                      <a:pt x="26" y="22"/>
                      <a:pt x="22" y="23"/>
                      <a:pt x="19" y="28"/>
                    </a:cubicBezTo>
                    <a:cubicBezTo>
                      <a:pt x="14" y="26"/>
                      <a:pt x="0" y="7"/>
                      <a:pt x="4" y="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26" name="Freeform 14">
                <a:extLst>
                  <a:ext uri="{FF2B5EF4-FFF2-40B4-BE49-F238E27FC236}">
                    <a16:creationId xmlns:a16="http://schemas.microsoft.com/office/drawing/2014/main" id="{12AEFD87-9D65-46C1-8469-34BA4B6063CF}"/>
                  </a:ext>
                </a:extLst>
              </p:cNvPr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952588" y="3285207"/>
                <a:ext cx="140695" cy="89386"/>
              </a:xfrm>
              <a:custGeom>
                <a:avLst/>
                <a:gdLst>
                  <a:gd name="T0" fmla="*/ 6 w 94"/>
                  <a:gd name="T1" fmla="*/ 34 h 58"/>
                  <a:gd name="T2" fmla="*/ 7 w 94"/>
                  <a:gd name="T3" fmla="*/ 29 h 58"/>
                  <a:gd name="T4" fmla="*/ 12 w 94"/>
                  <a:gd name="T5" fmla="*/ 25 h 58"/>
                  <a:gd name="T6" fmla="*/ 0 w 94"/>
                  <a:gd name="T7" fmla="*/ 8 h 58"/>
                  <a:gd name="T8" fmla="*/ 36 w 94"/>
                  <a:gd name="T9" fmla="*/ 8 h 58"/>
                  <a:gd name="T10" fmla="*/ 66 w 94"/>
                  <a:gd name="T11" fmla="*/ 1 h 58"/>
                  <a:gd name="T12" fmla="*/ 84 w 94"/>
                  <a:gd name="T13" fmla="*/ 8 h 58"/>
                  <a:gd name="T14" fmla="*/ 63 w 94"/>
                  <a:gd name="T15" fmla="*/ 34 h 58"/>
                  <a:gd name="T16" fmla="*/ 52 w 94"/>
                  <a:gd name="T17" fmla="*/ 52 h 58"/>
                  <a:gd name="T18" fmla="*/ 34 w 94"/>
                  <a:gd name="T19" fmla="*/ 55 h 58"/>
                  <a:gd name="T20" fmla="*/ 12 w 94"/>
                  <a:gd name="T21" fmla="*/ 49 h 58"/>
                  <a:gd name="T22" fmla="*/ 6 w 94"/>
                  <a:gd name="T23" fmla="*/ 3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94" h="58">
                    <a:moveTo>
                      <a:pt x="6" y="34"/>
                    </a:moveTo>
                    <a:cubicBezTo>
                      <a:pt x="6" y="32"/>
                      <a:pt x="6" y="30"/>
                      <a:pt x="7" y="29"/>
                    </a:cubicBezTo>
                    <a:cubicBezTo>
                      <a:pt x="8" y="27"/>
                      <a:pt x="11" y="27"/>
                      <a:pt x="12" y="25"/>
                    </a:cubicBezTo>
                    <a:cubicBezTo>
                      <a:pt x="14" y="17"/>
                      <a:pt x="5" y="12"/>
                      <a:pt x="0" y="8"/>
                    </a:cubicBezTo>
                    <a:cubicBezTo>
                      <a:pt x="10" y="0"/>
                      <a:pt x="24" y="6"/>
                      <a:pt x="36" y="8"/>
                    </a:cubicBezTo>
                    <a:cubicBezTo>
                      <a:pt x="49" y="7"/>
                      <a:pt x="54" y="3"/>
                      <a:pt x="66" y="1"/>
                    </a:cubicBezTo>
                    <a:cubicBezTo>
                      <a:pt x="75" y="2"/>
                      <a:pt x="77" y="2"/>
                      <a:pt x="84" y="8"/>
                    </a:cubicBezTo>
                    <a:cubicBezTo>
                      <a:pt x="94" y="25"/>
                      <a:pt x="75" y="32"/>
                      <a:pt x="63" y="34"/>
                    </a:cubicBezTo>
                    <a:cubicBezTo>
                      <a:pt x="60" y="43"/>
                      <a:pt x="62" y="49"/>
                      <a:pt x="52" y="52"/>
                    </a:cubicBezTo>
                    <a:cubicBezTo>
                      <a:pt x="44" y="58"/>
                      <a:pt x="43" y="57"/>
                      <a:pt x="34" y="55"/>
                    </a:cubicBezTo>
                    <a:cubicBezTo>
                      <a:pt x="26" y="49"/>
                      <a:pt x="23" y="50"/>
                      <a:pt x="12" y="49"/>
                    </a:cubicBezTo>
                    <a:cubicBezTo>
                      <a:pt x="8" y="43"/>
                      <a:pt x="6" y="41"/>
                      <a:pt x="6" y="34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27" name="Freeform 15">
                <a:extLst>
                  <a:ext uri="{FF2B5EF4-FFF2-40B4-BE49-F238E27FC236}">
                    <a16:creationId xmlns:a16="http://schemas.microsoft.com/office/drawing/2014/main" id="{004CBE59-DF73-45CA-9B0A-7F78E614160C}"/>
                  </a:ext>
                </a:extLst>
              </p:cNvPr>
              <p:cNvSpPr>
                <a:spLocks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914082" y="3141881"/>
                <a:ext cx="201416" cy="167984"/>
              </a:xfrm>
              <a:custGeom>
                <a:avLst/>
                <a:gdLst>
                  <a:gd name="T0" fmla="*/ 116 w 134"/>
                  <a:gd name="T1" fmla="*/ 109 h 109"/>
                  <a:gd name="T2" fmla="*/ 124 w 134"/>
                  <a:gd name="T3" fmla="*/ 85 h 109"/>
                  <a:gd name="T4" fmla="*/ 134 w 134"/>
                  <a:gd name="T5" fmla="*/ 74 h 109"/>
                  <a:gd name="T6" fmla="*/ 113 w 134"/>
                  <a:gd name="T7" fmla="*/ 67 h 109"/>
                  <a:gd name="T8" fmla="*/ 109 w 134"/>
                  <a:gd name="T9" fmla="*/ 53 h 109"/>
                  <a:gd name="T10" fmla="*/ 101 w 134"/>
                  <a:gd name="T11" fmla="*/ 22 h 109"/>
                  <a:gd name="T12" fmla="*/ 88 w 134"/>
                  <a:gd name="T13" fmla="*/ 8 h 109"/>
                  <a:gd name="T14" fmla="*/ 23 w 134"/>
                  <a:gd name="T15" fmla="*/ 14 h 109"/>
                  <a:gd name="T16" fmla="*/ 5 w 134"/>
                  <a:gd name="T17" fmla="*/ 40 h 109"/>
                  <a:gd name="T18" fmla="*/ 10 w 134"/>
                  <a:gd name="T19" fmla="*/ 70 h 109"/>
                  <a:gd name="T20" fmla="*/ 22 w 134"/>
                  <a:gd name="T21" fmla="*/ 88 h 109"/>
                  <a:gd name="T22" fmla="*/ 28 w 134"/>
                  <a:gd name="T23" fmla="*/ 100 h 109"/>
                  <a:gd name="T24" fmla="*/ 43 w 134"/>
                  <a:gd name="T25" fmla="*/ 97 h 109"/>
                  <a:gd name="T26" fmla="*/ 67 w 134"/>
                  <a:gd name="T27" fmla="*/ 103 h 109"/>
                  <a:gd name="T28" fmla="*/ 85 w 134"/>
                  <a:gd name="T29" fmla="*/ 94 h 109"/>
                  <a:gd name="T30" fmla="*/ 86 w 134"/>
                  <a:gd name="T31" fmla="*/ 107 h 109"/>
                  <a:gd name="T32" fmla="*/ 110 w 134"/>
                  <a:gd name="T33" fmla="*/ 106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34" h="109">
                    <a:moveTo>
                      <a:pt x="116" y="109"/>
                    </a:moveTo>
                    <a:cubicBezTo>
                      <a:pt x="117" y="99"/>
                      <a:pt x="115" y="90"/>
                      <a:pt x="124" y="85"/>
                    </a:cubicBezTo>
                    <a:cubicBezTo>
                      <a:pt x="128" y="78"/>
                      <a:pt x="132" y="82"/>
                      <a:pt x="134" y="74"/>
                    </a:cubicBezTo>
                    <a:cubicBezTo>
                      <a:pt x="133" y="70"/>
                      <a:pt x="117" y="70"/>
                      <a:pt x="113" y="67"/>
                    </a:cubicBezTo>
                    <a:cubicBezTo>
                      <a:pt x="109" y="64"/>
                      <a:pt x="111" y="60"/>
                      <a:pt x="109" y="53"/>
                    </a:cubicBezTo>
                    <a:cubicBezTo>
                      <a:pt x="107" y="39"/>
                      <a:pt x="109" y="32"/>
                      <a:pt x="101" y="22"/>
                    </a:cubicBezTo>
                    <a:cubicBezTo>
                      <a:pt x="100" y="16"/>
                      <a:pt x="94" y="11"/>
                      <a:pt x="88" y="8"/>
                    </a:cubicBezTo>
                    <a:cubicBezTo>
                      <a:pt x="48" y="9"/>
                      <a:pt x="47" y="0"/>
                      <a:pt x="23" y="14"/>
                    </a:cubicBezTo>
                    <a:cubicBezTo>
                      <a:pt x="22" y="26"/>
                      <a:pt x="16" y="35"/>
                      <a:pt x="5" y="40"/>
                    </a:cubicBezTo>
                    <a:cubicBezTo>
                      <a:pt x="4" y="50"/>
                      <a:pt x="0" y="64"/>
                      <a:pt x="10" y="70"/>
                    </a:cubicBezTo>
                    <a:cubicBezTo>
                      <a:pt x="14" y="76"/>
                      <a:pt x="18" y="82"/>
                      <a:pt x="22" y="88"/>
                    </a:cubicBezTo>
                    <a:cubicBezTo>
                      <a:pt x="25" y="91"/>
                      <a:pt x="21" y="98"/>
                      <a:pt x="28" y="100"/>
                    </a:cubicBezTo>
                    <a:cubicBezTo>
                      <a:pt x="31" y="101"/>
                      <a:pt x="37" y="97"/>
                      <a:pt x="43" y="97"/>
                    </a:cubicBezTo>
                    <a:cubicBezTo>
                      <a:pt x="49" y="97"/>
                      <a:pt x="60" y="103"/>
                      <a:pt x="67" y="103"/>
                    </a:cubicBezTo>
                    <a:cubicBezTo>
                      <a:pt x="74" y="103"/>
                      <a:pt x="82" y="93"/>
                      <a:pt x="85" y="94"/>
                    </a:cubicBezTo>
                    <a:cubicBezTo>
                      <a:pt x="88" y="95"/>
                      <a:pt x="82" y="105"/>
                      <a:pt x="86" y="107"/>
                    </a:cubicBezTo>
                    <a:cubicBezTo>
                      <a:pt x="90" y="109"/>
                      <a:pt x="105" y="106"/>
                      <a:pt x="110" y="106"/>
                    </a:cubicBez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28" name="Freeform 16">
                <a:extLst>
                  <a:ext uri="{FF2B5EF4-FFF2-40B4-BE49-F238E27FC236}">
                    <a16:creationId xmlns:a16="http://schemas.microsoft.com/office/drawing/2014/main" id="{4558C855-7AA1-4827-9979-6F1290544723}"/>
                  </a:ext>
                </a:extLst>
              </p:cNvPr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865209" y="3302159"/>
                <a:ext cx="44430" cy="50858"/>
              </a:xfrm>
              <a:custGeom>
                <a:avLst/>
                <a:gdLst>
                  <a:gd name="T0" fmla="*/ 13 w 30"/>
                  <a:gd name="T1" fmla="*/ 33 h 33"/>
                  <a:gd name="T2" fmla="*/ 2 w 30"/>
                  <a:gd name="T3" fmla="*/ 15 h 33"/>
                  <a:gd name="T4" fmla="*/ 7 w 30"/>
                  <a:gd name="T5" fmla="*/ 0 h 33"/>
                  <a:gd name="T6" fmla="*/ 28 w 30"/>
                  <a:gd name="T7" fmla="*/ 15 h 33"/>
                  <a:gd name="T8" fmla="*/ 17 w 30"/>
                  <a:gd name="T9" fmla="*/ 27 h 33"/>
                  <a:gd name="T10" fmla="*/ 13 w 30"/>
                  <a:gd name="T11" fmla="*/ 33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0" h="33">
                    <a:moveTo>
                      <a:pt x="13" y="33"/>
                    </a:moveTo>
                    <a:cubicBezTo>
                      <a:pt x="9" y="27"/>
                      <a:pt x="6" y="21"/>
                      <a:pt x="2" y="15"/>
                    </a:cubicBezTo>
                    <a:cubicBezTo>
                      <a:pt x="1" y="7"/>
                      <a:pt x="0" y="4"/>
                      <a:pt x="7" y="0"/>
                    </a:cubicBezTo>
                    <a:cubicBezTo>
                      <a:pt x="18" y="3"/>
                      <a:pt x="17" y="13"/>
                      <a:pt x="28" y="15"/>
                    </a:cubicBezTo>
                    <a:cubicBezTo>
                      <a:pt x="30" y="24"/>
                      <a:pt x="25" y="25"/>
                      <a:pt x="17" y="27"/>
                    </a:cubicBezTo>
                    <a:cubicBezTo>
                      <a:pt x="12" y="30"/>
                      <a:pt x="13" y="28"/>
                      <a:pt x="13" y="3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29" name="Freeform 17">
                <a:extLst>
                  <a:ext uri="{FF2B5EF4-FFF2-40B4-BE49-F238E27FC236}">
                    <a16:creationId xmlns:a16="http://schemas.microsoft.com/office/drawing/2014/main" id="{E1249B4F-D231-4907-A01C-528DBFC07C04}"/>
                  </a:ext>
                </a:extLst>
              </p:cNvPr>
              <p:cNvSpPr>
                <a:spLocks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805969" y="3248220"/>
                <a:ext cx="79974" cy="75516"/>
              </a:xfrm>
              <a:custGeom>
                <a:avLst/>
                <a:gdLst>
                  <a:gd name="T0" fmla="*/ 53 w 53"/>
                  <a:gd name="T1" fmla="*/ 40 h 49"/>
                  <a:gd name="T2" fmla="*/ 37 w 53"/>
                  <a:gd name="T3" fmla="*/ 5 h 49"/>
                  <a:gd name="T4" fmla="*/ 2 w 53"/>
                  <a:gd name="T5" fmla="*/ 16 h 49"/>
                  <a:gd name="T6" fmla="*/ 17 w 53"/>
                  <a:gd name="T7" fmla="*/ 25 h 49"/>
                  <a:gd name="T8" fmla="*/ 26 w 53"/>
                  <a:gd name="T9" fmla="*/ 37 h 49"/>
                  <a:gd name="T10" fmla="*/ 35 w 53"/>
                  <a:gd name="T11" fmla="*/ 49 h 49"/>
                  <a:gd name="T12" fmla="*/ 53 w 53"/>
                  <a:gd name="T13" fmla="*/ 40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53" h="49">
                    <a:moveTo>
                      <a:pt x="53" y="40"/>
                    </a:moveTo>
                    <a:cubicBezTo>
                      <a:pt x="51" y="23"/>
                      <a:pt x="50" y="15"/>
                      <a:pt x="37" y="5"/>
                    </a:cubicBezTo>
                    <a:cubicBezTo>
                      <a:pt x="3" y="7"/>
                      <a:pt x="12" y="0"/>
                      <a:pt x="2" y="16"/>
                    </a:cubicBezTo>
                    <a:cubicBezTo>
                      <a:pt x="0" y="26"/>
                      <a:pt x="8" y="23"/>
                      <a:pt x="17" y="25"/>
                    </a:cubicBezTo>
                    <a:cubicBezTo>
                      <a:pt x="20" y="30"/>
                      <a:pt x="21" y="33"/>
                      <a:pt x="26" y="37"/>
                    </a:cubicBezTo>
                    <a:cubicBezTo>
                      <a:pt x="28" y="42"/>
                      <a:pt x="32" y="44"/>
                      <a:pt x="35" y="49"/>
                    </a:cubicBezTo>
                    <a:cubicBezTo>
                      <a:pt x="42" y="46"/>
                      <a:pt x="45" y="26"/>
                      <a:pt x="53" y="4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30" name="Freeform 18">
                <a:extLst>
                  <a:ext uri="{FF2B5EF4-FFF2-40B4-BE49-F238E27FC236}">
                    <a16:creationId xmlns:a16="http://schemas.microsoft.com/office/drawing/2014/main" id="{39C3CE59-2645-4722-AC6E-474E659F4F54}"/>
                  </a:ext>
                </a:extLst>
              </p:cNvPr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754134" y="3208150"/>
                <a:ext cx="121442" cy="130997"/>
              </a:xfrm>
              <a:custGeom>
                <a:avLst/>
                <a:gdLst>
                  <a:gd name="T0" fmla="*/ 72 w 80"/>
                  <a:gd name="T1" fmla="*/ 15 h 85"/>
                  <a:gd name="T2" fmla="*/ 54 w 80"/>
                  <a:gd name="T3" fmla="*/ 7 h 85"/>
                  <a:gd name="T4" fmla="*/ 39 w 80"/>
                  <a:gd name="T5" fmla="*/ 1 h 85"/>
                  <a:gd name="T6" fmla="*/ 21 w 80"/>
                  <a:gd name="T7" fmla="*/ 15 h 85"/>
                  <a:gd name="T8" fmla="*/ 9 w 80"/>
                  <a:gd name="T9" fmla="*/ 21 h 85"/>
                  <a:gd name="T10" fmla="*/ 8 w 80"/>
                  <a:gd name="T11" fmla="*/ 31 h 85"/>
                  <a:gd name="T12" fmla="*/ 18 w 80"/>
                  <a:gd name="T13" fmla="*/ 49 h 85"/>
                  <a:gd name="T14" fmla="*/ 27 w 80"/>
                  <a:gd name="T15" fmla="*/ 61 h 85"/>
                  <a:gd name="T16" fmla="*/ 44 w 80"/>
                  <a:gd name="T17" fmla="*/ 73 h 85"/>
                  <a:gd name="T18" fmla="*/ 72 w 80"/>
                  <a:gd name="T19" fmla="*/ 85 h 85"/>
                  <a:gd name="T20" fmla="*/ 68 w 80"/>
                  <a:gd name="T21" fmla="*/ 76 h 85"/>
                  <a:gd name="T22" fmla="*/ 56 w 80"/>
                  <a:gd name="T23" fmla="*/ 58 h 85"/>
                  <a:gd name="T24" fmla="*/ 39 w 80"/>
                  <a:gd name="T25" fmla="*/ 48 h 85"/>
                  <a:gd name="T26" fmla="*/ 42 w 80"/>
                  <a:gd name="T27" fmla="*/ 30 h 85"/>
                  <a:gd name="T28" fmla="*/ 80 w 80"/>
                  <a:gd name="T29" fmla="*/ 31 h 85"/>
                  <a:gd name="T30" fmla="*/ 77 w 80"/>
                  <a:gd name="T31" fmla="*/ 18 h 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0" h="85">
                    <a:moveTo>
                      <a:pt x="72" y="15"/>
                    </a:moveTo>
                    <a:cubicBezTo>
                      <a:pt x="66" y="12"/>
                      <a:pt x="60" y="9"/>
                      <a:pt x="54" y="7"/>
                    </a:cubicBezTo>
                    <a:cubicBezTo>
                      <a:pt x="49" y="2"/>
                      <a:pt x="47" y="0"/>
                      <a:pt x="39" y="1"/>
                    </a:cubicBezTo>
                    <a:cubicBezTo>
                      <a:pt x="36" y="7"/>
                      <a:pt x="27" y="11"/>
                      <a:pt x="21" y="15"/>
                    </a:cubicBezTo>
                    <a:cubicBezTo>
                      <a:pt x="20" y="24"/>
                      <a:pt x="17" y="22"/>
                      <a:pt x="9" y="21"/>
                    </a:cubicBezTo>
                    <a:cubicBezTo>
                      <a:pt x="0" y="23"/>
                      <a:pt x="4" y="25"/>
                      <a:pt x="8" y="31"/>
                    </a:cubicBezTo>
                    <a:cubicBezTo>
                      <a:pt x="9" y="45"/>
                      <a:pt x="9" y="42"/>
                      <a:pt x="18" y="49"/>
                    </a:cubicBezTo>
                    <a:cubicBezTo>
                      <a:pt x="20" y="55"/>
                      <a:pt x="22" y="57"/>
                      <a:pt x="27" y="61"/>
                    </a:cubicBezTo>
                    <a:cubicBezTo>
                      <a:pt x="31" y="67"/>
                      <a:pt x="37" y="72"/>
                      <a:pt x="44" y="73"/>
                    </a:cubicBezTo>
                    <a:cubicBezTo>
                      <a:pt x="53" y="80"/>
                      <a:pt x="61" y="84"/>
                      <a:pt x="72" y="85"/>
                    </a:cubicBezTo>
                    <a:cubicBezTo>
                      <a:pt x="76" y="84"/>
                      <a:pt x="71" y="80"/>
                      <a:pt x="68" y="76"/>
                    </a:cubicBezTo>
                    <a:cubicBezTo>
                      <a:pt x="65" y="72"/>
                      <a:pt x="61" y="63"/>
                      <a:pt x="56" y="58"/>
                    </a:cubicBezTo>
                    <a:cubicBezTo>
                      <a:pt x="52" y="52"/>
                      <a:pt x="46" y="49"/>
                      <a:pt x="39" y="48"/>
                    </a:cubicBezTo>
                    <a:cubicBezTo>
                      <a:pt x="35" y="41"/>
                      <a:pt x="35" y="35"/>
                      <a:pt x="42" y="30"/>
                    </a:cubicBezTo>
                    <a:cubicBezTo>
                      <a:pt x="49" y="27"/>
                      <a:pt x="74" y="33"/>
                      <a:pt x="80" y="31"/>
                    </a:cubicBezTo>
                    <a:cubicBezTo>
                      <a:pt x="78" y="20"/>
                      <a:pt x="79" y="24"/>
                      <a:pt x="77" y="18"/>
                    </a:cubicBez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31" name="Freeform 19">
                <a:extLst>
                  <a:ext uri="{FF2B5EF4-FFF2-40B4-BE49-F238E27FC236}">
                    <a16:creationId xmlns:a16="http://schemas.microsoft.com/office/drawing/2014/main" id="{C27683A5-FC57-45C2-8F0A-2087450E8F96}"/>
                  </a:ext>
                </a:extLst>
              </p:cNvPr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871133" y="3212773"/>
                <a:ext cx="99227" cy="140243"/>
              </a:xfrm>
              <a:custGeom>
                <a:avLst/>
                <a:gdLst>
                  <a:gd name="T0" fmla="*/ 1 w 66"/>
                  <a:gd name="T1" fmla="*/ 13 h 91"/>
                  <a:gd name="T2" fmla="*/ 34 w 66"/>
                  <a:gd name="T3" fmla="*/ 3 h 91"/>
                  <a:gd name="T4" fmla="*/ 33 w 66"/>
                  <a:gd name="T5" fmla="*/ 18 h 91"/>
                  <a:gd name="T6" fmla="*/ 43 w 66"/>
                  <a:gd name="T7" fmla="*/ 31 h 91"/>
                  <a:gd name="T8" fmla="*/ 52 w 66"/>
                  <a:gd name="T9" fmla="*/ 43 h 91"/>
                  <a:gd name="T10" fmla="*/ 66 w 66"/>
                  <a:gd name="T11" fmla="*/ 67 h 91"/>
                  <a:gd name="T12" fmla="*/ 58 w 66"/>
                  <a:gd name="T13" fmla="*/ 81 h 91"/>
                  <a:gd name="T14" fmla="*/ 27 w 66"/>
                  <a:gd name="T15" fmla="*/ 90 h 91"/>
                  <a:gd name="T16" fmla="*/ 21 w 66"/>
                  <a:gd name="T17" fmla="*/ 75 h 91"/>
                  <a:gd name="T18" fmla="*/ 6 w 66"/>
                  <a:gd name="T19" fmla="*/ 58 h 91"/>
                  <a:gd name="T20" fmla="*/ 9 w 66"/>
                  <a:gd name="T21" fmla="*/ 48 h 91"/>
                  <a:gd name="T22" fmla="*/ 6 w 66"/>
                  <a:gd name="T23" fmla="*/ 39 h 91"/>
                  <a:gd name="T24" fmla="*/ 1 w 66"/>
                  <a:gd name="T25" fmla="*/ 33 h 91"/>
                  <a:gd name="T26" fmla="*/ 1 w 66"/>
                  <a:gd name="T27" fmla="*/ 21 h 91"/>
                  <a:gd name="T28" fmla="*/ 1 w 66"/>
                  <a:gd name="T29" fmla="*/ 12 h 91"/>
                  <a:gd name="T30" fmla="*/ 1 w 66"/>
                  <a:gd name="T31" fmla="*/ 13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66" h="91">
                    <a:moveTo>
                      <a:pt x="1" y="13"/>
                    </a:moveTo>
                    <a:cubicBezTo>
                      <a:pt x="8" y="0"/>
                      <a:pt x="14" y="1"/>
                      <a:pt x="34" y="3"/>
                    </a:cubicBezTo>
                    <a:cubicBezTo>
                      <a:pt x="40" y="4"/>
                      <a:pt x="32" y="13"/>
                      <a:pt x="33" y="18"/>
                    </a:cubicBezTo>
                    <a:cubicBezTo>
                      <a:pt x="34" y="23"/>
                      <a:pt x="40" y="27"/>
                      <a:pt x="43" y="31"/>
                    </a:cubicBezTo>
                    <a:cubicBezTo>
                      <a:pt x="46" y="36"/>
                      <a:pt x="47" y="39"/>
                      <a:pt x="52" y="43"/>
                    </a:cubicBezTo>
                    <a:cubicBezTo>
                      <a:pt x="56" y="53"/>
                      <a:pt x="61" y="58"/>
                      <a:pt x="66" y="67"/>
                    </a:cubicBezTo>
                    <a:cubicBezTo>
                      <a:pt x="66" y="73"/>
                      <a:pt x="65" y="77"/>
                      <a:pt x="58" y="81"/>
                    </a:cubicBezTo>
                    <a:cubicBezTo>
                      <a:pt x="51" y="85"/>
                      <a:pt x="33" y="91"/>
                      <a:pt x="27" y="90"/>
                    </a:cubicBezTo>
                    <a:cubicBezTo>
                      <a:pt x="25" y="85"/>
                      <a:pt x="23" y="80"/>
                      <a:pt x="21" y="75"/>
                    </a:cubicBezTo>
                    <a:cubicBezTo>
                      <a:pt x="20" y="68"/>
                      <a:pt x="9" y="64"/>
                      <a:pt x="6" y="58"/>
                    </a:cubicBezTo>
                    <a:cubicBezTo>
                      <a:pt x="3" y="53"/>
                      <a:pt x="9" y="52"/>
                      <a:pt x="9" y="48"/>
                    </a:cubicBezTo>
                    <a:cubicBezTo>
                      <a:pt x="9" y="45"/>
                      <a:pt x="7" y="41"/>
                      <a:pt x="6" y="39"/>
                    </a:cubicBezTo>
                    <a:cubicBezTo>
                      <a:pt x="5" y="37"/>
                      <a:pt x="2" y="36"/>
                      <a:pt x="1" y="33"/>
                    </a:cubicBezTo>
                    <a:cubicBezTo>
                      <a:pt x="0" y="27"/>
                      <a:pt x="1" y="24"/>
                      <a:pt x="1" y="21"/>
                    </a:cubicBezTo>
                    <a:cubicBezTo>
                      <a:pt x="1" y="18"/>
                      <a:pt x="1" y="13"/>
                      <a:pt x="1" y="12"/>
                    </a:cubicBezTo>
                    <a:cubicBezTo>
                      <a:pt x="0" y="5"/>
                      <a:pt x="0" y="5"/>
                      <a:pt x="1" y="1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32" name="Freeform 20">
                <a:extLst>
                  <a:ext uri="{FF2B5EF4-FFF2-40B4-BE49-F238E27FC236}">
                    <a16:creationId xmlns:a16="http://schemas.microsoft.com/office/drawing/2014/main" id="{6A028637-DE93-48F7-8133-B17F9CA353E7}"/>
                  </a:ext>
                </a:extLst>
              </p:cNvPr>
              <p:cNvSpPr>
                <a:spLocks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813374" y="3135717"/>
                <a:ext cx="139214" cy="97092"/>
              </a:xfrm>
              <a:custGeom>
                <a:avLst/>
                <a:gdLst>
                  <a:gd name="T0" fmla="*/ 21 w 92"/>
                  <a:gd name="T1" fmla="*/ 57 h 63"/>
                  <a:gd name="T2" fmla="*/ 12 w 92"/>
                  <a:gd name="T3" fmla="*/ 53 h 63"/>
                  <a:gd name="T4" fmla="*/ 5 w 92"/>
                  <a:gd name="T5" fmla="*/ 44 h 63"/>
                  <a:gd name="T6" fmla="*/ 0 w 92"/>
                  <a:gd name="T7" fmla="*/ 41 h 63"/>
                  <a:gd name="T8" fmla="*/ 11 w 92"/>
                  <a:gd name="T9" fmla="*/ 23 h 63"/>
                  <a:gd name="T10" fmla="*/ 26 w 92"/>
                  <a:gd name="T11" fmla="*/ 11 h 63"/>
                  <a:gd name="T12" fmla="*/ 51 w 92"/>
                  <a:gd name="T13" fmla="*/ 8 h 63"/>
                  <a:gd name="T14" fmla="*/ 66 w 92"/>
                  <a:gd name="T15" fmla="*/ 0 h 63"/>
                  <a:gd name="T16" fmla="*/ 92 w 92"/>
                  <a:gd name="T17" fmla="*/ 5 h 63"/>
                  <a:gd name="T18" fmla="*/ 84 w 92"/>
                  <a:gd name="T19" fmla="*/ 33 h 63"/>
                  <a:gd name="T20" fmla="*/ 72 w 92"/>
                  <a:gd name="T21" fmla="*/ 50 h 63"/>
                  <a:gd name="T22" fmla="*/ 45 w 92"/>
                  <a:gd name="T23" fmla="*/ 54 h 63"/>
                  <a:gd name="T24" fmla="*/ 32 w 92"/>
                  <a:gd name="T25" fmla="*/ 62 h 63"/>
                  <a:gd name="T26" fmla="*/ 21 w 92"/>
                  <a:gd name="T27" fmla="*/ 57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2" h="63">
                    <a:moveTo>
                      <a:pt x="21" y="57"/>
                    </a:moveTo>
                    <a:cubicBezTo>
                      <a:pt x="18" y="55"/>
                      <a:pt x="15" y="55"/>
                      <a:pt x="12" y="53"/>
                    </a:cubicBezTo>
                    <a:cubicBezTo>
                      <a:pt x="9" y="51"/>
                      <a:pt x="8" y="46"/>
                      <a:pt x="5" y="44"/>
                    </a:cubicBezTo>
                    <a:cubicBezTo>
                      <a:pt x="3" y="43"/>
                      <a:pt x="2" y="42"/>
                      <a:pt x="0" y="41"/>
                    </a:cubicBezTo>
                    <a:cubicBezTo>
                      <a:pt x="2" y="31"/>
                      <a:pt x="1" y="25"/>
                      <a:pt x="11" y="23"/>
                    </a:cubicBezTo>
                    <a:cubicBezTo>
                      <a:pt x="19" y="17"/>
                      <a:pt x="17" y="13"/>
                      <a:pt x="26" y="11"/>
                    </a:cubicBezTo>
                    <a:cubicBezTo>
                      <a:pt x="31" y="2"/>
                      <a:pt x="39" y="6"/>
                      <a:pt x="51" y="8"/>
                    </a:cubicBezTo>
                    <a:cubicBezTo>
                      <a:pt x="60" y="6"/>
                      <a:pt x="59" y="3"/>
                      <a:pt x="66" y="0"/>
                    </a:cubicBezTo>
                    <a:cubicBezTo>
                      <a:pt x="75" y="2"/>
                      <a:pt x="92" y="5"/>
                      <a:pt x="92" y="5"/>
                    </a:cubicBezTo>
                    <a:cubicBezTo>
                      <a:pt x="91" y="16"/>
                      <a:pt x="89" y="24"/>
                      <a:pt x="84" y="33"/>
                    </a:cubicBezTo>
                    <a:cubicBezTo>
                      <a:pt x="80" y="40"/>
                      <a:pt x="78" y="47"/>
                      <a:pt x="72" y="50"/>
                    </a:cubicBezTo>
                    <a:cubicBezTo>
                      <a:pt x="66" y="53"/>
                      <a:pt x="52" y="52"/>
                      <a:pt x="45" y="54"/>
                    </a:cubicBezTo>
                    <a:cubicBezTo>
                      <a:pt x="40" y="60"/>
                      <a:pt x="38" y="59"/>
                      <a:pt x="32" y="62"/>
                    </a:cubicBezTo>
                    <a:cubicBezTo>
                      <a:pt x="22" y="60"/>
                      <a:pt x="25" y="63"/>
                      <a:pt x="21" y="5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33" name="Freeform 21">
                <a:extLst>
                  <a:ext uri="{FF2B5EF4-FFF2-40B4-BE49-F238E27FC236}">
                    <a16:creationId xmlns:a16="http://schemas.microsoft.com/office/drawing/2014/main" id="{F0E346B1-CD46-46AE-895C-18353D17D652}"/>
                  </a:ext>
                </a:extLst>
              </p:cNvPr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820779" y="3089483"/>
                <a:ext cx="137733" cy="73974"/>
              </a:xfrm>
              <a:custGeom>
                <a:avLst/>
                <a:gdLst>
                  <a:gd name="T0" fmla="*/ 90 w 91"/>
                  <a:gd name="T1" fmla="*/ 35 h 48"/>
                  <a:gd name="T2" fmla="*/ 91 w 91"/>
                  <a:gd name="T3" fmla="*/ 18 h 48"/>
                  <a:gd name="T4" fmla="*/ 51 w 91"/>
                  <a:gd name="T5" fmla="*/ 11 h 48"/>
                  <a:gd name="T6" fmla="*/ 25 w 91"/>
                  <a:gd name="T7" fmla="*/ 12 h 48"/>
                  <a:gd name="T8" fmla="*/ 4 w 91"/>
                  <a:gd name="T9" fmla="*/ 24 h 48"/>
                  <a:gd name="T10" fmla="*/ 10 w 91"/>
                  <a:gd name="T11" fmla="*/ 45 h 48"/>
                  <a:gd name="T12" fmla="*/ 25 w 91"/>
                  <a:gd name="T13" fmla="*/ 36 h 48"/>
                  <a:gd name="T14" fmla="*/ 49 w 91"/>
                  <a:gd name="T15" fmla="*/ 35 h 48"/>
                  <a:gd name="T16" fmla="*/ 90 w 91"/>
                  <a:gd name="T17" fmla="*/ 35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91" h="48">
                    <a:moveTo>
                      <a:pt x="90" y="35"/>
                    </a:moveTo>
                    <a:cubicBezTo>
                      <a:pt x="91" y="27"/>
                      <a:pt x="90" y="26"/>
                      <a:pt x="91" y="18"/>
                    </a:cubicBezTo>
                    <a:cubicBezTo>
                      <a:pt x="88" y="0"/>
                      <a:pt x="66" y="10"/>
                      <a:pt x="51" y="11"/>
                    </a:cubicBezTo>
                    <a:cubicBezTo>
                      <a:pt x="42" y="8"/>
                      <a:pt x="34" y="10"/>
                      <a:pt x="25" y="12"/>
                    </a:cubicBezTo>
                    <a:cubicBezTo>
                      <a:pt x="16" y="19"/>
                      <a:pt x="17" y="23"/>
                      <a:pt x="4" y="24"/>
                    </a:cubicBezTo>
                    <a:cubicBezTo>
                      <a:pt x="0" y="30"/>
                      <a:pt x="4" y="40"/>
                      <a:pt x="10" y="45"/>
                    </a:cubicBezTo>
                    <a:cubicBezTo>
                      <a:pt x="13" y="48"/>
                      <a:pt x="19" y="38"/>
                      <a:pt x="25" y="36"/>
                    </a:cubicBezTo>
                    <a:cubicBezTo>
                      <a:pt x="31" y="34"/>
                      <a:pt x="38" y="35"/>
                      <a:pt x="49" y="35"/>
                    </a:cubicBezTo>
                    <a:cubicBezTo>
                      <a:pt x="63" y="27"/>
                      <a:pt x="66" y="32"/>
                      <a:pt x="90" y="3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34" name="Freeform 22">
                <a:extLst>
                  <a:ext uri="{FF2B5EF4-FFF2-40B4-BE49-F238E27FC236}">
                    <a16:creationId xmlns:a16="http://schemas.microsoft.com/office/drawing/2014/main" id="{611BB931-FEB3-4CB4-950A-6A3E71258D0B}"/>
                  </a:ext>
                </a:extLst>
              </p:cNvPr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724514" y="3047873"/>
                <a:ext cx="151062" cy="86303"/>
              </a:xfrm>
              <a:custGeom>
                <a:avLst/>
                <a:gdLst>
                  <a:gd name="T0" fmla="*/ 100 w 100"/>
                  <a:gd name="T1" fmla="*/ 35 h 56"/>
                  <a:gd name="T2" fmla="*/ 86 w 100"/>
                  <a:gd name="T3" fmla="*/ 26 h 56"/>
                  <a:gd name="T4" fmla="*/ 55 w 100"/>
                  <a:gd name="T5" fmla="*/ 3 h 56"/>
                  <a:gd name="T6" fmla="*/ 35 w 100"/>
                  <a:gd name="T7" fmla="*/ 2 h 56"/>
                  <a:gd name="T8" fmla="*/ 20 w 100"/>
                  <a:gd name="T9" fmla="*/ 12 h 56"/>
                  <a:gd name="T10" fmla="*/ 2 w 100"/>
                  <a:gd name="T11" fmla="*/ 23 h 56"/>
                  <a:gd name="T12" fmla="*/ 11 w 100"/>
                  <a:gd name="T13" fmla="*/ 38 h 56"/>
                  <a:gd name="T14" fmla="*/ 23 w 100"/>
                  <a:gd name="T15" fmla="*/ 56 h 56"/>
                  <a:gd name="T16" fmla="*/ 41 w 100"/>
                  <a:gd name="T17" fmla="*/ 45 h 56"/>
                  <a:gd name="T18" fmla="*/ 59 w 100"/>
                  <a:gd name="T19" fmla="*/ 56 h 56"/>
                  <a:gd name="T20" fmla="*/ 64 w 100"/>
                  <a:gd name="T21" fmla="*/ 54 h 56"/>
                  <a:gd name="T22" fmla="*/ 68 w 100"/>
                  <a:gd name="T23" fmla="*/ 56 h 56"/>
                  <a:gd name="T24" fmla="*/ 88 w 100"/>
                  <a:gd name="T25" fmla="*/ 42 h 56"/>
                  <a:gd name="T26" fmla="*/ 100 w 100"/>
                  <a:gd name="T27" fmla="*/ 35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00" h="56">
                    <a:moveTo>
                      <a:pt x="100" y="35"/>
                    </a:moveTo>
                    <a:cubicBezTo>
                      <a:pt x="94" y="32"/>
                      <a:pt x="93" y="27"/>
                      <a:pt x="86" y="26"/>
                    </a:cubicBezTo>
                    <a:cubicBezTo>
                      <a:pt x="75" y="18"/>
                      <a:pt x="66" y="11"/>
                      <a:pt x="55" y="3"/>
                    </a:cubicBezTo>
                    <a:cubicBezTo>
                      <a:pt x="47" y="0"/>
                      <a:pt x="41" y="1"/>
                      <a:pt x="35" y="2"/>
                    </a:cubicBezTo>
                    <a:cubicBezTo>
                      <a:pt x="29" y="3"/>
                      <a:pt x="25" y="9"/>
                      <a:pt x="20" y="12"/>
                    </a:cubicBezTo>
                    <a:cubicBezTo>
                      <a:pt x="13" y="20"/>
                      <a:pt x="6" y="13"/>
                      <a:pt x="2" y="23"/>
                    </a:cubicBezTo>
                    <a:cubicBezTo>
                      <a:pt x="6" y="41"/>
                      <a:pt x="0" y="29"/>
                      <a:pt x="11" y="38"/>
                    </a:cubicBezTo>
                    <a:cubicBezTo>
                      <a:pt x="13" y="43"/>
                      <a:pt x="20" y="51"/>
                      <a:pt x="23" y="56"/>
                    </a:cubicBezTo>
                    <a:cubicBezTo>
                      <a:pt x="30" y="53"/>
                      <a:pt x="35" y="49"/>
                      <a:pt x="41" y="45"/>
                    </a:cubicBezTo>
                    <a:cubicBezTo>
                      <a:pt x="47" y="49"/>
                      <a:pt x="53" y="52"/>
                      <a:pt x="59" y="56"/>
                    </a:cubicBezTo>
                    <a:cubicBezTo>
                      <a:pt x="61" y="55"/>
                      <a:pt x="62" y="54"/>
                      <a:pt x="64" y="54"/>
                    </a:cubicBezTo>
                    <a:cubicBezTo>
                      <a:pt x="65" y="54"/>
                      <a:pt x="67" y="56"/>
                      <a:pt x="68" y="56"/>
                    </a:cubicBezTo>
                    <a:cubicBezTo>
                      <a:pt x="75" y="55"/>
                      <a:pt x="80" y="43"/>
                      <a:pt x="88" y="42"/>
                    </a:cubicBezTo>
                    <a:cubicBezTo>
                      <a:pt x="91" y="37"/>
                      <a:pt x="94" y="31"/>
                      <a:pt x="100" y="3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35" name="Freeform 23">
                <a:extLst>
                  <a:ext uri="{FF2B5EF4-FFF2-40B4-BE49-F238E27FC236}">
                    <a16:creationId xmlns:a16="http://schemas.microsoft.com/office/drawing/2014/main" id="{88A63647-68BA-4032-B65F-C1A990D599B5}"/>
                  </a:ext>
                </a:extLst>
              </p:cNvPr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5244344" y="3490177"/>
                <a:ext cx="133290" cy="141784"/>
              </a:xfrm>
              <a:custGeom>
                <a:avLst/>
                <a:gdLst>
                  <a:gd name="T0" fmla="*/ 89 w 89"/>
                  <a:gd name="T1" fmla="*/ 6 h 92"/>
                  <a:gd name="T2" fmla="*/ 62 w 89"/>
                  <a:gd name="T3" fmla="*/ 12 h 92"/>
                  <a:gd name="T4" fmla="*/ 50 w 89"/>
                  <a:gd name="T5" fmla="*/ 15 h 92"/>
                  <a:gd name="T6" fmla="*/ 8 w 89"/>
                  <a:gd name="T7" fmla="*/ 16 h 92"/>
                  <a:gd name="T8" fmla="*/ 10 w 89"/>
                  <a:gd name="T9" fmla="*/ 54 h 92"/>
                  <a:gd name="T10" fmla="*/ 5 w 89"/>
                  <a:gd name="T11" fmla="*/ 78 h 92"/>
                  <a:gd name="T12" fmla="*/ 19 w 89"/>
                  <a:gd name="T13" fmla="*/ 85 h 92"/>
                  <a:gd name="T14" fmla="*/ 28 w 89"/>
                  <a:gd name="T15" fmla="*/ 82 h 92"/>
                  <a:gd name="T16" fmla="*/ 55 w 89"/>
                  <a:gd name="T17" fmla="*/ 70 h 92"/>
                  <a:gd name="T18" fmla="*/ 73 w 89"/>
                  <a:gd name="T19" fmla="*/ 52 h 92"/>
                  <a:gd name="T20" fmla="*/ 82 w 89"/>
                  <a:gd name="T21" fmla="*/ 39 h 92"/>
                  <a:gd name="T22" fmla="*/ 89 w 89"/>
                  <a:gd name="T23" fmla="*/ 6 h 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9" h="92">
                    <a:moveTo>
                      <a:pt x="89" y="6"/>
                    </a:moveTo>
                    <a:cubicBezTo>
                      <a:pt x="77" y="4"/>
                      <a:pt x="69" y="0"/>
                      <a:pt x="62" y="12"/>
                    </a:cubicBezTo>
                    <a:cubicBezTo>
                      <a:pt x="60" y="21"/>
                      <a:pt x="58" y="16"/>
                      <a:pt x="50" y="15"/>
                    </a:cubicBezTo>
                    <a:cubicBezTo>
                      <a:pt x="36" y="15"/>
                      <a:pt x="22" y="14"/>
                      <a:pt x="8" y="16"/>
                    </a:cubicBezTo>
                    <a:cubicBezTo>
                      <a:pt x="3" y="17"/>
                      <a:pt x="0" y="48"/>
                      <a:pt x="10" y="54"/>
                    </a:cubicBezTo>
                    <a:cubicBezTo>
                      <a:pt x="17" y="63"/>
                      <a:pt x="12" y="71"/>
                      <a:pt x="5" y="78"/>
                    </a:cubicBezTo>
                    <a:cubicBezTo>
                      <a:pt x="8" y="84"/>
                      <a:pt x="13" y="84"/>
                      <a:pt x="19" y="85"/>
                    </a:cubicBezTo>
                    <a:cubicBezTo>
                      <a:pt x="23" y="92"/>
                      <a:pt x="21" y="86"/>
                      <a:pt x="28" y="82"/>
                    </a:cubicBezTo>
                    <a:cubicBezTo>
                      <a:pt x="30" y="68"/>
                      <a:pt x="42" y="72"/>
                      <a:pt x="55" y="70"/>
                    </a:cubicBezTo>
                    <a:cubicBezTo>
                      <a:pt x="65" y="63"/>
                      <a:pt x="58" y="59"/>
                      <a:pt x="73" y="52"/>
                    </a:cubicBezTo>
                    <a:cubicBezTo>
                      <a:pt x="76" y="48"/>
                      <a:pt x="79" y="43"/>
                      <a:pt x="82" y="39"/>
                    </a:cubicBezTo>
                    <a:cubicBezTo>
                      <a:pt x="84" y="27"/>
                      <a:pt x="78" y="14"/>
                      <a:pt x="89" y="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36" name="Freeform 24">
                <a:extLst>
                  <a:ext uri="{FF2B5EF4-FFF2-40B4-BE49-F238E27FC236}">
                    <a16:creationId xmlns:a16="http://schemas.microsoft.com/office/drawing/2014/main" id="{23EDF4BB-9339-42FB-86D0-ECE1CE933D96}"/>
                  </a:ext>
                </a:extLst>
              </p:cNvPr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5170294" y="3533329"/>
                <a:ext cx="59240" cy="38529"/>
              </a:xfrm>
              <a:custGeom>
                <a:avLst/>
                <a:gdLst>
                  <a:gd name="T0" fmla="*/ 0 w 39"/>
                  <a:gd name="T1" fmla="*/ 12 h 25"/>
                  <a:gd name="T2" fmla="*/ 30 w 39"/>
                  <a:gd name="T3" fmla="*/ 0 h 25"/>
                  <a:gd name="T4" fmla="*/ 29 w 39"/>
                  <a:gd name="T5" fmla="*/ 8 h 25"/>
                  <a:gd name="T6" fmla="*/ 21 w 39"/>
                  <a:gd name="T7" fmla="*/ 21 h 25"/>
                  <a:gd name="T8" fmla="*/ 2 w 39"/>
                  <a:gd name="T9" fmla="*/ 23 h 25"/>
                  <a:gd name="T10" fmla="*/ 0 w 39"/>
                  <a:gd name="T11" fmla="*/ 1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39" h="25">
                    <a:moveTo>
                      <a:pt x="0" y="12"/>
                    </a:moveTo>
                    <a:cubicBezTo>
                      <a:pt x="17" y="9"/>
                      <a:pt x="18" y="9"/>
                      <a:pt x="30" y="0"/>
                    </a:cubicBezTo>
                    <a:cubicBezTo>
                      <a:pt x="39" y="3"/>
                      <a:pt x="35" y="5"/>
                      <a:pt x="29" y="8"/>
                    </a:cubicBezTo>
                    <a:cubicBezTo>
                      <a:pt x="35" y="16"/>
                      <a:pt x="29" y="19"/>
                      <a:pt x="21" y="21"/>
                    </a:cubicBezTo>
                    <a:cubicBezTo>
                      <a:pt x="14" y="25"/>
                      <a:pt x="10" y="24"/>
                      <a:pt x="2" y="23"/>
                    </a:cubicBezTo>
                    <a:cubicBezTo>
                      <a:pt x="0" y="14"/>
                      <a:pt x="0" y="18"/>
                      <a:pt x="0" y="1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37" name="Freeform 25">
                <a:extLst>
                  <a:ext uri="{FF2B5EF4-FFF2-40B4-BE49-F238E27FC236}">
                    <a16:creationId xmlns:a16="http://schemas.microsoft.com/office/drawing/2014/main" id="{3C13BC31-9EC5-4BBE-BEB6-539C1094A37E}"/>
                  </a:ext>
                </a:extLst>
              </p:cNvPr>
              <p:cNvSpPr>
                <a:spLocks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5013308" y="3337605"/>
                <a:ext cx="447261" cy="184936"/>
              </a:xfrm>
              <a:custGeom>
                <a:avLst/>
                <a:gdLst>
                  <a:gd name="T0" fmla="*/ 61 w 297"/>
                  <a:gd name="T1" fmla="*/ 24 h 120"/>
                  <a:gd name="T2" fmla="*/ 44 w 297"/>
                  <a:gd name="T3" fmla="*/ 9 h 120"/>
                  <a:gd name="T4" fmla="*/ 29 w 297"/>
                  <a:gd name="T5" fmla="*/ 0 h 120"/>
                  <a:gd name="T6" fmla="*/ 19 w 297"/>
                  <a:gd name="T7" fmla="*/ 10 h 120"/>
                  <a:gd name="T8" fmla="*/ 2 w 297"/>
                  <a:gd name="T9" fmla="*/ 42 h 120"/>
                  <a:gd name="T10" fmla="*/ 5 w 297"/>
                  <a:gd name="T11" fmla="*/ 64 h 120"/>
                  <a:gd name="T12" fmla="*/ 20 w 297"/>
                  <a:gd name="T13" fmla="*/ 63 h 120"/>
                  <a:gd name="T14" fmla="*/ 22 w 297"/>
                  <a:gd name="T15" fmla="*/ 85 h 120"/>
                  <a:gd name="T16" fmla="*/ 53 w 297"/>
                  <a:gd name="T17" fmla="*/ 115 h 120"/>
                  <a:gd name="T18" fmla="*/ 68 w 297"/>
                  <a:gd name="T19" fmla="*/ 120 h 120"/>
                  <a:gd name="T20" fmla="*/ 82 w 297"/>
                  <a:gd name="T21" fmla="*/ 109 h 120"/>
                  <a:gd name="T22" fmla="*/ 109 w 297"/>
                  <a:gd name="T23" fmla="*/ 115 h 120"/>
                  <a:gd name="T24" fmla="*/ 133 w 297"/>
                  <a:gd name="T25" fmla="*/ 111 h 120"/>
                  <a:gd name="T26" fmla="*/ 167 w 297"/>
                  <a:gd name="T27" fmla="*/ 114 h 120"/>
                  <a:gd name="T28" fmla="*/ 182 w 297"/>
                  <a:gd name="T29" fmla="*/ 114 h 120"/>
                  <a:gd name="T30" fmla="*/ 211 w 297"/>
                  <a:gd name="T31" fmla="*/ 114 h 120"/>
                  <a:gd name="T32" fmla="*/ 222 w 297"/>
                  <a:gd name="T33" fmla="*/ 103 h 120"/>
                  <a:gd name="T34" fmla="*/ 232 w 297"/>
                  <a:gd name="T35" fmla="*/ 102 h 120"/>
                  <a:gd name="T36" fmla="*/ 248 w 297"/>
                  <a:gd name="T37" fmla="*/ 103 h 120"/>
                  <a:gd name="T38" fmla="*/ 269 w 297"/>
                  <a:gd name="T39" fmla="*/ 108 h 120"/>
                  <a:gd name="T40" fmla="*/ 272 w 297"/>
                  <a:gd name="T41" fmla="*/ 103 h 120"/>
                  <a:gd name="T42" fmla="*/ 284 w 297"/>
                  <a:gd name="T43" fmla="*/ 105 h 120"/>
                  <a:gd name="T44" fmla="*/ 274 w 297"/>
                  <a:gd name="T45" fmla="*/ 45 h 120"/>
                  <a:gd name="T46" fmla="*/ 262 w 297"/>
                  <a:gd name="T47" fmla="*/ 21 h 120"/>
                  <a:gd name="T48" fmla="*/ 230 w 297"/>
                  <a:gd name="T49" fmla="*/ 28 h 120"/>
                  <a:gd name="T50" fmla="*/ 193 w 297"/>
                  <a:gd name="T51" fmla="*/ 30 h 120"/>
                  <a:gd name="T52" fmla="*/ 164 w 297"/>
                  <a:gd name="T53" fmla="*/ 15 h 120"/>
                  <a:gd name="T54" fmla="*/ 146 w 297"/>
                  <a:gd name="T55" fmla="*/ 6 h 120"/>
                  <a:gd name="T56" fmla="*/ 98 w 297"/>
                  <a:gd name="T57" fmla="*/ 15 h 120"/>
                  <a:gd name="T58" fmla="*/ 86 w 297"/>
                  <a:gd name="T59" fmla="*/ 22 h 120"/>
                  <a:gd name="T60" fmla="*/ 61 w 297"/>
                  <a:gd name="T61" fmla="*/ 24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97" h="120">
                    <a:moveTo>
                      <a:pt x="61" y="24"/>
                    </a:moveTo>
                    <a:cubicBezTo>
                      <a:pt x="46" y="21"/>
                      <a:pt x="50" y="20"/>
                      <a:pt x="44" y="9"/>
                    </a:cubicBezTo>
                    <a:cubicBezTo>
                      <a:pt x="39" y="5"/>
                      <a:pt x="33" y="0"/>
                      <a:pt x="29" y="0"/>
                    </a:cubicBezTo>
                    <a:cubicBezTo>
                      <a:pt x="25" y="0"/>
                      <a:pt x="23" y="3"/>
                      <a:pt x="19" y="10"/>
                    </a:cubicBezTo>
                    <a:cubicBezTo>
                      <a:pt x="22" y="30"/>
                      <a:pt x="17" y="33"/>
                      <a:pt x="2" y="42"/>
                    </a:cubicBezTo>
                    <a:cubicBezTo>
                      <a:pt x="1" y="50"/>
                      <a:pt x="0" y="57"/>
                      <a:pt x="5" y="64"/>
                    </a:cubicBezTo>
                    <a:cubicBezTo>
                      <a:pt x="12" y="63"/>
                      <a:pt x="14" y="59"/>
                      <a:pt x="20" y="63"/>
                    </a:cubicBezTo>
                    <a:cubicBezTo>
                      <a:pt x="19" y="71"/>
                      <a:pt x="11" y="83"/>
                      <a:pt x="22" y="85"/>
                    </a:cubicBezTo>
                    <a:cubicBezTo>
                      <a:pt x="27" y="108"/>
                      <a:pt x="27" y="113"/>
                      <a:pt x="53" y="115"/>
                    </a:cubicBezTo>
                    <a:cubicBezTo>
                      <a:pt x="58" y="117"/>
                      <a:pt x="63" y="118"/>
                      <a:pt x="68" y="120"/>
                    </a:cubicBezTo>
                    <a:cubicBezTo>
                      <a:pt x="74" y="117"/>
                      <a:pt x="77" y="114"/>
                      <a:pt x="82" y="109"/>
                    </a:cubicBezTo>
                    <a:cubicBezTo>
                      <a:pt x="90" y="113"/>
                      <a:pt x="109" y="115"/>
                      <a:pt x="109" y="115"/>
                    </a:cubicBezTo>
                    <a:cubicBezTo>
                      <a:pt x="118" y="114"/>
                      <a:pt x="124" y="112"/>
                      <a:pt x="133" y="111"/>
                    </a:cubicBezTo>
                    <a:cubicBezTo>
                      <a:pt x="143" y="110"/>
                      <a:pt x="159" y="114"/>
                      <a:pt x="167" y="114"/>
                    </a:cubicBezTo>
                    <a:cubicBezTo>
                      <a:pt x="175" y="114"/>
                      <a:pt x="175" y="114"/>
                      <a:pt x="182" y="114"/>
                    </a:cubicBezTo>
                    <a:cubicBezTo>
                      <a:pt x="189" y="114"/>
                      <a:pt x="204" y="116"/>
                      <a:pt x="211" y="114"/>
                    </a:cubicBezTo>
                    <a:cubicBezTo>
                      <a:pt x="218" y="112"/>
                      <a:pt x="219" y="105"/>
                      <a:pt x="222" y="103"/>
                    </a:cubicBezTo>
                    <a:cubicBezTo>
                      <a:pt x="225" y="101"/>
                      <a:pt x="228" y="102"/>
                      <a:pt x="232" y="102"/>
                    </a:cubicBezTo>
                    <a:cubicBezTo>
                      <a:pt x="236" y="102"/>
                      <a:pt x="242" y="102"/>
                      <a:pt x="248" y="103"/>
                    </a:cubicBezTo>
                    <a:cubicBezTo>
                      <a:pt x="254" y="104"/>
                      <a:pt x="265" y="108"/>
                      <a:pt x="269" y="108"/>
                    </a:cubicBezTo>
                    <a:cubicBezTo>
                      <a:pt x="273" y="108"/>
                      <a:pt x="270" y="103"/>
                      <a:pt x="272" y="103"/>
                    </a:cubicBezTo>
                    <a:cubicBezTo>
                      <a:pt x="274" y="103"/>
                      <a:pt x="284" y="115"/>
                      <a:pt x="284" y="105"/>
                    </a:cubicBezTo>
                    <a:cubicBezTo>
                      <a:pt x="297" y="84"/>
                      <a:pt x="292" y="59"/>
                      <a:pt x="274" y="45"/>
                    </a:cubicBezTo>
                    <a:cubicBezTo>
                      <a:pt x="268" y="29"/>
                      <a:pt x="274" y="33"/>
                      <a:pt x="262" y="21"/>
                    </a:cubicBezTo>
                    <a:cubicBezTo>
                      <a:pt x="246" y="22"/>
                      <a:pt x="243" y="25"/>
                      <a:pt x="230" y="28"/>
                    </a:cubicBezTo>
                    <a:cubicBezTo>
                      <a:pt x="218" y="34"/>
                      <a:pt x="208" y="31"/>
                      <a:pt x="193" y="30"/>
                    </a:cubicBezTo>
                    <a:cubicBezTo>
                      <a:pt x="183" y="26"/>
                      <a:pt x="175" y="17"/>
                      <a:pt x="164" y="15"/>
                    </a:cubicBezTo>
                    <a:cubicBezTo>
                      <a:pt x="158" y="11"/>
                      <a:pt x="153" y="7"/>
                      <a:pt x="146" y="6"/>
                    </a:cubicBezTo>
                    <a:cubicBezTo>
                      <a:pt x="117" y="7"/>
                      <a:pt x="116" y="4"/>
                      <a:pt x="98" y="15"/>
                    </a:cubicBezTo>
                    <a:cubicBezTo>
                      <a:pt x="94" y="20"/>
                      <a:pt x="92" y="21"/>
                      <a:pt x="86" y="22"/>
                    </a:cubicBezTo>
                    <a:cubicBezTo>
                      <a:pt x="76" y="27"/>
                      <a:pt x="83" y="24"/>
                      <a:pt x="61" y="24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38" name="Freeform 26">
                <a:extLst>
                  <a:ext uri="{FF2B5EF4-FFF2-40B4-BE49-F238E27FC236}">
                    <a16:creationId xmlns:a16="http://schemas.microsoft.com/office/drawing/2014/main" id="{3465166D-A121-4096-80E8-DBB4354AA09C}"/>
                  </a:ext>
                </a:extLst>
              </p:cNvPr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4723033" y="4291565"/>
                <a:ext cx="419123" cy="403776"/>
              </a:xfrm>
              <a:custGeom>
                <a:avLst/>
                <a:gdLst>
                  <a:gd name="T0" fmla="*/ 8 w 278"/>
                  <a:gd name="T1" fmla="*/ 170 h 262"/>
                  <a:gd name="T2" fmla="*/ 0 w 278"/>
                  <a:gd name="T3" fmla="*/ 156 h 262"/>
                  <a:gd name="T4" fmla="*/ 15 w 278"/>
                  <a:gd name="T5" fmla="*/ 141 h 262"/>
                  <a:gd name="T6" fmla="*/ 33 w 278"/>
                  <a:gd name="T7" fmla="*/ 141 h 262"/>
                  <a:gd name="T8" fmla="*/ 53 w 278"/>
                  <a:gd name="T9" fmla="*/ 135 h 262"/>
                  <a:gd name="T10" fmla="*/ 68 w 278"/>
                  <a:gd name="T11" fmla="*/ 107 h 262"/>
                  <a:gd name="T12" fmla="*/ 84 w 278"/>
                  <a:gd name="T13" fmla="*/ 90 h 262"/>
                  <a:gd name="T14" fmla="*/ 84 w 278"/>
                  <a:gd name="T15" fmla="*/ 72 h 262"/>
                  <a:gd name="T16" fmla="*/ 92 w 278"/>
                  <a:gd name="T17" fmla="*/ 53 h 262"/>
                  <a:gd name="T18" fmla="*/ 98 w 278"/>
                  <a:gd name="T19" fmla="*/ 18 h 262"/>
                  <a:gd name="T20" fmla="*/ 108 w 278"/>
                  <a:gd name="T21" fmla="*/ 0 h 262"/>
                  <a:gd name="T22" fmla="*/ 144 w 278"/>
                  <a:gd name="T23" fmla="*/ 14 h 262"/>
                  <a:gd name="T24" fmla="*/ 158 w 278"/>
                  <a:gd name="T25" fmla="*/ 12 h 262"/>
                  <a:gd name="T26" fmla="*/ 188 w 278"/>
                  <a:gd name="T27" fmla="*/ 5 h 262"/>
                  <a:gd name="T28" fmla="*/ 209 w 278"/>
                  <a:gd name="T29" fmla="*/ 0 h 262"/>
                  <a:gd name="T30" fmla="*/ 233 w 278"/>
                  <a:gd name="T31" fmla="*/ 6 h 262"/>
                  <a:gd name="T32" fmla="*/ 261 w 278"/>
                  <a:gd name="T33" fmla="*/ 12 h 262"/>
                  <a:gd name="T34" fmla="*/ 272 w 278"/>
                  <a:gd name="T35" fmla="*/ 24 h 262"/>
                  <a:gd name="T36" fmla="*/ 278 w 278"/>
                  <a:gd name="T37" fmla="*/ 39 h 262"/>
                  <a:gd name="T38" fmla="*/ 264 w 278"/>
                  <a:gd name="T39" fmla="*/ 65 h 262"/>
                  <a:gd name="T40" fmla="*/ 258 w 278"/>
                  <a:gd name="T41" fmla="*/ 90 h 262"/>
                  <a:gd name="T42" fmla="*/ 249 w 278"/>
                  <a:gd name="T43" fmla="*/ 110 h 262"/>
                  <a:gd name="T44" fmla="*/ 257 w 278"/>
                  <a:gd name="T45" fmla="*/ 171 h 262"/>
                  <a:gd name="T46" fmla="*/ 272 w 278"/>
                  <a:gd name="T47" fmla="*/ 182 h 262"/>
                  <a:gd name="T48" fmla="*/ 243 w 278"/>
                  <a:gd name="T49" fmla="*/ 204 h 262"/>
                  <a:gd name="T50" fmla="*/ 237 w 278"/>
                  <a:gd name="T51" fmla="*/ 255 h 262"/>
                  <a:gd name="T52" fmla="*/ 219 w 278"/>
                  <a:gd name="T53" fmla="*/ 249 h 262"/>
                  <a:gd name="T54" fmla="*/ 197 w 278"/>
                  <a:gd name="T55" fmla="*/ 245 h 262"/>
                  <a:gd name="T56" fmla="*/ 169 w 278"/>
                  <a:gd name="T57" fmla="*/ 240 h 262"/>
                  <a:gd name="T58" fmla="*/ 150 w 278"/>
                  <a:gd name="T59" fmla="*/ 236 h 262"/>
                  <a:gd name="T60" fmla="*/ 146 w 278"/>
                  <a:gd name="T61" fmla="*/ 227 h 262"/>
                  <a:gd name="T62" fmla="*/ 148 w 278"/>
                  <a:gd name="T63" fmla="*/ 209 h 262"/>
                  <a:gd name="T64" fmla="*/ 141 w 278"/>
                  <a:gd name="T65" fmla="*/ 195 h 262"/>
                  <a:gd name="T66" fmla="*/ 128 w 278"/>
                  <a:gd name="T67" fmla="*/ 186 h 262"/>
                  <a:gd name="T68" fmla="*/ 109 w 278"/>
                  <a:gd name="T69" fmla="*/ 189 h 262"/>
                  <a:gd name="T70" fmla="*/ 90 w 278"/>
                  <a:gd name="T71" fmla="*/ 194 h 262"/>
                  <a:gd name="T72" fmla="*/ 68 w 278"/>
                  <a:gd name="T73" fmla="*/ 176 h 262"/>
                  <a:gd name="T74" fmla="*/ 63 w 278"/>
                  <a:gd name="T75" fmla="*/ 165 h 262"/>
                  <a:gd name="T76" fmla="*/ 44 w 278"/>
                  <a:gd name="T77" fmla="*/ 164 h 262"/>
                  <a:gd name="T78" fmla="*/ 8 w 278"/>
                  <a:gd name="T79" fmla="*/ 170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8" h="262">
                    <a:moveTo>
                      <a:pt x="8" y="170"/>
                    </a:moveTo>
                    <a:cubicBezTo>
                      <a:pt x="5" y="163"/>
                      <a:pt x="7" y="160"/>
                      <a:pt x="0" y="156"/>
                    </a:cubicBezTo>
                    <a:cubicBezTo>
                      <a:pt x="1" y="151"/>
                      <a:pt x="10" y="143"/>
                      <a:pt x="15" y="141"/>
                    </a:cubicBezTo>
                    <a:cubicBezTo>
                      <a:pt x="20" y="139"/>
                      <a:pt x="27" y="142"/>
                      <a:pt x="33" y="141"/>
                    </a:cubicBezTo>
                    <a:cubicBezTo>
                      <a:pt x="39" y="137"/>
                      <a:pt x="46" y="137"/>
                      <a:pt x="53" y="135"/>
                    </a:cubicBezTo>
                    <a:cubicBezTo>
                      <a:pt x="62" y="128"/>
                      <a:pt x="52" y="117"/>
                      <a:pt x="68" y="107"/>
                    </a:cubicBezTo>
                    <a:cubicBezTo>
                      <a:pt x="77" y="92"/>
                      <a:pt x="66" y="95"/>
                      <a:pt x="84" y="90"/>
                    </a:cubicBezTo>
                    <a:cubicBezTo>
                      <a:pt x="89" y="84"/>
                      <a:pt x="87" y="79"/>
                      <a:pt x="84" y="72"/>
                    </a:cubicBezTo>
                    <a:cubicBezTo>
                      <a:pt x="86" y="57"/>
                      <a:pt x="87" y="63"/>
                      <a:pt x="92" y="53"/>
                    </a:cubicBezTo>
                    <a:cubicBezTo>
                      <a:pt x="87" y="40"/>
                      <a:pt x="91" y="30"/>
                      <a:pt x="98" y="18"/>
                    </a:cubicBezTo>
                    <a:cubicBezTo>
                      <a:pt x="99" y="10"/>
                      <a:pt x="100" y="4"/>
                      <a:pt x="108" y="0"/>
                    </a:cubicBezTo>
                    <a:cubicBezTo>
                      <a:pt x="122" y="2"/>
                      <a:pt x="130" y="13"/>
                      <a:pt x="144" y="14"/>
                    </a:cubicBezTo>
                    <a:cubicBezTo>
                      <a:pt x="151" y="18"/>
                      <a:pt x="149" y="15"/>
                      <a:pt x="158" y="12"/>
                    </a:cubicBezTo>
                    <a:cubicBezTo>
                      <a:pt x="169" y="4"/>
                      <a:pt x="170" y="6"/>
                      <a:pt x="188" y="5"/>
                    </a:cubicBezTo>
                    <a:cubicBezTo>
                      <a:pt x="196" y="3"/>
                      <a:pt x="202" y="0"/>
                      <a:pt x="209" y="0"/>
                    </a:cubicBezTo>
                    <a:cubicBezTo>
                      <a:pt x="216" y="0"/>
                      <a:pt x="224" y="4"/>
                      <a:pt x="233" y="6"/>
                    </a:cubicBezTo>
                    <a:cubicBezTo>
                      <a:pt x="245" y="12"/>
                      <a:pt x="243" y="11"/>
                      <a:pt x="261" y="12"/>
                    </a:cubicBezTo>
                    <a:cubicBezTo>
                      <a:pt x="267" y="15"/>
                      <a:pt x="268" y="19"/>
                      <a:pt x="272" y="24"/>
                    </a:cubicBezTo>
                    <a:cubicBezTo>
                      <a:pt x="273" y="30"/>
                      <a:pt x="274" y="34"/>
                      <a:pt x="278" y="39"/>
                    </a:cubicBezTo>
                    <a:cubicBezTo>
                      <a:pt x="276" y="50"/>
                      <a:pt x="269" y="57"/>
                      <a:pt x="264" y="65"/>
                    </a:cubicBezTo>
                    <a:cubicBezTo>
                      <a:pt x="262" y="75"/>
                      <a:pt x="267" y="89"/>
                      <a:pt x="258" y="90"/>
                    </a:cubicBezTo>
                    <a:cubicBezTo>
                      <a:pt x="257" y="102"/>
                      <a:pt x="259" y="106"/>
                      <a:pt x="249" y="110"/>
                    </a:cubicBezTo>
                    <a:cubicBezTo>
                      <a:pt x="251" y="130"/>
                      <a:pt x="248" y="153"/>
                      <a:pt x="257" y="171"/>
                    </a:cubicBezTo>
                    <a:cubicBezTo>
                      <a:pt x="258" y="177"/>
                      <a:pt x="266" y="179"/>
                      <a:pt x="272" y="182"/>
                    </a:cubicBezTo>
                    <a:cubicBezTo>
                      <a:pt x="276" y="206"/>
                      <a:pt x="263" y="202"/>
                      <a:pt x="243" y="204"/>
                    </a:cubicBezTo>
                    <a:cubicBezTo>
                      <a:pt x="236" y="216"/>
                      <a:pt x="245" y="248"/>
                      <a:pt x="237" y="255"/>
                    </a:cubicBezTo>
                    <a:cubicBezTo>
                      <a:pt x="233" y="262"/>
                      <a:pt x="226" y="251"/>
                      <a:pt x="219" y="249"/>
                    </a:cubicBezTo>
                    <a:cubicBezTo>
                      <a:pt x="212" y="247"/>
                      <a:pt x="205" y="247"/>
                      <a:pt x="197" y="245"/>
                    </a:cubicBezTo>
                    <a:cubicBezTo>
                      <a:pt x="189" y="243"/>
                      <a:pt x="177" y="242"/>
                      <a:pt x="169" y="240"/>
                    </a:cubicBezTo>
                    <a:cubicBezTo>
                      <a:pt x="162" y="238"/>
                      <a:pt x="154" y="238"/>
                      <a:pt x="150" y="236"/>
                    </a:cubicBezTo>
                    <a:cubicBezTo>
                      <a:pt x="146" y="234"/>
                      <a:pt x="146" y="231"/>
                      <a:pt x="146" y="227"/>
                    </a:cubicBezTo>
                    <a:cubicBezTo>
                      <a:pt x="142" y="222"/>
                      <a:pt x="149" y="214"/>
                      <a:pt x="148" y="209"/>
                    </a:cubicBezTo>
                    <a:cubicBezTo>
                      <a:pt x="147" y="204"/>
                      <a:pt x="144" y="199"/>
                      <a:pt x="141" y="195"/>
                    </a:cubicBezTo>
                    <a:cubicBezTo>
                      <a:pt x="136" y="193"/>
                      <a:pt x="140" y="191"/>
                      <a:pt x="128" y="186"/>
                    </a:cubicBezTo>
                    <a:cubicBezTo>
                      <a:pt x="123" y="185"/>
                      <a:pt x="115" y="188"/>
                      <a:pt x="109" y="189"/>
                    </a:cubicBezTo>
                    <a:cubicBezTo>
                      <a:pt x="103" y="190"/>
                      <a:pt x="97" y="196"/>
                      <a:pt x="90" y="194"/>
                    </a:cubicBezTo>
                    <a:cubicBezTo>
                      <a:pt x="75" y="192"/>
                      <a:pt x="74" y="187"/>
                      <a:pt x="68" y="176"/>
                    </a:cubicBezTo>
                    <a:cubicBezTo>
                      <a:pt x="63" y="172"/>
                      <a:pt x="67" y="167"/>
                      <a:pt x="63" y="165"/>
                    </a:cubicBezTo>
                    <a:cubicBezTo>
                      <a:pt x="59" y="163"/>
                      <a:pt x="53" y="163"/>
                      <a:pt x="44" y="164"/>
                    </a:cubicBezTo>
                    <a:cubicBezTo>
                      <a:pt x="35" y="165"/>
                      <a:pt x="15" y="169"/>
                      <a:pt x="8" y="17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39" name="Freeform 27">
                <a:extLst>
                  <a:ext uri="{FF2B5EF4-FFF2-40B4-BE49-F238E27FC236}">
                    <a16:creationId xmlns:a16="http://schemas.microsoft.com/office/drawing/2014/main" id="{221E0D1D-521B-4863-A414-C46F1B7095FA}"/>
                  </a:ext>
                </a:extLst>
              </p:cNvPr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5204357" y="4299272"/>
                <a:ext cx="170315" cy="212676"/>
              </a:xfrm>
              <a:custGeom>
                <a:avLst/>
                <a:gdLst>
                  <a:gd name="T0" fmla="*/ 3 w 113"/>
                  <a:gd name="T1" fmla="*/ 88 h 138"/>
                  <a:gd name="T2" fmla="*/ 24 w 113"/>
                  <a:gd name="T3" fmla="*/ 94 h 138"/>
                  <a:gd name="T4" fmla="*/ 37 w 113"/>
                  <a:gd name="T5" fmla="*/ 99 h 138"/>
                  <a:gd name="T6" fmla="*/ 51 w 113"/>
                  <a:gd name="T7" fmla="*/ 117 h 138"/>
                  <a:gd name="T8" fmla="*/ 81 w 113"/>
                  <a:gd name="T9" fmla="*/ 138 h 138"/>
                  <a:gd name="T10" fmla="*/ 99 w 113"/>
                  <a:gd name="T11" fmla="*/ 114 h 138"/>
                  <a:gd name="T12" fmla="*/ 105 w 113"/>
                  <a:gd name="T13" fmla="*/ 99 h 138"/>
                  <a:gd name="T14" fmla="*/ 105 w 113"/>
                  <a:gd name="T15" fmla="*/ 72 h 138"/>
                  <a:gd name="T16" fmla="*/ 105 w 113"/>
                  <a:gd name="T17" fmla="*/ 27 h 138"/>
                  <a:gd name="T18" fmla="*/ 106 w 113"/>
                  <a:gd name="T19" fmla="*/ 15 h 138"/>
                  <a:gd name="T20" fmla="*/ 60 w 113"/>
                  <a:gd name="T21" fmla="*/ 16 h 138"/>
                  <a:gd name="T22" fmla="*/ 34 w 113"/>
                  <a:gd name="T23" fmla="*/ 6 h 138"/>
                  <a:gd name="T24" fmla="*/ 12 w 113"/>
                  <a:gd name="T25" fmla="*/ 3 h 138"/>
                  <a:gd name="T26" fmla="*/ 13 w 113"/>
                  <a:gd name="T27" fmla="*/ 27 h 138"/>
                  <a:gd name="T28" fmla="*/ 18 w 113"/>
                  <a:gd name="T29" fmla="*/ 52 h 138"/>
                  <a:gd name="T30" fmla="*/ 3 w 113"/>
                  <a:gd name="T31" fmla="*/ 66 h 138"/>
                  <a:gd name="T32" fmla="*/ 3 w 113"/>
                  <a:gd name="T33" fmla="*/ 8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13" h="138">
                    <a:moveTo>
                      <a:pt x="3" y="88"/>
                    </a:moveTo>
                    <a:cubicBezTo>
                      <a:pt x="10" y="90"/>
                      <a:pt x="17" y="93"/>
                      <a:pt x="24" y="94"/>
                    </a:cubicBezTo>
                    <a:cubicBezTo>
                      <a:pt x="28" y="96"/>
                      <a:pt x="33" y="97"/>
                      <a:pt x="37" y="99"/>
                    </a:cubicBezTo>
                    <a:cubicBezTo>
                      <a:pt x="40" y="106"/>
                      <a:pt x="44" y="115"/>
                      <a:pt x="51" y="117"/>
                    </a:cubicBezTo>
                    <a:cubicBezTo>
                      <a:pt x="58" y="123"/>
                      <a:pt x="73" y="138"/>
                      <a:pt x="81" y="138"/>
                    </a:cubicBezTo>
                    <a:cubicBezTo>
                      <a:pt x="91" y="135"/>
                      <a:pt x="87" y="116"/>
                      <a:pt x="99" y="114"/>
                    </a:cubicBezTo>
                    <a:cubicBezTo>
                      <a:pt x="100" y="108"/>
                      <a:pt x="101" y="104"/>
                      <a:pt x="105" y="99"/>
                    </a:cubicBezTo>
                    <a:cubicBezTo>
                      <a:pt x="106" y="90"/>
                      <a:pt x="104" y="81"/>
                      <a:pt x="105" y="72"/>
                    </a:cubicBezTo>
                    <a:cubicBezTo>
                      <a:pt x="107" y="60"/>
                      <a:pt x="105" y="36"/>
                      <a:pt x="105" y="27"/>
                    </a:cubicBezTo>
                    <a:cubicBezTo>
                      <a:pt x="105" y="18"/>
                      <a:pt x="113" y="17"/>
                      <a:pt x="106" y="15"/>
                    </a:cubicBezTo>
                    <a:cubicBezTo>
                      <a:pt x="94" y="16"/>
                      <a:pt x="72" y="17"/>
                      <a:pt x="60" y="16"/>
                    </a:cubicBezTo>
                    <a:cubicBezTo>
                      <a:pt x="49" y="7"/>
                      <a:pt x="49" y="7"/>
                      <a:pt x="34" y="6"/>
                    </a:cubicBezTo>
                    <a:cubicBezTo>
                      <a:pt x="28" y="5"/>
                      <a:pt x="15" y="0"/>
                      <a:pt x="12" y="3"/>
                    </a:cubicBezTo>
                    <a:cubicBezTo>
                      <a:pt x="9" y="6"/>
                      <a:pt x="12" y="19"/>
                      <a:pt x="13" y="27"/>
                    </a:cubicBezTo>
                    <a:cubicBezTo>
                      <a:pt x="14" y="34"/>
                      <a:pt x="20" y="46"/>
                      <a:pt x="18" y="52"/>
                    </a:cubicBezTo>
                    <a:cubicBezTo>
                      <a:pt x="16" y="58"/>
                      <a:pt x="5" y="60"/>
                      <a:pt x="3" y="66"/>
                    </a:cubicBezTo>
                    <a:cubicBezTo>
                      <a:pt x="0" y="75"/>
                      <a:pt x="3" y="78"/>
                      <a:pt x="3" y="8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0" name="Freeform 28">
                <a:extLst>
                  <a:ext uri="{FF2B5EF4-FFF2-40B4-BE49-F238E27FC236}">
                    <a16:creationId xmlns:a16="http://schemas.microsoft.com/office/drawing/2014/main" id="{D70E31B1-39A9-4FF0-A622-BB061AC51935}"/>
                  </a:ext>
                </a:extLst>
              </p:cNvPr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4931854" y="4599792"/>
                <a:ext cx="272503" cy="226547"/>
              </a:xfrm>
              <a:custGeom>
                <a:avLst/>
                <a:gdLst>
                  <a:gd name="T0" fmla="*/ 61 w 181"/>
                  <a:gd name="T1" fmla="*/ 46 h 147"/>
                  <a:gd name="T2" fmla="*/ 80 w 181"/>
                  <a:gd name="T3" fmla="*/ 51 h 147"/>
                  <a:gd name="T4" fmla="*/ 95 w 181"/>
                  <a:gd name="T5" fmla="*/ 55 h 147"/>
                  <a:gd name="T6" fmla="*/ 110 w 181"/>
                  <a:gd name="T7" fmla="*/ 67 h 147"/>
                  <a:gd name="T8" fmla="*/ 103 w 181"/>
                  <a:gd name="T9" fmla="*/ 57 h 147"/>
                  <a:gd name="T10" fmla="*/ 100 w 181"/>
                  <a:gd name="T11" fmla="*/ 37 h 147"/>
                  <a:gd name="T12" fmla="*/ 103 w 181"/>
                  <a:gd name="T13" fmla="*/ 10 h 147"/>
                  <a:gd name="T14" fmla="*/ 113 w 181"/>
                  <a:gd name="T15" fmla="*/ 0 h 147"/>
                  <a:gd name="T16" fmla="*/ 139 w 181"/>
                  <a:gd name="T17" fmla="*/ 4 h 147"/>
                  <a:gd name="T18" fmla="*/ 172 w 181"/>
                  <a:gd name="T19" fmla="*/ 15 h 147"/>
                  <a:gd name="T20" fmla="*/ 169 w 181"/>
                  <a:gd name="T21" fmla="*/ 66 h 147"/>
                  <a:gd name="T22" fmla="*/ 152 w 181"/>
                  <a:gd name="T23" fmla="*/ 94 h 147"/>
                  <a:gd name="T24" fmla="*/ 137 w 181"/>
                  <a:gd name="T25" fmla="*/ 100 h 147"/>
                  <a:gd name="T26" fmla="*/ 107 w 181"/>
                  <a:gd name="T27" fmla="*/ 114 h 147"/>
                  <a:gd name="T28" fmla="*/ 88 w 181"/>
                  <a:gd name="T29" fmla="*/ 127 h 147"/>
                  <a:gd name="T30" fmla="*/ 80 w 181"/>
                  <a:gd name="T31" fmla="*/ 142 h 147"/>
                  <a:gd name="T32" fmla="*/ 52 w 181"/>
                  <a:gd name="T33" fmla="*/ 147 h 147"/>
                  <a:gd name="T34" fmla="*/ 17 w 181"/>
                  <a:gd name="T35" fmla="*/ 141 h 147"/>
                  <a:gd name="T36" fmla="*/ 8 w 181"/>
                  <a:gd name="T37" fmla="*/ 129 h 147"/>
                  <a:gd name="T38" fmla="*/ 4 w 181"/>
                  <a:gd name="T39" fmla="*/ 112 h 147"/>
                  <a:gd name="T40" fmla="*/ 4 w 181"/>
                  <a:gd name="T41" fmla="*/ 91 h 147"/>
                  <a:gd name="T42" fmla="*/ 7 w 181"/>
                  <a:gd name="T43" fmla="*/ 70 h 147"/>
                  <a:gd name="T44" fmla="*/ 29 w 181"/>
                  <a:gd name="T45" fmla="*/ 66 h 147"/>
                  <a:gd name="T46" fmla="*/ 40 w 181"/>
                  <a:gd name="T47" fmla="*/ 55 h 147"/>
                  <a:gd name="T48" fmla="*/ 38 w 181"/>
                  <a:gd name="T49" fmla="*/ 43 h 147"/>
                  <a:gd name="T50" fmla="*/ 35 w 181"/>
                  <a:gd name="T51" fmla="*/ 42 h 147"/>
                  <a:gd name="T52" fmla="*/ 61 w 181"/>
                  <a:gd name="T53" fmla="*/ 46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81" h="147">
                    <a:moveTo>
                      <a:pt x="61" y="46"/>
                    </a:moveTo>
                    <a:cubicBezTo>
                      <a:pt x="68" y="48"/>
                      <a:pt x="74" y="50"/>
                      <a:pt x="80" y="51"/>
                    </a:cubicBezTo>
                    <a:cubicBezTo>
                      <a:pt x="85" y="52"/>
                      <a:pt x="90" y="54"/>
                      <a:pt x="95" y="55"/>
                    </a:cubicBezTo>
                    <a:cubicBezTo>
                      <a:pt x="100" y="58"/>
                      <a:pt x="109" y="67"/>
                      <a:pt x="110" y="67"/>
                    </a:cubicBezTo>
                    <a:cubicBezTo>
                      <a:pt x="107" y="64"/>
                      <a:pt x="105" y="62"/>
                      <a:pt x="103" y="57"/>
                    </a:cubicBezTo>
                    <a:cubicBezTo>
                      <a:pt x="101" y="52"/>
                      <a:pt x="100" y="45"/>
                      <a:pt x="100" y="37"/>
                    </a:cubicBezTo>
                    <a:cubicBezTo>
                      <a:pt x="100" y="29"/>
                      <a:pt x="101" y="16"/>
                      <a:pt x="103" y="10"/>
                    </a:cubicBezTo>
                    <a:cubicBezTo>
                      <a:pt x="106" y="6"/>
                      <a:pt x="110" y="4"/>
                      <a:pt x="113" y="0"/>
                    </a:cubicBezTo>
                    <a:cubicBezTo>
                      <a:pt x="127" y="1"/>
                      <a:pt x="128" y="2"/>
                      <a:pt x="139" y="4"/>
                    </a:cubicBezTo>
                    <a:cubicBezTo>
                      <a:pt x="151" y="16"/>
                      <a:pt x="149" y="13"/>
                      <a:pt x="172" y="15"/>
                    </a:cubicBezTo>
                    <a:cubicBezTo>
                      <a:pt x="173" y="28"/>
                      <a:pt x="181" y="57"/>
                      <a:pt x="169" y="66"/>
                    </a:cubicBezTo>
                    <a:cubicBezTo>
                      <a:pt x="167" y="84"/>
                      <a:pt x="169" y="91"/>
                      <a:pt x="152" y="94"/>
                    </a:cubicBezTo>
                    <a:cubicBezTo>
                      <a:pt x="147" y="97"/>
                      <a:pt x="143" y="99"/>
                      <a:pt x="137" y="100"/>
                    </a:cubicBezTo>
                    <a:cubicBezTo>
                      <a:pt x="127" y="105"/>
                      <a:pt x="117" y="109"/>
                      <a:pt x="107" y="114"/>
                    </a:cubicBezTo>
                    <a:cubicBezTo>
                      <a:pt x="100" y="123"/>
                      <a:pt x="100" y="126"/>
                      <a:pt x="88" y="127"/>
                    </a:cubicBezTo>
                    <a:cubicBezTo>
                      <a:pt x="85" y="134"/>
                      <a:pt x="89" y="140"/>
                      <a:pt x="80" y="142"/>
                    </a:cubicBezTo>
                    <a:cubicBezTo>
                      <a:pt x="71" y="146"/>
                      <a:pt x="61" y="143"/>
                      <a:pt x="52" y="147"/>
                    </a:cubicBezTo>
                    <a:cubicBezTo>
                      <a:pt x="40" y="145"/>
                      <a:pt x="27" y="147"/>
                      <a:pt x="17" y="141"/>
                    </a:cubicBezTo>
                    <a:cubicBezTo>
                      <a:pt x="14" y="136"/>
                      <a:pt x="10" y="134"/>
                      <a:pt x="8" y="129"/>
                    </a:cubicBezTo>
                    <a:cubicBezTo>
                      <a:pt x="7" y="123"/>
                      <a:pt x="5" y="118"/>
                      <a:pt x="4" y="112"/>
                    </a:cubicBezTo>
                    <a:cubicBezTo>
                      <a:pt x="3" y="106"/>
                      <a:pt x="0" y="99"/>
                      <a:pt x="4" y="91"/>
                    </a:cubicBezTo>
                    <a:cubicBezTo>
                      <a:pt x="5" y="84"/>
                      <a:pt x="3" y="74"/>
                      <a:pt x="7" y="70"/>
                    </a:cubicBezTo>
                    <a:cubicBezTo>
                      <a:pt x="11" y="66"/>
                      <a:pt x="24" y="68"/>
                      <a:pt x="29" y="66"/>
                    </a:cubicBezTo>
                    <a:cubicBezTo>
                      <a:pt x="33" y="63"/>
                      <a:pt x="39" y="59"/>
                      <a:pt x="40" y="55"/>
                    </a:cubicBezTo>
                    <a:cubicBezTo>
                      <a:pt x="41" y="51"/>
                      <a:pt x="39" y="45"/>
                      <a:pt x="38" y="43"/>
                    </a:cubicBezTo>
                    <a:cubicBezTo>
                      <a:pt x="36" y="34"/>
                      <a:pt x="32" y="50"/>
                      <a:pt x="35" y="42"/>
                    </a:cubicBezTo>
                    <a:cubicBezTo>
                      <a:pt x="39" y="41"/>
                      <a:pt x="56" y="45"/>
                      <a:pt x="61" y="4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1" name="Freeform 29">
                <a:extLst>
                  <a:ext uri="{FF2B5EF4-FFF2-40B4-BE49-F238E27FC236}">
                    <a16:creationId xmlns:a16="http://schemas.microsoft.com/office/drawing/2014/main" id="{348CCA4E-E76C-40EB-98ED-28D3468E8F08}"/>
                  </a:ext>
                </a:extLst>
              </p:cNvPr>
              <p:cNvSpPr>
                <a:spLocks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5356900" y="4131288"/>
                <a:ext cx="245846" cy="315932"/>
              </a:xfrm>
              <a:custGeom>
                <a:avLst/>
                <a:gdLst>
                  <a:gd name="T0" fmla="*/ 7 w 163"/>
                  <a:gd name="T1" fmla="*/ 205 h 205"/>
                  <a:gd name="T2" fmla="*/ 35 w 163"/>
                  <a:gd name="T3" fmla="*/ 179 h 205"/>
                  <a:gd name="T4" fmla="*/ 55 w 163"/>
                  <a:gd name="T5" fmla="*/ 161 h 205"/>
                  <a:gd name="T6" fmla="*/ 75 w 163"/>
                  <a:gd name="T7" fmla="*/ 145 h 205"/>
                  <a:gd name="T8" fmla="*/ 87 w 163"/>
                  <a:gd name="T9" fmla="*/ 137 h 205"/>
                  <a:gd name="T10" fmla="*/ 119 w 163"/>
                  <a:gd name="T11" fmla="*/ 97 h 205"/>
                  <a:gd name="T12" fmla="*/ 127 w 163"/>
                  <a:gd name="T13" fmla="*/ 73 h 205"/>
                  <a:gd name="T14" fmla="*/ 147 w 163"/>
                  <a:gd name="T15" fmla="*/ 43 h 205"/>
                  <a:gd name="T16" fmla="*/ 159 w 163"/>
                  <a:gd name="T17" fmla="*/ 27 h 205"/>
                  <a:gd name="T18" fmla="*/ 157 w 163"/>
                  <a:gd name="T19" fmla="*/ 5 h 205"/>
                  <a:gd name="T20" fmla="*/ 133 w 163"/>
                  <a:gd name="T21" fmla="*/ 7 h 205"/>
                  <a:gd name="T22" fmla="*/ 85 w 163"/>
                  <a:gd name="T23" fmla="*/ 15 h 205"/>
                  <a:gd name="T24" fmla="*/ 39 w 163"/>
                  <a:gd name="T25" fmla="*/ 3 h 205"/>
                  <a:gd name="T26" fmla="*/ 27 w 163"/>
                  <a:gd name="T27" fmla="*/ 9 h 205"/>
                  <a:gd name="T28" fmla="*/ 41 w 163"/>
                  <a:gd name="T29" fmla="*/ 23 h 205"/>
                  <a:gd name="T30" fmla="*/ 67 w 163"/>
                  <a:gd name="T31" fmla="*/ 47 h 205"/>
                  <a:gd name="T32" fmla="*/ 85 w 163"/>
                  <a:gd name="T33" fmla="*/ 53 h 205"/>
                  <a:gd name="T34" fmla="*/ 91 w 163"/>
                  <a:gd name="T35" fmla="*/ 55 h 205"/>
                  <a:gd name="T36" fmla="*/ 107 w 163"/>
                  <a:gd name="T37" fmla="*/ 69 h 205"/>
                  <a:gd name="T38" fmla="*/ 89 w 163"/>
                  <a:gd name="T39" fmla="*/ 81 h 205"/>
                  <a:gd name="T40" fmla="*/ 69 w 163"/>
                  <a:gd name="T41" fmla="*/ 101 h 205"/>
                  <a:gd name="T42" fmla="*/ 51 w 163"/>
                  <a:gd name="T43" fmla="*/ 107 h 205"/>
                  <a:gd name="T44" fmla="*/ 10 w 163"/>
                  <a:gd name="T45" fmla="*/ 122 h 205"/>
                  <a:gd name="T46" fmla="*/ 7 w 163"/>
                  <a:gd name="T47" fmla="*/ 205 h 20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3" h="205">
                    <a:moveTo>
                      <a:pt x="7" y="205"/>
                    </a:moveTo>
                    <a:cubicBezTo>
                      <a:pt x="14" y="198"/>
                      <a:pt x="27" y="182"/>
                      <a:pt x="35" y="179"/>
                    </a:cubicBezTo>
                    <a:cubicBezTo>
                      <a:pt x="40" y="172"/>
                      <a:pt x="48" y="166"/>
                      <a:pt x="55" y="161"/>
                    </a:cubicBezTo>
                    <a:cubicBezTo>
                      <a:pt x="58" y="152"/>
                      <a:pt x="67" y="150"/>
                      <a:pt x="75" y="145"/>
                    </a:cubicBezTo>
                    <a:cubicBezTo>
                      <a:pt x="79" y="142"/>
                      <a:pt x="87" y="137"/>
                      <a:pt x="87" y="137"/>
                    </a:cubicBezTo>
                    <a:cubicBezTo>
                      <a:pt x="96" y="123"/>
                      <a:pt x="109" y="112"/>
                      <a:pt x="119" y="97"/>
                    </a:cubicBezTo>
                    <a:cubicBezTo>
                      <a:pt x="124" y="90"/>
                      <a:pt x="122" y="80"/>
                      <a:pt x="127" y="73"/>
                    </a:cubicBezTo>
                    <a:cubicBezTo>
                      <a:pt x="134" y="63"/>
                      <a:pt x="138" y="52"/>
                      <a:pt x="147" y="43"/>
                    </a:cubicBezTo>
                    <a:cubicBezTo>
                      <a:pt x="150" y="35"/>
                      <a:pt x="155" y="34"/>
                      <a:pt x="159" y="27"/>
                    </a:cubicBezTo>
                    <a:cubicBezTo>
                      <a:pt x="158" y="20"/>
                      <a:pt x="163" y="9"/>
                      <a:pt x="157" y="5"/>
                    </a:cubicBezTo>
                    <a:cubicBezTo>
                      <a:pt x="151" y="0"/>
                      <a:pt x="141" y="6"/>
                      <a:pt x="133" y="7"/>
                    </a:cubicBezTo>
                    <a:cubicBezTo>
                      <a:pt x="115" y="10"/>
                      <a:pt x="107" y="13"/>
                      <a:pt x="85" y="15"/>
                    </a:cubicBezTo>
                    <a:cubicBezTo>
                      <a:pt x="53" y="36"/>
                      <a:pt x="57" y="9"/>
                      <a:pt x="39" y="3"/>
                    </a:cubicBezTo>
                    <a:cubicBezTo>
                      <a:pt x="36" y="4"/>
                      <a:pt x="28" y="6"/>
                      <a:pt x="27" y="9"/>
                    </a:cubicBezTo>
                    <a:cubicBezTo>
                      <a:pt x="25" y="15"/>
                      <a:pt x="41" y="23"/>
                      <a:pt x="41" y="23"/>
                    </a:cubicBezTo>
                    <a:cubicBezTo>
                      <a:pt x="48" y="34"/>
                      <a:pt x="55" y="42"/>
                      <a:pt x="67" y="47"/>
                    </a:cubicBezTo>
                    <a:cubicBezTo>
                      <a:pt x="73" y="50"/>
                      <a:pt x="79" y="51"/>
                      <a:pt x="85" y="53"/>
                    </a:cubicBezTo>
                    <a:cubicBezTo>
                      <a:pt x="87" y="54"/>
                      <a:pt x="91" y="55"/>
                      <a:pt x="91" y="55"/>
                    </a:cubicBezTo>
                    <a:cubicBezTo>
                      <a:pt x="94" y="65"/>
                      <a:pt x="101" y="60"/>
                      <a:pt x="107" y="69"/>
                    </a:cubicBezTo>
                    <a:cubicBezTo>
                      <a:pt x="99" y="72"/>
                      <a:pt x="96" y="77"/>
                      <a:pt x="89" y="81"/>
                    </a:cubicBezTo>
                    <a:cubicBezTo>
                      <a:pt x="84" y="88"/>
                      <a:pt x="76" y="96"/>
                      <a:pt x="69" y="101"/>
                    </a:cubicBezTo>
                    <a:cubicBezTo>
                      <a:pt x="63" y="106"/>
                      <a:pt x="60" y="104"/>
                      <a:pt x="51" y="107"/>
                    </a:cubicBezTo>
                    <a:cubicBezTo>
                      <a:pt x="41" y="110"/>
                      <a:pt x="17" y="106"/>
                      <a:pt x="10" y="122"/>
                    </a:cubicBezTo>
                    <a:cubicBezTo>
                      <a:pt x="0" y="139"/>
                      <a:pt x="4" y="195"/>
                      <a:pt x="7" y="20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2" name="Freeform 30">
                <a:extLst>
                  <a:ext uri="{FF2B5EF4-FFF2-40B4-BE49-F238E27FC236}">
                    <a16:creationId xmlns:a16="http://schemas.microsoft.com/office/drawing/2014/main" id="{3AA610B8-EB6D-43A5-91C2-0149D389C3E5}"/>
                  </a:ext>
                </a:extLst>
              </p:cNvPr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5115498" y="4308518"/>
                <a:ext cx="119961" cy="132537"/>
              </a:xfrm>
              <a:custGeom>
                <a:avLst/>
                <a:gdLst>
                  <a:gd name="T0" fmla="*/ 9 w 79"/>
                  <a:gd name="T1" fmla="*/ 13 h 86"/>
                  <a:gd name="T2" fmla="*/ 48 w 79"/>
                  <a:gd name="T3" fmla="*/ 6 h 86"/>
                  <a:gd name="T4" fmla="*/ 69 w 79"/>
                  <a:gd name="T5" fmla="*/ 1 h 86"/>
                  <a:gd name="T6" fmla="*/ 74 w 79"/>
                  <a:gd name="T7" fmla="*/ 25 h 86"/>
                  <a:gd name="T8" fmla="*/ 77 w 79"/>
                  <a:gd name="T9" fmla="*/ 46 h 86"/>
                  <a:gd name="T10" fmla="*/ 63 w 79"/>
                  <a:gd name="T11" fmla="*/ 60 h 86"/>
                  <a:gd name="T12" fmla="*/ 56 w 79"/>
                  <a:gd name="T13" fmla="*/ 81 h 86"/>
                  <a:gd name="T14" fmla="*/ 3 w 79"/>
                  <a:gd name="T15" fmla="*/ 78 h 86"/>
                  <a:gd name="T16" fmla="*/ 14 w 79"/>
                  <a:gd name="T17" fmla="*/ 40 h 86"/>
                  <a:gd name="T18" fmla="*/ 9 w 79"/>
                  <a:gd name="T19" fmla="*/ 13 h 8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9" h="86">
                    <a:moveTo>
                      <a:pt x="9" y="13"/>
                    </a:moveTo>
                    <a:cubicBezTo>
                      <a:pt x="21" y="4"/>
                      <a:pt x="27" y="7"/>
                      <a:pt x="48" y="6"/>
                    </a:cubicBezTo>
                    <a:cubicBezTo>
                      <a:pt x="54" y="3"/>
                      <a:pt x="62" y="0"/>
                      <a:pt x="69" y="1"/>
                    </a:cubicBezTo>
                    <a:cubicBezTo>
                      <a:pt x="73" y="8"/>
                      <a:pt x="70" y="18"/>
                      <a:pt x="74" y="25"/>
                    </a:cubicBezTo>
                    <a:cubicBezTo>
                      <a:pt x="75" y="32"/>
                      <a:pt x="79" y="41"/>
                      <a:pt x="77" y="46"/>
                    </a:cubicBezTo>
                    <a:cubicBezTo>
                      <a:pt x="75" y="52"/>
                      <a:pt x="66" y="54"/>
                      <a:pt x="63" y="60"/>
                    </a:cubicBezTo>
                    <a:cubicBezTo>
                      <a:pt x="59" y="67"/>
                      <a:pt x="63" y="79"/>
                      <a:pt x="56" y="81"/>
                    </a:cubicBezTo>
                    <a:cubicBezTo>
                      <a:pt x="39" y="86"/>
                      <a:pt x="3" y="78"/>
                      <a:pt x="3" y="78"/>
                    </a:cubicBezTo>
                    <a:cubicBezTo>
                      <a:pt x="0" y="64"/>
                      <a:pt x="2" y="49"/>
                      <a:pt x="14" y="40"/>
                    </a:cubicBezTo>
                    <a:cubicBezTo>
                      <a:pt x="18" y="31"/>
                      <a:pt x="14" y="20"/>
                      <a:pt x="9" y="1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3" name="Freeform 32">
                <a:extLst>
                  <a:ext uri="{FF2B5EF4-FFF2-40B4-BE49-F238E27FC236}">
                    <a16:creationId xmlns:a16="http://schemas.microsoft.com/office/drawing/2014/main" id="{A099C61F-97C6-4A9E-8955-F5A3F0E92A85}"/>
                  </a:ext>
                </a:extLst>
              </p:cNvPr>
              <p:cNvSpPr>
                <a:spLocks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56453" y="3852343"/>
                <a:ext cx="356921" cy="282028"/>
              </a:xfrm>
              <a:custGeom>
                <a:avLst/>
                <a:gdLst>
                  <a:gd name="T0" fmla="*/ 219 w 237"/>
                  <a:gd name="T1" fmla="*/ 20 h 183"/>
                  <a:gd name="T2" fmla="*/ 201 w 237"/>
                  <a:gd name="T3" fmla="*/ 8 h 183"/>
                  <a:gd name="T4" fmla="*/ 183 w 237"/>
                  <a:gd name="T5" fmla="*/ 3 h 183"/>
                  <a:gd name="T6" fmla="*/ 156 w 237"/>
                  <a:gd name="T7" fmla="*/ 14 h 183"/>
                  <a:gd name="T8" fmla="*/ 134 w 237"/>
                  <a:gd name="T9" fmla="*/ 24 h 183"/>
                  <a:gd name="T10" fmla="*/ 120 w 237"/>
                  <a:gd name="T11" fmla="*/ 33 h 183"/>
                  <a:gd name="T12" fmla="*/ 111 w 237"/>
                  <a:gd name="T13" fmla="*/ 45 h 183"/>
                  <a:gd name="T14" fmla="*/ 102 w 237"/>
                  <a:gd name="T15" fmla="*/ 53 h 183"/>
                  <a:gd name="T16" fmla="*/ 77 w 237"/>
                  <a:gd name="T17" fmla="*/ 72 h 183"/>
                  <a:gd name="T18" fmla="*/ 57 w 237"/>
                  <a:gd name="T19" fmla="*/ 69 h 183"/>
                  <a:gd name="T20" fmla="*/ 59 w 237"/>
                  <a:gd name="T21" fmla="*/ 80 h 183"/>
                  <a:gd name="T22" fmla="*/ 60 w 237"/>
                  <a:gd name="T23" fmla="*/ 119 h 183"/>
                  <a:gd name="T24" fmla="*/ 44 w 237"/>
                  <a:gd name="T25" fmla="*/ 128 h 183"/>
                  <a:gd name="T26" fmla="*/ 26 w 237"/>
                  <a:gd name="T27" fmla="*/ 128 h 183"/>
                  <a:gd name="T28" fmla="*/ 0 w 237"/>
                  <a:gd name="T29" fmla="*/ 137 h 183"/>
                  <a:gd name="T30" fmla="*/ 6 w 237"/>
                  <a:gd name="T31" fmla="*/ 143 h 183"/>
                  <a:gd name="T32" fmla="*/ 11 w 237"/>
                  <a:gd name="T33" fmla="*/ 159 h 183"/>
                  <a:gd name="T34" fmla="*/ 29 w 237"/>
                  <a:gd name="T35" fmla="*/ 174 h 183"/>
                  <a:gd name="T36" fmla="*/ 47 w 237"/>
                  <a:gd name="T37" fmla="*/ 179 h 183"/>
                  <a:gd name="T38" fmla="*/ 51 w 237"/>
                  <a:gd name="T39" fmla="*/ 182 h 183"/>
                  <a:gd name="T40" fmla="*/ 54 w 237"/>
                  <a:gd name="T41" fmla="*/ 171 h 183"/>
                  <a:gd name="T42" fmla="*/ 69 w 237"/>
                  <a:gd name="T43" fmla="*/ 159 h 183"/>
                  <a:gd name="T44" fmla="*/ 89 w 237"/>
                  <a:gd name="T45" fmla="*/ 158 h 183"/>
                  <a:gd name="T46" fmla="*/ 128 w 237"/>
                  <a:gd name="T47" fmla="*/ 167 h 183"/>
                  <a:gd name="T48" fmla="*/ 146 w 237"/>
                  <a:gd name="T49" fmla="*/ 162 h 183"/>
                  <a:gd name="T50" fmla="*/ 162 w 237"/>
                  <a:gd name="T51" fmla="*/ 164 h 183"/>
                  <a:gd name="T52" fmla="*/ 173 w 237"/>
                  <a:gd name="T53" fmla="*/ 159 h 183"/>
                  <a:gd name="T54" fmla="*/ 177 w 237"/>
                  <a:gd name="T55" fmla="*/ 161 h 183"/>
                  <a:gd name="T56" fmla="*/ 192 w 237"/>
                  <a:gd name="T57" fmla="*/ 164 h 183"/>
                  <a:gd name="T58" fmla="*/ 200 w 237"/>
                  <a:gd name="T59" fmla="*/ 143 h 183"/>
                  <a:gd name="T60" fmla="*/ 209 w 237"/>
                  <a:gd name="T61" fmla="*/ 132 h 183"/>
                  <a:gd name="T62" fmla="*/ 215 w 237"/>
                  <a:gd name="T63" fmla="*/ 122 h 183"/>
                  <a:gd name="T64" fmla="*/ 224 w 237"/>
                  <a:gd name="T65" fmla="*/ 116 h 183"/>
                  <a:gd name="T66" fmla="*/ 230 w 237"/>
                  <a:gd name="T67" fmla="*/ 98 h 183"/>
                  <a:gd name="T68" fmla="*/ 237 w 237"/>
                  <a:gd name="T69" fmla="*/ 78 h 183"/>
                  <a:gd name="T70" fmla="*/ 233 w 237"/>
                  <a:gd name="T71" fmla="*/ 51 h 183"/>
                  <a:gd name="T72" fmla="*/ 222 w 237"/>
                  <a:gd name="T73" fmla="*/ 26 h 183"/>
                  <a:gd name="T74" fmla="*/ 219 w 237"/>
                  <a:gd name="T75" fmla="*/ 20 h 1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237" h="183">
                    <a:moveTo>
                      <a:pt x="219" y="20"/>
                    </a:moveTo>
                    <a:cubicBezTo>
                      <a:pt x="215" y="17"/>
                      <a:pt x="207" y="11"/>
                      <a:pt x="201" y="8"/>
                    </a:cubicBezTo>
                    <a:cubicBezTo>
                      <a:pt x="195" y="5"/>
                      <a:pt x="190" y="2"/>
                      <a:pt x="183" y="3"/>
                    </a:cubicBezTo>
                    <a:cubicBezTo>
                      <a:pt x="175" y="0"/>
                      <a:pt x="156" y="14"/>
                      <a:pt x="156" y="14"/>
                    </a:cubicBezTo>
                    <a:cubicBezTo>
                      <a:pt x="148" y="17"/>
                      <a:pt x="140" y="21"/>
                      <a:pt x="134" y="24"/>
                    </a:cubicBezTo>
                    <a:cubicBezTo>
                      <a:pt x="128" y="27"/>
                      <a:pt x="124" y="30"/>
                      <a:pt x="120" y="33"/>
                    </a:cubicBezTo>
                    <a:cubicBezTo>
                      <a:pt x="116" y="39"/>
                      <a:pt x="119" y="43"/>
                      <a:pt x="111" y="45"/>
                    </a:cubicBezTo>
                    <a:cubicBezTo>
                      <a:pt x="109" y="53"/>
                      <a:pt x="111" y="52"/>
                      <a:pt x="102" y="53"/>
                    </a:cubicBezTo>
                    <a:cubicBezTo>
                      <a:pt x="96" y="56"/>
                      <a:pt x="84" y="69"/>
                      <a:pt x="77" y="72"/>
                    </a:cubicBezTo>
                    <a:cubicBezTo>
                      <a:pt x="70" y="75"/>
                      <a:pt x="60" y="68"/>
                      <a:pt x="57" y="69"/>
                    </a:cubicBezTo>
                    <a:cubicBezTo>
                      <a:pt x="54" y="71"/>
                      <a:pt x="59" y="72"/>
                      <a:pt x="59" y="80"/>
                    </a:cubicBezTo>
                    <a:cubicBezTo>
                      <a:pt x="59" y="88"/>
                      <a:pt x="63" y="111"/>
                      <a:pt x="60" y="119"/>
                    </a:cubicBezTo>
                    <a:cubicBezTo>
                      <a:pt x="57" y="127"/>
                      <a:pt x="50" y="127"/>
                      <a:pt x="44" y="128"/>
                    </a:cubicBezTo>
                    <a:cubicBezTo>
                      <a:pt x="38" y="139"/>
                      <a:pt x="33" y="127"/>
                      <a:pt x="26" y="128"/>
                    </a:cubicBezTo>
                    <a:cubicBezTo>
                      <a:pt x="19" y="129"/>
                      <a:pt x="3" y="135"/>
                      <a:pt x="0" y="137"/>
                    </a:cubicBezTo>
                    <a:cubicBezTo>
                      <a:pt x="1" y="140"/>
                      <a:pt x="5" y="140"/>
                      <a:pt x="6" y="143"/>
                    </a:cubicBezTo>
                    <a:cubicBezTo>
                      <a:pt x="8" y="146"/>
                      <a:pt x="7" y="154"/>
                      <a:pt x="11" y="159"/>
                    </a:cubicBezTo>
                    <a:cubicBezTo>
                      <a:pt x="15" y="164"/>
                      <a:pt x="23" y="171"/>
                      <a:pt x="29" y="174"/>
                    </a:cubicBezTo>
                    <a:cubicBezTo>
                      <a:pt x="35" y="177"/>
                      <a:pt x="41" y="177"/>
                      <a:pt x="47" y="179"/>
                    </a:cubicBezTo>
                    <a:cubicBezTo>
                      <a:pt x="48" y="180"/>
                      <a:pt x="49" y="183"/>
                      <a:pt x="51" y="182"/>
                    </a:cubicBezTo>
                    <a:cubicBezTo>
                      <a:pt x="53" y="181"/>
                      <a:pt x="54" y="172"/>
                      <a:pt x="54" y="171"/>
                    </a:cubicBezTo>
                    <a:cubicBezTo>
                      <a:pt x="56" y="165"/>
                      <a:pt x="63" y="160"/>
                      <a:pt x="69" y="159"/>
                    </a:cubicBezTo>
                    <a:cubicBezTo>
                      <a:pt x="76" y="157"/>
                      <a:pt x="82" y="159"/>
                      <a:pt x="89" y="158"/>
                    </a:cubicBezTo>
                    <a:cubicBezTo>
                      <a:pt x="102" y="160"/>
                      <a:pt x="114" y="166"/>
                      <a:pt x="128" y="167"/>
                    </a:cubicBezTo>
                    <a:cubicBezTo>
                      <a:pt x="137" y="169"/>
                      <a:pt x="139" y="162"/>
                      <a:pt x="146" y="162"/>
                    </a:cubicBezTo>
                    <a:cubicBezTo>
                      <a:pt x="152" y="162"/>
                      <a:pt x="158" y="164"/>
                      <a:pt x="162" y="164"/>
                    </a:cubicBezTo>
                    <a:cubicBezTo>
                      <a:pt x="166" y="164"/>
                      <a:pt x="171" y="159"/>
                      <a:pt x="173" y="159"/>
                    </a:cubicBezTo>
                    <a:cubicBezTo>
                      <a:pt x="174" y="158"/>
                      <a:pt x="175" y="161"/>
                      <a:pt x="177" y="161"/>
                    </a:cubicBezTo>
                    <a:cubicBezTo>
                      <a:pt x="183" y="160"/>
                      <a:pt x="187" y="167"/>
                      <a:pt x="192" y="164"/>
                    </a:cubicBezTo>
                    <a:cubicBezTo>
                      <a:pt x="197" y="161"/>
                      <a:pt x="197" y="147"/>
                      <a:pt x="200" y="143"/>
                    </a:cubicBezTo>
                    <a:cubicBezTo>
                      <a:pt x="202" y="135"/>
                      <a:pt x="205" y="139"/>
                      <a:pt x="209" y="132"/>
                    </a:cubicBezTo>
                    <a:cubicBezTo>
                      <a:pt x="211" y="128"/>
                      <a:pt x="213" y="125"/>
                      <a:pt x="215" y="122"/>
                    </a:cubicBezTo>
                    <a:cubicBezTo>
                      <a:pt x="217" y="119"/>
                      <a:pt x="221" y="120"/>
                      <a:pt x="224" y="116"/>
                    </a:cubicBezTo>
                    <a:cubicBezTo>
                      <a:pt x="225" y="110"/>
                      <a:pt x="227" y="104"/>
                      <a:pt x="230" y="98"/>
                    </a:cubicBezTo>
                    <a:cubicBezTo>
                      <a:pt x="231" y="92"/>
                      <a:pt x="237" y="86"/>
                      <a:pt x="237" y="78"/>
                    </a:cubicBezTo>
                    <a:cubicBezTo>
                      <a:pt x="237" y="70"/>
                      <a:pt x="235" y="60"/>
                      <a:pt x="233" y="51"/>
                    </a:cubicBezTo>
                    <a:cubicBezTo>
                      <a:pt x="231" y="42"/>
                      <a:pt x="224" y="31"/>
                      <a:pt x="222" y="26"/>
                    </a:cubicBezTo>
                    <a:cubicBezTo>
                      <a:pt x="221" y="21"/>
                      <a:pt x="205" y="6"/>
                      <a:pt x="219" y="2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4" name="Freeform 33">
                <a:extLst>
                  <a:ext uri="{FF2B5EF4-FFF2-40B4-BE49-F238E27FC236}">
                    <a16:creationId xmlns:a16="http://schemas.microsoft.com/office/drawing/2014/main" id="{D2A2EB68-5DF8-46DA-9DE0-9CD6F122B742}"/>
                  </a:ext>
                </a:extLst>
              </p:cNvPr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57935" y="4120500"/>
                <a:ext cx="82936" cy="151031"/>
              </a:xfrm>
              <a:custGeom>
                <a:avLst/>
                <a:gdLst>
                  <a:gd name="T0" fmla="*/ 32 w 55"/>
                  <a:gd name="T1" fmla="*/ 4 h 98"/>
                  <a:gd name="T2" fmla="*/ 26 w 55"/>
                  <a:gd name="T3" fmla="*/ 12 h 98"/>
                  <a:gd name="T4" fmla="*/ 18 w 55"/>
                  <a:gd name="T5" fmla="*/ 18 h 98"/>
                  <a:gd name="T6" fmla="*/ 18 w 55"/>
                  <a:gd name="T7" fmla="*/ 34 h 98"/>
                  <a:gd name="T8" fmla="*/ 34 w 55"/>
                  <a:gd name="T9" fmla="*/ 92 h 98"/>
                  <a:gd name="T10" fmla="*/ 52 w 55"/>
                  <a:gd name="T11" fmla="*/ 36 h 98"/>
                  <a:gd name="T12" fmla="*/ 50 w 55"/>
                  <a:gd name="T13" fmla="*/ 18 h 98"/>
                  <a:gd name="T14" fmla="*/ 43 w 55"/>
                  <a:gd name="T15" fmla="*/ 7 h 98"/>
                  <a:gd name="T16" fmla="*/ 32 w 55"/>
                  <a:gd name="T17" fmla="*/ 4 h 9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5" h="98">
                    <a:moveTo>
                      <a:pt x="32" y="4"/>
                    </a:moveTo>
                    <a:cubicBezTo>
                      <a:pt x="28" y="0"/>
                      <a:pt x="28" y="10"/>
                      <a:pt x="26" y="12"/>
                    </a:cubicBezTo>
                    <a:cubicBezTo>
                      <a:pt x="24" y="14"/>
                      <a:pt x="19" y="14"/>
                      <a:pt x="18" y="18"/>
                    </a:cubicBezTo>
                    <a:cubicBezTo>
                      <a:pt x="13" y="26"/>
                      <a:pt x="9" y="28"/>
                      <a:pt x="18" y="34"/>
                    </a:cubicBezTo>
                    <a:cubicBezTo>
                      <a:pt x="27" y="60"/>
                      <a:pt x="0" y="98"/>
                      <a:pt x="34" y="92"/>
                    </a:cubicBezTo>
                    <a:cubicBezTo>
                      <a:pt x="45" y="60"/>
                      <a:pt x="34" y="63"/>
                      <a:pt x="52" y="36"/>
                    </a:cubicBezTo>
                    <a:cubicBezTo>
                      <a:pt x="55" y="24"/>
                      <a:pt x="51" y="23"/>
                      <a:pt x="50" y="18"/>
                    </a:cubicBezTo>
                    <a:cubicBezTo>
                      <a:pt x="49" y="13"/>
                      <a:pt x="46" y="9"/>
                      <a:pt x="43" y="7"/>
                    </a:cubicBezTo>
                    <a:cubicBezTo>
                      <a:pt x="40" y="5"/>
                      <a:pt x="35" y="3"/>
                      <a:pt x="32" y="4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5" name="Freeform 34">
                <a:extLst>
                  <a:ext uri="{FF2B5EF4-FFF2-40B4-BE49-F238E27FC236}">
                    <a16:creationId xmlns:a16="http://schemas.microsoft.com/office/drawing/2014/main" id="{7D7C8119-2D7D-41CF-9524-9BA8EE882356}"/>
                  </a:ext>
                </a:extLst>
              </p:cNvPr>
              <p:cNvSpPr>
                <a:spLocks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46087" y="4151323"/>
                <a:ext cx="42949" cy="120208"/>
              </a:xfrm>
              <a:custGeom>
                <a:avLst/>
                <a:gdLst>
                  <a:gd name="T0" fmla="*/ 18 w 28"/>
                  <a:gd name="T1" fmla="*/ 0 h 78"/>
                  <a:gd name="T2" fmla="*/ 0 w 28"/>
                  <a:gd name="T3" fmla="*/ 21 h 78"/>
                  <a:gd name="T4" fmla="*/ 10 w 28"/>
                  <a:gd name="T5" fmla="*/ 50 h 78"/>
                  <a:gd name="T6" fmla="*/ 10 w 28"/>
                  <a:gd name="T7" fmla="*/ 63 h 78"/>
                  <a:gd name="T8" fmla="*/ 16 w 28"/>
                  <a:gd name="T9" fmla="*/ 76 h 78"/>
                  <a:gd name="T10" fmla="*/ 24 w 28"/>
                  <a:gd name="T11" fmla="*/ 74 h 78"/>
                  <a:gd name="T12" fmla="*/ 27 w 28"/>
                  <a:gd name="T13" fmla="*/ 24 h 78"/>
                  <a:gd name="T14" fmla="*/ 18 w 28"/>
                  <a:gd name="T15" fmla="*/ 0 h 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28" h="78">
                    <a:moveTo>
                      <a:pt x="18" y="0"/>
                    </a:moveTo>
                    <a:cubicBezTo>
                      <a:pt x="7" y="4"/>
                      <a:pt x="3" y="11"/>
                      <a:pt x="0" y="21"/>
                    </a:cubicBezTo>
                    <a:cubicBezTo>
                      <a:pt x="1" y="30"/>
                      <a:pt x="8" y="41"/>
                      <a:pt x="10" y="50"/>
                    </a:cubicBezTo>
                    <a:cubicBezTo>
                      <a:pt x="11" y="54"/>
                      <a:pt x="10" y="63"/>
                      <a:pt x="10" y="63"/>
                    </a:cubicBezTo>
                    <a:cubicBezTo>
                      <a:pt x="11" y="68"/>
                      <a:pt x="13" y="72"/>
                      <a:pt x="16" y="76"/>
                    </a:cubicBezTo>
                    <a:cubicBezTo>
                      <a:pt x="18" y="78"/>
                      <a:pt x="24" y="77"/>
                      <a:pt x="24" y="74"/>
                    </a:cubicBezTo>
                    <a:cubicBezTo>
                      <a:pt x="24" y="65"/>
                      <a:pt x="28" y="36"/>
                      <a:pt x="27" y="24"/>
                    </a:cubicBezTo>
                    <a:cubicBezTo>
                      <a:pt x="26" y="12"/>
                      <a:pt x="20" y="5"/>
                      <a:pt x="18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6" name="Freeform 35">
                <a:extLst>
                  <a:ext uri="{FF2B5EF4-FFF2-40B4-BE49-F238E27FC236}">
                    <a16:creationId xmlns:a16="http://schemas.microsoft.com/office/drawing/2014/main" id="{82626F3E-C2EE-40D0-A9B3-849A8078C035}"/>
                  </a:ext>
                </a:extLst>
              </p:cNvPr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145444" y="4157487"/>
                <a:ext cx="71088" cy="83221"/>
              </a:xfrm>
              <a:custGeom>
                <a:avLst/>
                <a:gdLst>
                  <a:gd name="T0" fmla="*/ 16 w 47"/>
                  <a:gd name="T1" fmla="*/ 18 h 54"/>
                  <a:gd name="T2" fmla="*/ 12 w 47"/>
                  <a:gd name="T3" fmla="*/ 50 h 54"/>
                  <a:gd name="T4" fmla="*/ 26 w 47"/>
                  <a:gd name="T5" fmla="*/ 54 h 54"/>
                  <a:gd name="T6" fmla="*/ 44 w 47"/>
                  <a:gd name="T7" fmla="*/ 46 h 54"/>
                  <a:gd name="T8" fmla="*/ 44 w 47"/>
                  <a:gd name="T9" fmla="*/ 30 h 54"/>
                  <a:gd name="T10" fmla="*/ 39 w 47"/>
                  <a:gd name="T11" fmla="*/ 9 h 54"/>
                  <a:gd name="T12" fmla="*/ 16 w 47"/>
                  <a:gd name="T13" fmla="*/ 18 h 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7" h="54">
                    <a:moveTo>
                      <a:pt x="16" y="18"/>
                    </a:moveTo>
                    <a:cubicBezTo>
                      <a:pt x="3" y="22"/>
                      <a:pt x="0" y="42"/>
                      <a:pt x="12" y="50"/>
                    </a:cubicBezTo>
                    <a:cubicBezTo>
                      <a:pt x="16" y="53"/>
                      <a:pt x="21" y="52"/>
                      <a:pt x="26" y="54"/>
                    </a:cubicBezTo>
                    <a:cubicBezTo>
                      <a:pt x="40" y="49"/>
                      <a:pt x="34" y="52"/>
                      <a:pt x="44" y="46"/>
                    </a:cubicBezTo>
                    <a:cubicBezTo>
                      <a:pt x="47" y="42"/>
                      <a:pt x="45" y="36"/>
                      <a:pt x="44" y="30"/>
                    </a:cubicBezTo>
                    <a:cubicBezTo>
                      <a:pt x="43" y="24"/>
                      <a:pt x="44" y="11"/>
                      <a:pt x="39" y="9"/>
                    </a:cubicBezTo>
                    <a:cubicBezTo>
                      <a:pt x="36" y="0"/>
                      <a:pt x="25" y="15"/>
                      <a:pt x="16" y="1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7" name="Freeform 36">
                <a:extLst>
                  <a:ext uri="{FF2B5EF4-FFF2-40B4-BE49-F238E27FC236}">
                    <a16:creationId xmlns:a16="http://schemas.microsoft.com/office/drawing/2014/main" id="{AA2FD992-57F8-40B4-80B1-DEBE7DE1F2AC}"/>
                  </a:ext>
                </a:extLst>
              </p:cNvPr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105457" y="4114336"/>
                <a:ext cx="174758" cy="121750"/>
              </a:xfrm>
              <a:custGeom>
                <a:avLst/>
                <a:gdLst>
                  <a:gd name="T0" fmla="*/ 28 w 116"/>
                  <a:gd name="T1" fmla="*/ 48 h 79"/>
                  <a:gd name="T2" fmla="*/ 6 w 116"/>
                  <a:gd name="T3" fmla="*/ 30 h 79"/>
                  <a:gd name="T4" fmla="*/ 6 w 116"/>
                  <a:gd name="T5" fmla="*/ 24 h 79"/>
                  <a:gd name="T6" fmla="*/ 17 w 116"/>
                  <a:gd name="T7" fmla="*/ 15 h 79"/>
                  <a:gd name="T8" fmla="*/ 30 w 116"/>
                  <a:gd name="T9" fmla="*/ 2 h 79"/>
                  <a:gd name="T10" fmla="*/ 49 w 116"/>
                  <a:gd name="T11" fmla="*/ 7 h 79"/>
                  <a:gd name="T12" fmla="*/ 76 w 116"/>
                  <a:gd name="T13" fmla="*/ 10 h 79"/>
                  <a:gd name="T14" fmla="*/ 102 w 116"/>
                  <a:gd name="T15" fmla="*/ 26 h 79"/>
                  <a:gd name="T16" fmla="*/ 110 w 116"/>
                  <a:gd name="T17" fmla="*/ 38 h 79"/>
                  <a:gd name="T18" fmla="*/ 112 w 116"/>
                  <a:gd name="T19" fmla="*/ 56 h 79"/>
                  <a:gd name="T20" fmla="*/ 113 w 116"/>
                  <a:gd name="T21" fmla="*/ 76 h 79"/>
                  <a:gd name="T22" fmla="*/ 91 w 116"/>
                  <a:gd name="T23" fmla="*/ 79 h 79"/>
                  <a:gd name="T24" fmla="*/ 72 w 116"/>
                  <a:gd name="T25" fmla="*/ 68 h 79"/>
                  <a:gd name="T26" fmla="*/ 69 w 116"/>
                  <a:gd name="T27" fmla="*/ 58 h 79"/>
                  <a:gd name="T28" fmla="*/ 68 w 116"/>
                  <a:gd name="T29" fmla="*/ 49 h 79"/>
                  <a:gd name="T30" fmla="*/ 65 w 116"/>
                  <a:gd name="T31" fmla="*/ 39 h 79"/>
                  <a:gd name="T32" fmla="*/ 46 w 116"/>
                  <a:gd name="T33" fmla="*/ 40 h 79"/>
                  <a:gd name="T34" fmla="*/ 38 w 116"/>
                  <a:gd name="T35" fmla="*/ 46 h 79"/>
                  <a:gd name="T36" fmla="*/ 28 w 116"/>
                  <a:gd name="T37" fmla="*/ 48 h 7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16" h="79">
                    <a:moveTo>
                      <a:pt x="28" y="48"/>
                    </a:moveTo>
                    <a:cubicBezTo>
                      <a:pt x="25" y="31"/>
                      <a:pt x="23" y="32"/>
                      <a:pt x="6" y="30"/>
                    </a:cubicBezTo>
                    <a:cubicBezTo>
                      <a:pt x="0" y="24"/>
                      <a:pt x="11" y="31"/>
                      <a:pt x="6" y="24"/>
                    </a:cubicBezTo>
                    <a:cubicBezTo>
                      <a:pt x="7" y="21"/>
                      <a:pt x="13" y="19"/>
                      <a:pt x="17" y="15"/>
                    </a:cubicBezTo>
                    <a:cubicBezTo>
                      <a:pt x="21" y="11"/>
                      <a:pt x="25" y="3"/>
                      <a:pt x="30" y="2"/>
                    </a:cubicBezTo>
                    <a:cubicBezTo>
                      <a:pt x="35" y="0"/>
                      <a:pt x="41" y="6"/>
                      <a:pt x="49" y="7"/>
                    </a:cubicBezTo>
                    <a:cubicBezTo>
                      <a:pt x="57" y="8"/>
                      <a:pt x="67" y="7"/>
                      <a:pt x="76" y="10"/>
                    </a:cubicBezTo>
                    <a:cubicBezTo>
                      <a:pt x="85" y="13"/>
                      <a:pt x="96" y="21"/>
                      <a:pt x="102" y="26"/>
                    </a:cubicBezTo>
                    <a:cubicBezTo>
                      <a:pt x="104" y="30"/>
                      <a:pt x="110" y="38"/>
                      <a:pt x="110" y="38"/>
                    </a:cubicBezTo>
                    <a:cubicBezTo>
                      <a:pt x="108" y="44"/>
                      <a:pt x="112" y="56"/>
                      <a:pt x="112" y="56"/>
                    </a:cubicBezTo>
                    <a:cubicBezTo>
                      <a:pt x="111" y="61"/>
                      <a:pt x="116" y="72"/>
                      <a:pt x="113" y="76"/>
                    </a:cubicBezTo>
                    <a:cubicBezTo>
                      <a:pt x="111" y="79"/>
                      <a:pt x="91" y="79"/>
                      <a:pt x="91" y="79"/>
                    </a:cubicBezTo>
                    <a:cubicBezTo>
                      <a:pt x="79" y="77"/>
                      <a:pt x="82" y="71"/>
                      <a:pt x="72" y="68"/>
                    </a:cubicBezTo>
                    <a:cubicBezTo>
                      <a:pt x="68" y="65"/>
                      <a:pt x="71" y="63"/>
                      <a:pt x="69" y="58"/>
                    </a:cubicBezTo>
                    <a:cubicBezTo>
                      <a:pt x="68" y="55"/>
                      <a:pt x="69" y="52"/>
                      <a:pt x="68" y="49"/>
                    </a:cubicBezTo>
                    <a:cubicBezTo>
                      <a:pt x="67" y="46"/>
                      <a:pt x="69" y="41"/>
                      <a:pt x="65" y="39"/>
                    </a:cubicBezTo>
                    <a:cubicBezTo>
                      <a:pt x="61" y="35"/>
                      <a:pt x="50" y="39"/>
                      <a:pt x="46" y="40"/>
                    </a:cubicBezTo>
                    <a:cubicBezTo>
                      <a:pt x="42" y="41"/>
                      <a:pt x="41" y="45"/>
                      <a:pt x="38" y="46"/>
                    </a:cubicBezTo>
                    <a:cubicBezTo>
                      <a:pt x="33" y="53"/>
                      <a:pt x="32" y="52"/>
                      <a:pt x="28" y="4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8" name="Freeform 37">
                <a:extLst>
                  <a:ext uri="{FF2B5EF4-FFF2-40B4-BE49-F238E27FC236}">
                    <a16:creationId xmlns:a16="http://schemas.microsoft.com/office/drawing/2014/main" id="{A14B085B-2F32-4F9C-BB4A-25BBD1CDB3F7}"/>
                  </a:ext>
                </a:extLst>
              </p:cNvPr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332050" y="4060396"/>
                <a:ext cx="171796" cy="123291"/>
              </a:xfrm>
              <a:custGeom>
                <a:avLst/>
                <a:gdLst>
                  <a:gd name="T0" fmla="*/ 77 w 114"/>
                  <a:gd name="T1" fmla="*/ 0 h 80"/>
                  <a:gd name="T2" fmla="*/ 34 w 114"/>
                  <a:gd name="T3" fmla="*/ 13 h 80"/>
                  <a:gd name="T4" fmla="*/ 18 w 114"/>
                  <a:gd name="T5" fmla="*/ 27 h 80"/>
                  <a:gd name="T6" fmla="*/ 0 w 114"/>
                  <a:gd name="T7" fmla="*/ 55 h 80"/>
                  <a:gd name="T8" fmla="*/ 12 w 114"/>
                  <a:gd name="T9" fmla="*/ 77 h 80"/>
                  <a:gd name="T10" fmla="*/ 24 w 114"/>
                  <a:gd name="T11" fmla="*/ 75 h 80"/>
                  <a:gd name="T12" fmla="*/ 40 w 114"/>
                  <a:gd name="T13" fmla="*/ 63 h 80"/>
                  <a:gd name="T14" fmla="*/ 80 w 114"/>
                  <a:gd name="T15" fmla="*/ 61 h 80"/>
                  <a:gd name="T16" fmla="*/ 110 w 114"/>
                  <a:gd name="T17" fmla="*/ 55 h 80"/>
                  <a:gd name="T18" fmla="*/ 100 w 114"/>
                  <a:gd name="T19" fmla="*/ 31 h 80"/>
                  <a:gd name="T20" fmla="*/ 86 w 114"/>
                  <a:gd name="T21" fmla="*/ 9 h 80"/>
                  <a:gd name="T22" fmla="*/ 77 w 114"/>
                  <a:gd name="T23" fmla="*/ 0 h 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14" h="80">
                    <a:moveTo>
                      <a:pt x="77" y="0"/>
                    </a:moveTo>
                    <a:cubicBezTo>
                      <a:pt x="58" y="2"/>
                      <a:pt x="54" y="11"/>
                      <a:pt x="34" y="13"/>
                    </a:cubicBezTo>
                    <a:cubicBezTo>
                      <a:pt x="31" y="26"/>
                      <a:pt x="30" y="24"/>
                      <a:pt x="18" y="27"/>
                    </a:cubicBezTo>
                    <a:cubicBezTo>
                      <a:pt x="7" y="35"/>
                      <a:pt x="12" y="51"/>
                      <a:pt x="0" y="55"/>
                    </a:cubicBezTo>
                    <a:cubicBezTo>
                      <a:pt x="2" y="67"/>
                      <a:pt x="0" y="73"/>
                      <a:pt x="12" y="77"/>
                    </a:cubicBezTo>
                    <a:cubicBezTo>
                      <a:pt x="15" y="80"/>
                      <a:pt x="19" y="77"/>
                      <a:pt x="24" y="75"/>
                    </a:cubicBezTo>
                    <a:cubicBezTo>
                      <a:pt x="29" y="73"/>
                      <a:pt x="31" y="65"/>
                      <a:pt x="40" y="63"/>
                    </a:cubicBezTo>
                    <a:cubicBezTo>
                      <a:pt x="53" y="62"/>
                      <a:pt x="67" y="62"/>
                      <a:pt x="80" y="61"/>
                    </a:cubicBezTo>
                    <a:cubicBezTo>
                      <a:pt x="98" y="55"/>
                      <a:pt x="88" y="57"/>
                      <a:pt x="110" y="55"/>
                    </a:cubicBezTo>
                    <a:cubicBezTo>
                      <a:pt x="114" y="44"/>
                      <a:pt x="111" y="35"/>
                      <a:pt x="100" y="31"/>
                    </a:cubicBezTo>
                    <a:cubicBezTo>
                      <a:pt x="94" y="22"/>
                      <a:pt x="95" y="15"/>
                      <a:pt x="86" y="9"/>
                    </a:cubicBezTo>
                    <a:cubicBezTo>
                      <a:pt x="81" y="2"/>
                      <a:pt x="71" y="0"/>
                      <a:pt x="77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49" name="Freeform 38">
                <a:extLst>
                  <a:ext uri="{FF2B5EF4-FFF2-40B4-BE49-F238E27FC236}">
                    <a16:creationId xmlns:a16="http://schemas.microsoft.com/office/drawing/2014/main" id="{1682FB97-409D-42D7-B967-430DA1ACAF84}"/>
                  </a:ext>
                </a:extLst>
              </p:cNvPr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5407254" y="3977175"/>
                <a:ext cx="228074" cy="140243"/>
              </a:xfrm>
              <a:custGeom>
                <a:avLst/>
                <a:gdLst>
                  <a:gd name="T0" fmla="*/ 3 w 151"/>
                  <a:gd name="T1" fmla="*/ 27 h 91"/>
                  <a:gd name="T2" fmla="*/ 17 w 151"/>
                  <a:gd name="T3" fmla="*/ 69 h 91"/>
                  <a:gd name="T4" fmla="*/ 39 w 151"/>
                  <a:gd name="T5" fmla="*/ 89 h 91"/>
                  <a:gd name="T6" fmla="*/ 52 w 151"/>
                  <a:gd name="T7" fmla="*/ 84 h 91"/>
                  <a:gd name="T8" fmla="*/ 84 w 151"/>
                  <a:gd name="T9" fmla="*/ 71 h 91"/>
                  <a:gd name="T10" fmla="*/ 108 w 151"/>
                  <a:gd name="T11" fmla="*/ 60 h 91"/>
                  <a:gd name="T12" fmla="*/ 129 w 151"/>
                  <a:gd name="T13" fmla="*/ 53 h 91"/>
                  <a:gd name="T14" fmla="*/ 138 w 151"/>
                  <a:gd name="T15" fmla="*/ 41 h 91"/>
                  <a:gd name="T16" fmla="*/ 148 w 151"/>
                  <a:gd name="T17" fmla="*/ 24 h 91"/>
                  <a:gd name="T18" fmla="*/ 129 w 151"/>
                  <a:gd name="T19" fmla="*/ 0 h 91"/>
                  <a:gd name="T20" fmla="*/ 115 w 151"/>
                  <a:gd name="T21" fmla="*/ 2 h 91"/>
                  <a:gd name="T22" fmla="*/ 88 w 151"/>
                  <a:gd name="T23" fmla="*/ 3 h 91"/>
                  <a:gd name="T24" fmla="*/ 73 w 151"/>
                  <a:gd name="T25" fmla="*/ 6 h 91"/>
                  <a:gd name="T26" fmla="*/ 54 w 151"/>
                  <a:gd name="T27" fmla="*/ 41 h 91"/>
                  <a:gd name="T28" fmla="*/ 40 w 151"/>
                  <a:gd name="T29" fmla="*/ 33 h 91"/>
                  <a:gd name="T30" fmla="*/ 22 w 151"/>
                  <a:gd name="T31" fmla="*/ 26 h 91"/>
                  <a:gd name="T32" fmla="*/ 10 w 151"/>
                  <a:gd name="T33" fmla="*/ 24 h 91"/>
                  <a:gd name="T34" fmla="*/ 3 w 151"/>
                  <a:gd name="T35" fmla="*/ 27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1" h="91">
                    <a:moveTo>
                      <a:pt x="3" y="27"/>
                    </a:moveTo>
                    <a:cubicBezTo>
                      <a:pt x="0" y="42"/>
                      <a:pt x="12" y="55"/>
                      <a:pt x="17" y="69"/>
                    </a:cubicBezTo>
                    <a:cubicBezTo>
                      <a:pt x="17" y="79"/>
                      <a:pt x="33" y="87"/>
                      <a:pt x="39" y="89"/>
                    </a:cubicBezTo>
                    <a:cubicBezTo>
                      <a:pt x="45" y="91"/>
                      <a:pt x="45" y="87"/>
                      <a:pt x="52" y="84"/>
                    </a:cubicBezTo>
                    <a:cubicBezTo>
                      <a:pt x="68" y="74"/>
                      <a:pt x="60" y="76"/>
                      <a:pt x="84" y="71"/>
                    </a:cubicBezTo>
                    <a:cubicBezTo>
                      <a:pt x="90" y="61"/>
                      <a:pt x="97" y="62"/>
                      <a:pt x="108" y="60"/>
                    </a:cubicBezTo>
                    <a:cubicBezTo>
                      <a:pt x="114" y="56"/>
                      <a:pt x="122" y="54"/>
                      <a:pt x="129" y="53"/>
                    </a:cubicBezTo>
                    <a:cubicBezTo>
                      <a:pt x="134" y="49"/>
                      <a:pt x="135" y="46"/>
                      <a:pt x="138" y="41"/>
                    </a:cubicBezTo>
                    <a:cubicBezTo>
                      <a:pt x="140" y="31"/>
                      <a:pt x="151" y="35"/>
                      <a:pt x="148" y="24"/>
                    </a:cubicBezTo>
                    <a:cubicBezTo>
                      <a:pt x="147" y="14"/>
                      <a:pt x="139" y="5"/>
                      <a:pt x="129" y="0"/>
                    </a:cubicBezTo>
                    <a:cubicBezTo>
                      <a:pt x="124" y="1"/>
                      <a:pt x="120" y="2"/>
                      <a:pt x="115" y="2"/>
                    </a:cubicBezTo>
                    <a:cubicBezTo>
                      <a:pt x="106" y="3"/>
                      <a:pt x="97" y="2"/>
                      <a:pt x="88" y="3"/>
                    </a:cubicBezTo>
                    <a:cubicBezTo>
                      <a:pt x="83" y="3"/>
                      <a:pt x="73" y="6"/>
                      <a:pt x="73" y="6"/>
                    </a:cubicBezTo>
                    <a:cubicBezTo>
                      <a:pt x="67" y="16"/>
                      <a:pt x="64" y="33"/>
                      <a:pt x="54" y="41"/>
                    </a:cubicBezTo>
                    <a:cubicBezTo>
                      <a:pt x="48" y="40"/>
                      <a:pt x="45" y="35"/>
                      <a:pt x="40" y="33"/>
                    </a:cubicBezTo>
                    <a:cubicBezTo>
                      <a:pt x="36" y="32"/>
                      <a:pt x="22" y="26"/>
                      <a:pt x="22" y="26"/>
                    </a:cubicBezTo>
                    <a:cubicBezTo>
                      <a:pt x="17" y="17"/>
                      <a:pt x="19" y="22"/>
                      <a:pt x="10" y="24"/>
                    </a:cubicBezTo>
                    <a:cubicBezTo>
                      <a:pt x="5" y="26"/>
                      <a:pt x="7" y="26"/>
                      <a:pt x="3" y="2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50" name="Freeform 39">
                <a:extLst>
                  <a:ext uri="{FF2B5EF4-FFF2-40B4-BE49-F238E27FC236}">
                    <a16:creationId xmlns:a16="http://schemas.microsoft.com/office/drawing/2014/main" id="{886BA6C1-BBD2-44EA-AB56-6116840B5C51}"/>
                  </a:ext>
                </a:extLst>
              </p:cNvPr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5259154" y="3989504"/>
                <a:ext cx="156986" cy="160278"/>
              </a:xfrm>
              <a:custGeom>
                <a:avLst/>
                <a:gdLst>
                  <a:gd name="T0" fmla="*/ 31 w 106"/>
                  <a:gd name="T1" fmla="*/ 0 h 104"/>
                  <a:gd name="T2" fmla="*/ 55 w 106"/>
                  <a:gd name="T3" fmla="*/ 18 h 104"/>
                  <a:gd name="T4" fmla="*/ 87 w 106"/>
                  <a:gd name="T5" fmla="*/ 46 h 104"/>
                  <a:gd name="T6" fmla="*/ 105 w 106"/>
                  <a:gd name="T7" fmla="*/ 96 h 104"/>
                  <a:gd name="T8" fmla="*/ 90 w 106"/>
                  <a:gd name="T9" fmla="*/ 100 h 104"/>
                  <a:gd name="T10" fmla="*/ 80 w 106"/>
                  <a:gd name="T11" fmla="*/ 91 h 104"/>
                  <a:gd name="T12" fmla="*/ 83 w 106"/>
                  <a:gd name="T13" fmla="*/ 78 h 104"/>
                  <a:gd name="T14" fmla="*/ 77 w 106"/>
                  <a:gd name="T15" fmla="*/ 54 h 104"/>
                  <a:gd name="T16" fmla="*/ 12 w 106"/>
                  <a:gd name="T17" fmla="*/ 54 h 104"/>
                  <a:gd name="T18" fmla="*/ 7 w 106"/>
                  <a:gd name="T19" fmla="*/ 30 h 104"/>
                  <a:gd name="T20" fmla="*/ 31 w 106"/>
                  <a:gd name="T21" fmla="*/ 0 h 1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06" h="104">
                    <a:moveTo>
                      <a:pt x="31" y="0"/>
                    </a:moveTo>
                    <a:cubicBezTo>
                      <a:pt x="52" y="2"/>
                      <a:pt x="35" y="13"/>
                      <a:pt x="55" y="18"/>
                    </a:cubicBezTo>
                    <a:cubicBezTo>
                      <a:pt x="62" y="26"/>
                      <a:pt x="80" y="36"/>
                      <a:pt x="87" y="46"/>
                    </a:cubicBezTo>
                    <a:cubicBezTo>
                      <a:pt x="95" y="59"/>
                      <a:pt x="104" y="87"/>
                      <a:pt x="105" y="96"/>
                    </a:cubicBezTo>
                    <a:cubicBezTo>
                      <a:pt x="106" y="104"/>
                      <a:pt x="94" y="101"/>
                      <a:pt x="90" y="100"/>
                    </a:cubicBezTo>
                    <a:cubicBezTo>
                      <a:pt x="86" y="99"/>
                      <a:pt x="81" y="95"/>
                      <a:pt x="80" y="91"/>
                    </a:cubicBezTo>
                    <a:cubicBezTo>
                      <a:pt x="79" y="87"/>
                      <a:pt x="83" y="84"/>
                      <a:pt x="83" y="78"/>
                    </a:cubicBezTo>
                    <a:cubicBezTo>
                      <a:pt x="83" y="72"/>
                      <a:pt x="89" y="58"/>
                      <a:pt x="77" y="54"/>
                    </a:cubicBezTo>
                    <a:cubicBezTo>
                      <a:pt x="56" y="65"/>
                      <a:pt x="36" y="59"/>
                      <a:pt x="12" y="54"/>
                    </a:cubicBezTo>
                    <a:cubicBezTo>
                      <a:pt x="0" y="51"/>
                      <a:pt x="4" y="39"/>
                      <a:pt x="7" y="30"/>
                    </a:cubicBezTo>
                    <a:cubicBezTo>
                      <a:pt x="10" y="21"/>
                      <a:pt x="26" y="6"/>
                      <a:pt x="31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51" name="Freeform 40">
                <a:extLst>
                  <a:ext uri="{FF2B5EF4-FFF2-40B4-BE49-F238E27FC236}">
                    <a16:creationId xmlns:a16="http://schemas.microsoft.com/office/drawing/2014/main" id="{B008A5E8-F1CC-4887-AF50-C836326BD1B0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4078799" y="3778369"/>
                <a:ext cx="273985" cy="292815"/>
              </a:xfrm>
              <a:custGeom>
                <a:avLst/>
                <a:gdLst>
                  <a:gd name="T0" fmla="*/ 176 w 182"/>
                  <a:gd name="T1" fmla="*/ 26 h 190"/>
                  <a:gd name="T2" fmla="*/ 156 w 182"/>
                  <a:gd name="T3" fmla="*/ 28 h 190"/>
                  <a:gd name="T4" fmla="*/ 156 w 182"/>
                  <a:gd name="T5" fmla="*/ 82 h 190"/>
                  <a:gd name="T6" fmla="*/ 166 w 182"/>
                  <a:gd name="T7" fmla="*/ 174 h 190"/>
                  <a:gd name="T8" fmla="*/ 62 w 182"/>
                  <a:gd name="T9" fmla="*/ 178 h 190"/>
                  <a:gd name="T10" fmla="*/ 29 w 182"/>
                  <a:gd name="T11" fmla="*/ 161 h 190"/>
                  <a:gd name="T12" fmla="*/ 6 w 182"/>
                  <a:gd name="T13" fmla="*/ 160 h 190"/>
                  <a:gd name="T14" fmla="*/ 6 w 182"/>
                  <a:gd name="T15" fmla="*/ 128 h 190"/>
                  <a:gd name="T16" fmla="*/ 0 w 182"/>
                  <a:gd name="T17" fmla="*/ 104 h 190"/>
                  <a:gd name="T18" fmla="*/ 56 w 182"/>
                  <a:gd name="T19" fmla="*/ 84 h 190"/>
                  <a:gd name="T20" fmla="*/ 54 w 182"/>
                  <a:gd name="T21" fmla="*/ 62 h 190"/>
                  <a:gd name="T22" fmla="*/ 72 w 182"/>
                  <a:gd name="T23" fmla="*/ 48 h 190"/>
                  <a:gd name="T24" fmla="*/ 74 w 182"/>
                  <a:gd name="T25" fmla="*/ 12 h 190"/>
                  <a:gd name="T26" fmla="*/ 118 w 182"/>
                  <a:gd name="T27" fmla="*/ 12 h 190"/>
                  <a:gd name="T28" fmla="*/ 134 w 182"/>
                  <a:gd name="T29" fmla="*/ 0 h 190"/>
                  <a:gd name="T30" fmla="*/ 158 w 182"/>
                  <a:gd name="T31" fmla="*/ 14 h 190"/>
                  <a:gd name="T32" fmla="*/ 176 w 182"/>
                  <a:gd name="T33" fmla="*/ 26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82" h="190">
                    <a:moveTo>
                      <a:pt x="176" y="26"/>
                    </a:moveTo>
                    <a:cubicBezTo>
                      <a:pt x="169" y="27"/>
                      <a:pt x="162" y="26"/>
                      <a:pt x="156" y="28"/>
                    </a:cubicBezTo>
                    <a:cubicBezTo>
                      <a:pt x="139" y="34"/>
                      <a:pt x="155" y="64"/>
                      <a:pt x="156" y="82"/>
                    </a:cubicBezTo>
                    <a:cubicBezTo>
                      <a:pt x="150" y="98"/>
                      <a:pt x="182" y="158"/>
                      <a:pt x="166" y="174"/>
                    </a:cubicBezTo>
                    <a:cubicBezTo>
                      <a:pt x="150" y="190"/>
                      <a:pt x="85" y="180"/>
                      <a:pt x="62" y="178"/>
                    </a:cubicBezTo>
                    <a:cubicBezTo>
                      <a:pt x="52" y="175"/>
                      <a:pt x="41" y="162"/>
                      <a:pt x="29" y="161"/>
                    </a:cubicBezTo>
                    <a:cubicBezTo>
                      <a:pt x="20" y="160"/>
                      <a:pt x="15" y="161"/>
                      <a:pt x="6" y="160"/>
                    </a:cubicBezTo>
                    <a:cubicBezTo>
                      <a:pt x="8" y="144"/>
                      <a:pt x="11" y="143"/>
                      <a:pt x="6" y="128"/>
                    </a:cubicBezTo>
                    <a:cubicBezTo>
                      <a:pt x="3" y="120"/>
                      <a:pt x="0" y="104"/>
                      <a:pt x="0" y="104"/>
                    </a:cubicBezTo>
                    <a:cubicBezTo>
                      <a:pt x="4" y="75"/>
                      <a:pt x="19" y="87"/>
                      <a:pt x="56" y="84"/>
                    </a:cubicBezTo>
                    <a:cubicBezTo>
                      <a:pt x="61" y="74"/>
                      <a:pt x="60" y="71"/>
                      <a:pt x="54" y="62"/>
                    </a:cubicBezTo>
                    <a:cubicBezTo>
                      <a:pt x="57" y="50"/>
                      <a:pt x="60" y="50"/>
                      <a:pt x="72" y="48"/>
                    </a:cubicBezTo>
                    <a:cubicBezTo>
                      <a:pt x="73" y="36"/>
                      <a:pt x="65" y="19"/>
                      <a:pt x="74" y="12"/>
                    </a:cubicBezTo>
                    <a:cubicBezTo>
                      <a:pt x="81" y="4"/>
                      <a:pt x="104" y="12"/>
                      <a:pt x="118" y="12"/>
                    </a:cubicBezTo>
                    <a:cubicBezTo>
                      <a:pt x="128" y="10"/>
                      <a:pt x="127" y="0"/>
                      <a:pt x="134" y="0"/>
                    </a:cubicBezTo>
                    <a:cubicBezTo>
                      <a:pt x="141" y="0"/>
                      <a:pt x="151" y="10"/>
                      <a:pt x="158" y="14"/>
                    </a:cubicBezTo>
                    <a:cubicBezTo>
                      <a:pt x="163" y="22"/>
                      <a:pt x="167" y="24"/>
                      <a:pt x="176" y="2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52" name="Freeform 41">
                <a:extLst>
                  <a:ext uri="{FF2B5EF4-FFF2-40B4-BE49-F238E27FC236}">
                    <a16:creationId xmlns:a16="http://schemas.microsoft.com/office/drawing/2014/main" id="{3222AB6A-898B-4C69-8BA3-2915B0976ABB}"/>
                  </a:ext>
                </a:extLst>
              </p:cNvPr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5607189" y="3823061"/>
                <a:ext cx="177720" cy="201889"/>
              </a:xfrm>
              <a:custGeom>
                <a:avLst/>
                <a:gdLst>
                  <a:gd name="T0" fmla="*/ 53 w 120"/>
                  <a:gd name="T1" fmla="*/ 37 h 131"/>
                  <a:gd name="T2" fmla="*/ 69 w 120"/>
                  <a:gd name="T3" fmla="*/ 0 h 131"/>
                  <a:gd name="T4" fmla="*/ 113 w 120"/>
                  <a:gd name="T5" fmla="*/ 22 h 131"/>
                  <a:gd name="T6" fmla="*/ 120 w 120"/>
                  <a:gd name="T7" fmla="*/ 40 h 131"/>
                  <a:gd name="T8" fmla="*/ 111 w 120"/>
                  <a:gd name="T9" fmla="*/ 64 h 131"/>
                  <a:gd name="T10" fmla="*/ 90 w 120"/>
                  <a:gd name="T11" fmla="*/ 75 h 131"/>
                  <a:gd name="T12" fmla="*/ 75 w 120"/>
                  <a:gd name="T13" fmla="*/ 99 h 131"/>
                  <a:gd name="T14" fmla="*/ 51 w 120"/>
                  <a:gd name="T15" fmla="*/ 118 h 131"/>
                  <a:gd name="T16" fmla="*/ 30 w 120"/>
                  <a:gd name="T17" fmla="*/ 127 h 131"/>
                  <a:gd name="T18" fmla="*/ 14 w 120"/>
                  <a:gd name="T19" fmla="*/ 120 h 131"/>
                  <a:gd name="T20" fmla="*/ 3 w 120"/>
                  <a:gd name="T21" fmla="*/ 102 h 131"/>
                  <a:gd name="T22" fmla="*/ 26 w 120"/>
                  <a:gd name="T23" fmla="*/ 88 h 131"/>
                  <a:gd name="T24" fmla="*/ 41 w 120"/>
                  <a:gd name="T25" fmla="*/ 75 h 131"/>
                  <a:gd name="T26" fmla="*/ 53 w 120"/>
                  <a:gd name="T27" fmla="*/ 37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20" h="131">
                    <a:moveTo>
                      <a:pt x="53" y="37"/>
                    </a:moveTo>
                    <a:cubicBezTo>
                      <a:pt x="55" y="24"/>
                      <a:pt x="58" y="9"/>
                      <a:pt x="69" y="0"/>
                    </a:cubicBezTo>
                    <a:cubicBezTo>
                      <a:pt x="76" y="20"/>
                      <a:pt x="95" y="19"/>
                      <a:pt x="113" y="22"/>
                    </a:cubicBezTo>
                    <a:cubicBezTo>
                      <a:pt x="114" y="31"/>
                      <a:pt x="115" y="33"/>
                      <a:pt x="120" y="40"/>
                    </a:cubicBezTo>
                    <a:cubicBezTo>
                      <a:pt x="119" y="51"/>
                      <a:pt x="117" y="55"/>
                      <a:pt x="111" y="64"/>
                    </a:cubicBezTo>
                    <a:cubicBezTo>
                      <a:pt x="109" y="74"/>
                      <a:pt x="99" y="73"/>
                      <a:pt x="90" y="75"/>
                    </a:cubicBezTo>
                    <a:cubicBezTo>
                      <a:pt x="87" y="91"/>
                      <a:pt x="93" y="96"/>
                      <a:pt x="75" y="99"/>
                    </a:cubicBezTo>
                    <a:cubicBezTo>
                      <a:pt x="74" y="108"/>
                      <a:pt x="61" y="116"/>
                      <a:pt x="51" y="118"/>
                    </a:cubicBezTo>
                    <a:cubicBezTo>
                      <a:pt x="43" y="122"/>
                      <a:pt x="39" y="126"/>
                      <a:pt x="30" y="127"/>
                    </a:cubicBezTo>
                    <a:cubicBezTo>
                      <a:pt x="22" y="131"/>
                      <a:pt x="20" y="124"/>
                      <a:pt x="14" y="120"/>
                    </a:cubicBezTo>
                    <a:cubicBezTo>
                      <a:pt x="10" y="113"/>
                      <a:pt x="7" y="109"/>
                      <a:pt x="3" y="102"/>
                    </a:cubicBezTo>
                    <a:cubicBezTo>
                      <a:pt x="0" y="88"/>
                      <a:pt x="16" y="89"/>
                      <a:pt x="26" y="88"/>
                    </a:cubicBezTo>
                    <a:cubicBezTo>
                      <a:pt x="32" y="83"/>
                      <a:pt x="33" y="77"/>
                      <a:pt x="41" y="75"/>
                    </a:cubicBezTo>
                    <a:cubicBezTo>
                      <a:pt x="56" y="64"/>
                      <a:pt x="54" y="59"/>
                      <a:pt x="53" y="3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53" name="Freeform 42">
                <a:extLst>
                  <a:ext uri="{FF2B5EF4-FFF2-40B4-BE49-F238E27FC236}">
                    <a16:creationId xmlns:a16="http://schemas.microsoft.com/office/drawing/2014/main" id="{16C71A40-EDE1-4FB0-85ED-D38B20A41E82}"/>
                  </a:ext>
                </a:extLst>
              </p:cNvPr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5596821" y="3773745"/>
                <a:ext cx="116999" cy="112503"/>
              </a:xfrm>
              <a:custGeom>
                <a:avLst/>
                <a:gdLst>
                  <a:gd name="T0" fmla="*/ 7 w 78"/>
                  <a:gd name="T1" fmla="*/ 44 h 73"/>
                  <a:gd name="T2" fmla="*/ 43 w 78"/>
                  <a:gd name="T3" fmla="*/ 39 h 73"/>
                  <a:gd name="T4" fmla="*/ 59 w 78"/>
                  <a:gd name="T5" fmla="*/ 18 h 73"/>
                  <a:gd name="T6" fmla="*/ 74 w 78"/>
                  <a:gd name="T7" fmla="*/ 0 h 73"/>
                  <a:gd name="T8" fmla="*/ 76 w 78"/>
                  <a:gd name="T9" fmla="*/ 32 h 73"/>
                  <a:gd name="T10" fmla="*/ 67 w 78"/>
                  <a:gd name="T11" fmla="*/ 38 h 73"/>
                  <a:gd name="T12" fmla="*/ 64 w 78"/>
                  <a:gd name="T13" fmla="*/ 54 h 73"/>
                  <a:gd name="T14" fmla="*/ 53 w 78"/>
                  <a:gd name="T15" fmla="*/ 69 h 73"/>
                  <a:gd name="T16" fmla="*/ 14 w 78"/>
                  <a:gd name="T17" fmla="*/ 66 h 73"/>
                  <a:gd name="T18" fmla="*/ 5 w 78"/>
                  <a:gd name="T19" fmla="*/ 57 h 73"/>
                  <a:gd name="T20" fmla="*/ 4 w 78"/>
                  <a:gd name="T21" fmla="*/ 47 h 73"/>
                  <a:gd name="T22" fmla="*/ 7 w 78"/>
                  <a:gd name="T23" fmla="*/ 44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8" h="73">
                    <a:moveTo>
                      <a:pt x="7" y="44"/>
                    </a:moveTo>
                    <a:cubicBezTo>
                      <a:pt x="21" y="34"/>
                      <a:pt x="3" y="46"/>
                      <a:pt x="43" y="39"/>
                    </a:cubicBezTo>
                    <a:cubicBezTo>
                      <a:pt x="47" y="38"/>
                      <a:pt x="55" y="21"/>
                      <a:pt x="59" y="18"/>
                    </a:cubicBezTo>
                    <a:cubicBezTo>
                      <a:pt x="65" y="19"/>
                      <a:pt x="76" y="3"/>
                      <a:pt x="74" y="0"/>
                    </a:cubicBezTo>
                    <a:cubicBezTo>
                      <a:pt x="75" y="1"/>
                      <a:pt x="76" y="31"/>
                      <a:pt x="76" y="32"/>
                    </a:cubicBezTo>
                    <a:cubicBezTo>
                      <a:pt x="72" y="48"/>
                      <a:pt x="78" y="36"/>
                      <a:pt x="67" y="38"/>
                    </a:cubicBezTo>
                    <a:cubicBezTo>
                      <a:pt x="65" y="42"/>
                      <a:pt x="66" y="49"/>
                      <a:pt x="64" y="54"/>
                    </a:cubicBezTo>
                    <a:cubicBezTo>
                      <a:pt x="62" y="59"/>
                      <a:pt x="61" y="67"/>
                      <a:pt x="53" y="69"/>
                    </a:cubicBezTo>
                    <a:cubicBezTo>
                      <a:pt x="45" y="73"/>
                      <a:pt x="22" y="68"/>
                      <a:pt x="14" y="66"/>
                    </a:cubicBezTo>
                    <a:cubicBezTo>
                      <a:pt x="6" y="64"/>
                      <a:pt x="7" y="60"/>
                      <a:pt x="5" y="57"/>
                    </a:cubicBezTo>
                    <a:cubicBezTo>
                      <a:pt x="3" y="53"/>
                      <a:pt x="0" y="51"/>
                      <a:pt x="4" y="47"/>
                    </a:cubicBezTo>
                    <a:cubicBezTo>
                      <a:pt x="7" y="44"/>
                      <a:pt x="9" y="46"/>
                      <a:pt x="7" y="44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54" name="Freeform 43">
                <a:extLst>
                  <a:ext uri="{FF2B5EF4-FFF2-40B4-BE49-F238E27FC236}">
                    <a16:creationId xmlns:a16="http://schemas.microsoft.com/office/drawing/2014/main" id="{929A8EAF-5AA7-4FD4-A452-E087C6655C5D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5567201" y="3787616"/>
                <a:ext cx="45911" cy="49316"/>
              </a:xfrm>
              <a:custGeom>
                <a:avLst/>
                <a:gdLst>
                  <a:gd name="T0" fmla="*/ 11 w 30"/>
                  <a:gd name="T1" fmla="*/ 9 h 32"/>
                  <a:gd name="T2" fmla="*/ 24 w 30"/>
                  <a:gd name="T3" fmla="*/ 0 h 32"/>
                  <a:gd name="T4" fmla="*/ 15 w 30"/>
                  <a:gd name="T5" fmla="*/ 20 h 32"/>
                  <a:gd name="T6" fmla="*/ 11 w 30"/>
                  <a:gd name="T7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2">
                    <a:moveTo>
                      <a:pt x="11" y="9"/>
                    </a:moveTo>
                    <a:cubicBezTo>
                      <a:pt x="12" y="0"/>
                      <a:pt x="16" y="3"/>
                      <a:pt x="24" y="0"/>
                    </a:cubicBezTo>
                    <a:cubicBezTo>
                      <a:pt x="29" y="13"/>
                      <a:pt x="30" y="32"/>
                      <a:pt x="15" y="20"/>
                    </a:cubicBezTo>
                    <a:cubicBezTo>
                      <a:pt x="11" y="14"/>
                      <a:pt x="0" y="7"/>
                      <a:pt x="11" y="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55" name="Freeform 45">
                <a:extLst>
                  <a:ext uri="{FF2B5EF4-FFF2-40B4-BE49-F238E27FC236}">
                    <a16:creationId xmlns:a16="http://schemas.microsoft.com/office/drawing/2014/main" id="{A8CA90CC-0E59-46FF-BE32-63D1F1370664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717109" y="4539688"/>
                <a:ext cx="275465" cy="292815"/>
              </a:xfrm>
              <a:custGeom>
                <a:avLst/>
                <a:gdLst>
                  <a:gd name="T0" fmla="*/ 0 w 183"/>
                  <a:gd name="T1" fmla="*/ 174 h 190"/>
                  <a:gd name="T2" fmla="*/ 10 w 183"/>
                  <a:gd name="T3" fmla="*/ 129 h 190"/>
                  <a:gd name="T4" fmla="*/ 15 w 183"/>
                  <a:gd name="T5" fmla="*/ 112 h 190"/>
                  <a:gd name="T6" fmla="*/ 28 w 183"/>
                  <a:gd name="T7" fmla="*/ 97 h 190"/>
                  <a:gd name="T8" fmla="*/ 22 w 183"/>
                  <a:gd name="T9" fmla="*/ 69 h 190"/>
                  <a:gd name="T10" fmla="*/ 22 w 183"/>
                  <a:gd name="T11" fmla="*/ 34 h 190"/>
                  <a:gd name="T12" fmla="*/ 12 w 183"/>
                  <a:gd name="T13" fmla="*/ 16 h 190"/>
                  <a:gd name="T14" fmla="*/ 30 w 183"/>
                  <a:gd name="T15" fmla="*/ 4 h 190"/>
                  <a:gd name="T16" fmla="*/ 60 w 183"/>
                  <a:gd name="T17" fmla="*/ 1 h 190"/>
                  <a:gd name="T18" fmla="*/ 70 w 183"/>
                  <a:gd name="T19" fmla="*/ 3 h 190"/>
                  <a:gd name="T20" fmla="*/ 79 w 183"/>
                  <a:gd name="T21" fmla="*/ 28 h 190"/>
                  <a:gd name="T22" fmla="*/ 103 w 183"/>
                  <a:gd name="T23" fmla="*/ 31 h 190"/>
                  <a:gd name="T24" fmla="*/ 123 w 183"/>
                  <a:gd name="T25" fmla="*/ 25 h 190"/>
                  <a:gd name="T26" fmla="*/ 144 w 183"/>
                  <a:gd name="T27" fmla="*/ 30 h 190"/>
                  <a:gd name="T28" fmla="*/ 151 w 183"/>
                  <a:gd name="T29" fmla="*/ 42 h 190"/>
                  <a:gd name="T30" fmla="*/ 150 w 183"/>
                  <a:gd name="T31" fmla="*/ 58 h 190"/>
                  <a:gd name="T32" fmla="*/ 157 w 183"/>
                  <a:gd name="T33" fmla="*/ 78 h 190"/>
                  <a:gd name="T34" fmla="*/ 180 w 183"/>
                  <a:gd name="T35" fmla="*/ 81 h 190"/>
                  <a:gd name="T36" fmla="*/ 175 w 183"/>
                  <a:gd name="T37" fmla="*/ 103 h 190"/>
                  <a:gd name="T38" fmla="*/ 151 w 183"/>
                  <a:gd name="T39" fmla="*/ 109 h 190"/>
                  <a:gd name="T40" fmla="*/ 145 w 183"/>
                  <a:gd name="T41" fmla="*/ 139 h 190"/>
                  <a:gd name="T42" fmla="*/ 151 w 183"/>
                  <a:gd name="T43" fmla="*/ 178 h 190"/>
                  <a:gd name="T44" fmla="*/ 97 w 183"/>
                  <a:gd name="T45" fmla="*/ 180 h 190"/>
                  <a:gd name="T46" fmla="*/ 37 w 183"/>
                  <a:gd name="T47" fmla="*/ 183 h 190"/>
                  <a:gd name="T48" fmla="*/ 0 w 183"/>
                  <a:gd name="T49" fmla="*/ 174 h 1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83" h="190">
                    <a:moveTo>
                      <a:pt x="0" y="174"/>
                    </a:moveTo>
                    <a:cubicBezTo>
                      <a:pt x="1" y="156"/>
                      <a:pt x="0" y="143"/>
                      <a:pt x="10" y="129"/>
                    </a:cubicBezTo>
                    <a:cubicBezTo>
                      <a:pt x="8" y="120"/>
                      <a:pt x="6" y="118"/>
                      <a:pt x="15" y="112"/>
                    </a:cubicBezTo>
                    <a:cubicBezTo>
                      <a:pt x="19" y="107"/>
                      <a:pt x="23" y="101"/>
                      <a:pt x="28" y="97"/>
                    </a:cubicBezTo>
                    <a:cubicBezTo>
                      <a:pt x="26" y="87"/>
                      <a:pt x="28" y="77"/>
                      <a:pt x="22" y="69"/>
                    </a:cubicBezTo>
                    <a:cubicBezTo>
                      <a:pt x="20" y="57"/>
                      <a:pt x="20" y="47"/>
                      <a:pt x="22" y="34"/>
                    </a:cubicBezTo>
                    <a:cubicBezTo>
                      <a:pt x="17" y="28"/>
                      <a:pt x="19" y="21"/>
                      <a:pt x="12" y="16"/>
                    </a:cubicBezTo>
                    <a:cubicBezTo>
                      <a:pt x="13" y="10"/>
                      <a:pt x="22" y="6"/>
                      <a:pt x="30" y="4"/>
                    </a:cubicBezTo>
                    <a:cubicBezTo>
                      <a:pt x="38" y="2"/>
                      <a:pt x="53" y="1"/>
                      <a:pt x="60" y="1"/>
                    </a:cubicBezTo>
                    <a:cubicBezTo>
                      <a:pt x="63" y="2"/>
                      <a:pt x="68" y="0"/>
                      <a:pt x="70" y="3"/>
                    </a:cubicBezTo>
                    <a:cubicBezTo>
                      <a:pt x="73" y="6"/>
                      <a:pt x="74" y="23"/>
                      <a:pt x="79" y="28"/>
                    </a:cubicBezTo>
                    <a:cubicBezTo>
                      <a:pt x="84" y="33"/>
                      <a:pt x="96" y="32"/>
                      <a:pt x="103" y="31"/>
                    </a:cubicBezTo>
                    <a:cubicBezTo>
                      <a:pt x="118" y="29"/>
                      <a:pt x="112" y="33"/>
                      <a:pt x="123" y="25"/>
                    </a:cubicBezTo>
                    <a:cubicBezTo>
                      <a:pt x="133" y="26"/>
                      <a:pt x="139" y="21"/>
                      <a:pt x="144" y="30"/>
                    </a:cubicBezTo>
                    <a:cubicBezTo>
                      <a:pt x="149" y="34"/>
                      <a:pt x="150" y="37"/>
                      <a:pt x="151" y="42"/>
                    </a:cubicBezTo>
                    <a:cubicBezTo>
                      <a:pt x="152" y="47"/>
                      <a:pt x="149" y="52"/>
                      <a:pt x="150" y="58"/>
                    </a:cubicBezTo>
                    <a:cubicBezTo>
                      <a:pt x="153" y="65"/>
                      <a:pt x="152" y="74"/>
                      <a:pt x="157" y="78"/>
                    </a:cubicBezTo>
                    <a:cubicBezTo>
                      <a:pt x="162" y="82"/>
                      <a:pt x="177" y="77"/>
                      <a:pt x="180" y="81"/>
                    </a:cubicBezTo>
                    <a:cubicBezTo>
                      <a:pt x="183" y="85"/>
                      <a:pt x="180" y="98"/>
                      <a:pt x="175" y="103"/>
                    </a:cubicBezTo>
                    <a:cubicBezTo>
                      <a:pt x="168" y="107"/>
                      <a:pt x="159" y="108"/>
                      <a:pt x="151" y="109"/>
                    </a:cubicBezTo>
                    <a:cubicBezTo>
                      <a:pt x="146" y="115"/>
                      <a:pt x="145" y="128"/>
                      <a:pt x="145" y="139"/>
                    </a:cubicBezTo>
                    <a:cubicBezTo>
                      <a:pt x="145" y="150"/>
                      <a:pt x="159" y="171"/>
                      <a:pt x="151" y="178"/>
                    </a:cubicBezTo>
                    <a:cubicBezTo>
                      <a:pt x="143" y="190"/>
                      <a:pt x="118" y="179"/>
                      <a:pt x="97" y="180"/>
                    </a:cubicBezTo>
                    <a:cubicBezTo>
                      <a:pt x="77" y="170"/>
                      <a:pt x="59" y="185"/>
                      <a:pt x="37" y="183"/>
                    </a:cubicBezTo>
                    <a:cubicBezTo>
                      <a:pt x="19" y="176"/>
                      <a:pt x="31" y="167"/>
                      <a:pt x="0" y="174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56" name="Freeform 46">
                <a:extLst>
                  <a:ext uri="{FF2B5EF4-FFF2-40B4-BE49-F238E27FC236}">
                    <a16:creationId xmlns:a16="http://schemas.microsoft.com/office/drawing/2014/main" id="{DD4B3551-9345-4F67-A91E-1F5873598E88}"/>
                  </a:ext>
                </a:extLst>
              </p:cNvPr>
              <p:cNvSpPr>
                <a:spLocks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650464" y="4143617"/>
                <a:ext cx="159948" cy="225005"/>
              </a:xfrm>
              <a:custGeom>
                <a:avLst/>
                <a:gdLst>
                  <a:gd name="T0" fmla="*/ 17 w 106"/>
                  <a:gd name="T1" fmla="*/ 143 h 146"/>
                  <a:gd name="T2" fmla="*/ 6 w 106"/>
                  <a:gd name="T3" fmla="*/ 119 h 146"/>
                  <a:gd name="T4" fmla="*/ 0 w 106"/>
                  <a:gd name="T5" fmla="*/ 96 h 146"/>
                  <a:gd name="T6" fmla="*/ 17 w 106"/>
                  <a:gd name="T7" fmla="*/ 77 h 146"/>
                  <a:gd name="T8" fmla="*/ 30 w 106"/>
                  <a:gd name="T9" fmla="*/ 68 h 146"/>
                  <a:gd name="T10" fmla="*/ 42 w 106"/>
                  <a:gd name="T11" fmla="*/ 72 h 146"/>
                  <a:gd name="T12" fmla="*/ 54 w 106"/>
                  <a:gd name="T13" fmla="*/ 47 h 146"/>
                  <a:gd name="T14" fmla="*/ 62 w 106"/>
                  <a:gd name="T15" fmla="*/ 33 h 146"/>
                  <a:gd name="T16" fmla="*/ 68 w 106"/>
                  <a:gd name="T17" fmla="*/ 18 h 146"/>
                  <a:gd name="T18" fmla="*/ 80 w 106"/>
                  <a:gd name="T19" fmla="*/ 2 h 146"/>
                  <a:gd name="T20" fmla="*/ 89 w 106"/>
                  <a:gd name="T21" fmla="*/ 6 h 146"/>
                  <a:gd name="T22" fmla="*/ 96 w 106"/>
                  <a:gd name="T23" fmla="*/ 18 h 146"/>
                  <a:gd name="T24" fmla="*/ 83 w 106"/>
                  <a:gd name="T25" fmla="*/ 27 h 146"/>
                  <a:gd name="T26" fmla="*/ 98 w 106"/>
                  <a:gd name="T27" fmla="*/ 60 h 146"/>
                  <a:gd name="T28" fmla="*/ 89 w 106"/>
                  <a:gd name="T29" fmla="*/ 72 h 146"/>
                  <a:gd name="T30" fmla="*/ 92 w 106"/>
                  <a:gd name="T31" fmla="*/ 98 h 146"/>
                  <a:gd name="T32" fmla="*/ 96 w 106"/>
                  <a:gd name="T33" fmla="*/ 113 h 146"/>
                  <a:gd name="T34" fmla="*/ 95 w 106"/>
                  <a:gd name="T35" fmla="*/ 120 h 146"/>
                  <a:gd name="T36" fmla="*/ 104 w 106"/>
                  <a:gd name="T37" fmla="*/ 126 h 146"/>
                  <a:gd name="T38" fmla="*/ 80 w 106"/>
                  <a:gd name="T39" fmla="*/ 140 h 146"/>
                  <a:gd name="T40" fmla="*/ 17 w 106"/>
                  <a:gd name="T41" fmla="*/ 143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06" h="146">
                    <a:moveTo>
                      <a:pt x="17" y="143"/>
                    </a:moveTo>
                    <a:cubicBezTo>
                      <a:pt x="15" y="127"/>
                      <a:pt x="20" y="122"/>
                      <a:pt x="6" y="119"/>
                    </a:cubicBezTo>
                    <a:cubicBezTo>
                      <a:pt x="2" y="112"/>
                      <a:pt x="0" y="96"/>
                      <a:pt x="0" y="96"/>
                    </a:cubicBezTo>
                    <a:cubicBezTo>
                      <a:pt x="2" y="78"/>
                      <a:pt x="0" y="79"/>
                      <a:pt x="17" y="77"/>
                    </a:cubicBezTo>
                    <a:cubicBezTo>
                      <a:pt x="21" y="70"/>
                      <a:pt x="22" y="69"/>
                      <a:pt x="30" y="68"/>
                    </a:cubicBezTo>
                    <a:cubicBezTo>
                      <a:pt x="36" y="72"/>
                      <a:pt x="36" y="77"/>
                      <a:pt x="42" y="72"/>
                    </a:cubicBezTo>
                    <a:cubicBezTo>
                      <a:pt x="47" y="57"/>
                      <a:pt x="42" y="56"/>
                      <a:pt x="54" y="47"/>
                    </a:cubicBezTo>
                    <a:cubicBezTo>
                      <a:pt x="57" y="40"/>
                      <a:pt x="55" y="37"/>
                      <a:pt x="62" y="33"/>
                    </a:cubicBezTo>
                    <a:cubicBezTo>
                      <a:pt x="63" y="27"/>
                      <a:pt x="66" y="24"/>
                      <a:pt x="68" y="18"/>
                    </a:cubicBezTo>
                    <a:cubicBezTo>
                      <a:pt x="69" y="1"/>
                      <a:pt x="69" y="9"/>
                      <a:pt x="80" y="2"/>
                    </a:cubicBezTo>
                    <a:cubicBezTo>
                      <a:pt x="84" y="0"/>
                      <a:pt x="86" y="3"/>
                      <a:pt x="89" y="6"/>
                    </a:cubicBezTo>
                    <a:cubicBezTo>
                      <a:pt x="92" y="9"/>
                      <a:pt x="97" y="15"/>
                      <a:pt x="96" y="18"/>
                    </a:cubicBezTo>
                    <a:cubicBezTo>
                      <a:pt x="90" y="21"/>
                      <a:pt x="90" y="26"/>
                      <a:pt x="83" y="27"/>
                    </a:cubicBezTo>
                    <a:cubicBezTo>
                      <a:pt x="83" y="34"/>
                      <a:pt x="97" y="53"/>
                      <a:pt x="98" y="60"/>
                    </a:cubicBezTo>
                    <a:cubicBezTo>
                      <a:pt x="99" y="67"/>
                      <a:pt x="90" y="66"/>
                      <a:pt x="89" y="72"/>
                    </a:cubicBezTo>
                    <a:cubicBezTo>
                      <a:pt x="87" y="80"/>
                      <a:pt x="92" y="92"/>
                      <a:pt x="92" y="98"/>
                    </a:cubicBezTo>
                    <a:cubicBezTo>
                      <a:pt x="93" y="105"/>
                      <a:pt x="96" y="109"/>
                      <a:pt x="96" y="113"/>
                    </a:cubicBezTo>
                    <a:cubicBezTo>
                      <a:pt x="97" y="121"/>
                      <a:pt x="94" y="118"/>
                      <a:pt x="95" y="120"/>
                    </a:cubicBezTo>
                    <a:cubicBezTo>
                      <a:pt x="96" y="122"/>
                      <a:pt x="106" y="123"/>
                      <a:pt x="104" y="126"/>
                    </a:cubicBezTo>
                    <a:cubicBezTo>
                      <a:pt x="101" y="146"/>
                      <a:pt x="100" y="141"/>
                      <a:pt x="80" y="140"/>
                    </a:cubicBezTo>
                    <a:cubicBezTo>
                      <a:pt x="57" y="131"/>
                      <a:pt x="77" y="138"/>
                      <a:pt x="17" y="14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57" name="Freeform 47">
                <a:extLst>
                  <a:ext uri="{FF2B5EF4-FFF2-40B4-BE49-F238E27FC236}">
                    <a16:creationId xmlns:a16="http://schemas.microsoft.com/office/drawing/2014/main" id="{010F3977-8CBE-4AD4-BEB0-92D148DEEE37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509769" y="4095842"/>
                <a:ext cx="268061" cy="208053"/>
              </a:xfrm>
              <a:custGeom>
                <a:avLst/>
                <a:gdLst>
                  <a:gd name="T0" fmla="*/ 88 w 178"/>
                  <a:gd name="T1" fmla="*/ 130 h 135"/>
                  <a:gd name="T2" fmla="*/ 48 w 178"/>
                  <a:gd name="T3" fmla="*/ 132 h 135"/>
                  <a:gd name="T4" fmla="*/ 33 w 178"/>
                  <a:gd name="T5" fmla="*/ 109 h 135"/>
                  <a:gd name="T6" fmla="*/ 6 w 178"/>
                  <a:gd name="T7" fmla="*/ 102 h 135"/>
                  <a:gd name="T8" fmla="*/ 15 w 178"/>
                  <a:gd name="T9" fmla="*/ 61 h 135"/>
                  <a:gd name="T10" fmla="*/ 19 w 178"/>
                  <a:gd name="T11" fmla="*/ 24 h 135"/>
                  <a:gd name="T12" fmla="*/ 25 w 178"/>
                  <a:gd name="T13" fmla="*/ 6 h 135"/>
                  <a:gd name="T14" fmla="*/ 31 w 178"/>
                  <a:gd name="T15" fmla="*/ 3 h 135"/>
                  <a:gd name="T16" fmla="*/ 45 w 178"/>
                  <a:gd name="T17" fmla="*/ 0 h 135"/>
                  <a:gd name="T18" fmla="*/ 70 w 178"/>
                  <a:gd name="T19" fmla="*/ 4 h 135"/>
                  <a:gd name="T20" fmla="*/ 90 w 178"/>
                  <a:gd name="T21" fmla="*/ 9 h 135"/>
                  <a:gd name="T22" fmla="*/ 99 w 178"/>
                  <a:gd name="T23" fmla="*/ 9 h 135"/>
                  <a:gd name="T24" fmla="*/ 115 w 178"/>
                  <a:gd name="T25" fmla="*/ 4 h 135"/>
                  <a:gd name="T26" fmla="*/ 133 w 178"/>
                  <a:gd name="T27" fmla="*/ 3 h 135"/>
                  <a:gd name="T28" fmla="*/ 148 w 178"/>
                  <a:gd name="T29" fmla="*/ 6 h 135"/>
                  <a:gd name="T30" fmla="*/ 160 w 178"/>
                  <a:gd name="T31" fmla="*/ 4 h 135"/>
                  <a:gd name="T32" fmla="*/ 171 w 178"/>
                  <a:gd name="T33" fmla="*/ 13 h 135"/>
                  <a:gd name="T34" fmla="*/ 178 w 178"/>
                  <a:gd name="T35" fmla="*/ 27 h 135"/>
                  <a:gd name="T36" fmla="*/ 166 w 178"/>
                  <a:gd name="T37" fmla="*/ 37 h 135"/>
                  <a:gd name="T38" fmla="*/ 160 w 178"/>
                  <a:gd name="T39" fmla="*/ 52 h 135"/>
                  <a:gd name="T40" fmla="*/ 156 w 178"/>
                  <a:gd name="T41" fmla="*/ 63 h 135"/>
                  <a:gd name="T42" fmla="*/ 151 w 178"/>
                  <a:gd name="T43" fmla="*/ 78 h 135"/>
                  <a:gd name="T44" fmla="*/ 141 w 178"/>
                  <a:gd name="T45" fmla="*/ 85 h 135"/>
                  <a:gd name="T46" fmla="*/ 136 w 178"/>
                  <a:gd name="T47" fmla="*/ 100 h 135"/>
                  <a:gd name="T48" fmla="*/ 121 w 178"/>
                  <a:gd name="T49" fmla="*/ 103 h 135"/>
                  <a:gd name="T50" fmla="*/ 109 w 178"/>
                  <a:gd name="T51" fmla="*/ 105 h 135"/>
                  <a:gd name="T52" fmla="*/ 94 w 178"/>
                  <a:gd name="T53" fmla="*/ 112 h 135"/>
                  <a:gd name="T54" fmla="*/ 88 w 178"/>
                  <a:gd name="T55" fmla="*/ 130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78" h="135">
                    <a:moveTo>
                      <a:pt x="88" y="130"/>
                    </a:moveTo>
                    <a:cubicBezTo>
                      <a:pt x="65" y="135"/>
                      <a:pt x="78" y="133"/>
                      <a:pt x="48" y="132"/>
                    </a:cubicBezTo>
                    <a:cubicBezTo>
                      <a:pt x="46" y="113"/>
                      <a:pt x="49" y="113"/>
                      <a:pt x="33" y="109"/>
                    </a:cubicBezTo>
                    <a:cubicBezTo>
                      <a:pt x="26" y="100"/>
                      <a:pt x="18" y="103"/>
                      <a:pt x="6" y="102"/>
                    </a:cubicBezTo>
                    <a:cubicBezTo>
                      <a:pt x="7" y="82"/>
                      <a:pt x="0" y="70"/>
                      <a:pt x="15" y="61"/>
                    </a:cubicBezTo>
                    <a:cubicBezTo>
                      <a:pt x="24" y="50"/>
                      <a:pt x="14" y="37"/>
                      <a:pt x="19" y="24"/>
                    </a:cubicBezTo>
                    <a:cubicBezTo>
                      <a:pt x="21" y="15"/>
                      <a:pt x="21" y="10"/>
                      <a:pt x="25" y="6"/>
                    </a:cubicBezTo>
                    <a:cubicBezTo>
                      <a:pt x="27" y="3"/>
                      <a:pt x="28" y="4"/>
                      <a:pt x="31" y="3"/>
                    </a:cubicBezTo>
                    <a:cubicBezTo>
                      <a:pt x="34" y="2"/>
                      <a:pt x="39" y="0"/>
                      <a:pt x="45" y="0"/>
                    </a:cubicBezTo>
                    <a:cubicBezTo>
                      <a:pt x="52" y="0"/>
                      <a:pt x="63" y="3"/>
                      <a:pt x="70" y="4"/>
                    </a:cubicBezTo>
                    <a:cubicBezTo>
                      <a:pt x="77" y="6"/>
                      <a:pt x="85" y="8"/>
                      <a:pt x="90" y="9"/>
                    </a:cubicBezTo>
                    <a:cubicBezTo>
                      <a:pt x="95" y="10"/>
                      <a:pt x="95" y="10"/>
                      <a:pt x="99" y="9"/>
                    </a:cubicBezTo>
                    <a:cubicBezTo>
                      <a:pt x="103" y="9"/>
                      <a:pt x="109" y="4"/>
                      <a:pt x="115" y="4"/>
                    </a:cubicBezTo>
                    <a:cubicBezTo>
                      <a:pt x="121" y="3"/>
                      <a:pt x="128" y="3"/>
                      <a:pt x="133" y="3"/>
                    </a:cubicBezTo>
                    <a:cubicBezTo>
                      <a:pt x="141" y="2"/>
                      <a:pt x="144" y="6"/>
                      <a:pt x="148" y="6"/>
                    </a:cubicBezTo>
                    <a:cubicBezTo>
                      <a:pt x="152" y="6"/>
                      <a:pt x="156" y="3"/>
                      <a:pt x="160" y="4"/>
                    </a:cubicBezTo>
                    <a:cubicBezTo>
                      <a:pt x="164" y="5"/>
                      <a:pt x="168" y="9"/>
                      <a:pt x="171" y="13"/>
                    </a:cubicBezTo>
                    <a:cubicBezTo>
                      <a:pt x="172" y="20"/>
                      <a:pt x="172" y="23"/>
                      <a:pt x="178" y="27"/>
                    </a:cubicBezTo>
                    <a:cubicBezTo>
                      <a:pt x="174" y="32"/>
                      <a:pt x="171" y="34"/>
                      <a:pt x="166" y="37"/>
                    </a:cubicBezTo>
                    <a:cubicBezTo>
                      <a:pt x="165" y="43"/>
                      <a:pt x="164" y="47"/>
                      <a:pt x="160" y="52"/>
                    </a:cubicBezTo>
                    <a:cubicBezTo>
                      <a:pt x="159" y="59"/>
                      <a:pt x="162" y="59"/>
                      <a:pt x="156" y="63"/>
                    </a:cubicBezTo>
                    <a:cubicBezTo>
                      <a:pt x="155" y="69"/>
                      <a:pt x="153" y="73"/>
                      <a:pt x="151" y="78"/>
                    </a:cubicBezTo>
                    <a:cubicBezTo>
                      <a:pt x="149" y="83"/>
                      <a:pt x="143" y="81"/>
                      <a:pt x="141" y="85"/>
                    </a:cubicBezTo>
                    <a:cubicBezTo>
                      <a:pt x="139" y="89"/>
                      <a:pt x="139" y="97"/>
                      <a:pt x="136" y="100"/>
                    </a:cubicBezTo>
                    <a:cubicBezTo>
                      <a:pt x="131" y="110"/>
                      <a:pt x="136" y="106"/>
                      <a:pt x="121" y="103"/>
                    </a:cubicBezTo>
                    <a:cubicBezTo>
                      <a:pt x="115" y="99"/>
                      <a:pt x="116" y="104"/>
                      <a:pt x="109" y="105"/>
                    </a:cubicBezTo>
                    <a:cubicBezTo>
                      <a:pt x="108" y="112"/>
                      <a:pt x="101" y="111"/>
                      <a:pt x="94" y="112"/>
                    </a:cubicBezTo>
                    <a:cubicBezTo>
                      <a:pt x="93" y="125"/>
                      <a:pt x="92" y="124"/>
                      <a:pt x="88" y="13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58" name="Freeform 50">
                <a:extLst>
                  <a:ext uri="{FF2B5EF4-FFF2-40B4-BE49-F238E27FC236}">
                    <a16:creationId xmlns:a16="http://schemas.microsoft.com/office/drawing/2014/main" id="{52DE423D-0EE4-4B15-9072-379B5F083E08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4370555" y="4148241"/>
                <a:ext cx="97746" cy="144866"/>
              </a:xfrm>
              <a:custGeom>
                <a:avLst/>
                <a:gdLst>
                  <a:gd name="T0" fmla="*/ 65 w 65"/>
                  <a:gd name="T1" fmla="*/ 0 h 94"/>
                  <a:gd name="T2" fmla="*/ 14 w 65"/>
                  <a:gd name="T3" fmla="*/ 6 h 94"/>
                  <a:gd name="T4" fmla="*/ 18 w 65"/>
                  <a:gd name="T5" fmla="*/ 48 h 94"/>
                  <a:gd name="T6" fmla="*/ 10 w 65"/>
                  <a:gd name="T7" fmla="*/ 70 h 94"/>
                  <a:gd name="T8" fmla="*/ 28 w 65"/>
                  <a:gd name="T9" fmla="*/ 94 h 94"/>
                  <a:gd name="T10" fmla="*/ 58 w 65"/>
                  <a:gd name="T11" fmla="*/ 86 h 94"/>
                  <a:gd name="T12" fmla="*/ 57 w 65"/>
                  <a:gd name="T13" fmla="*/ 50 h 94"/>
                  <a:gd name="T14" fmla="*/ 51 w 65"/>
                  <a:gd name="T15" fmla="*/ 23 h 94"/>
                  <a:gd name="T16" fmla="*/ 65 w 65"/>
                  <a:gd name="T17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5" h="94">
                    <a:moveTo>
                      <a:pt x="65" y="0"/>
                    </a:moveTo>
                    <a:cubicBezTo>
                      <a:pt x="48" y="1"/>
                      <a:pt x="31" y="3"/>
                      <a:pt x="14" y="6"/>
                    </a:cubicBezTo>
                    <a:cubicBezTo>
                      <a:pt x="0" y="8"/>
                      <a:pt x="18" y="48"/>
                      <a:pt x="18" y="48"/>
                    </a:cubicBezTo>
                    <a:cubicBezTo>
                      <a:pt x="15" y="56"/>
                      <a:pt x="12" y="61"/>
                      <a:pt x="10" y="70"/>
                    </a:cubicBezTo>
                    <a:cubicBezTo>
                      <a:pt x="12" y="83"/>
                      <a:pt x="16" y="90"/>
                      <a:pt x="28" y="94"/>
                    </a:cubicBezTo>
                    <a:cubicBezTo>
                      <a:pt x="44" y="92"/>
                      <a:pt x="45" y="90"/>
                      <a:pt x="58" y="86"/>
                    </a:cubicBezTo>
                    <a:cubicBezTo>
                      <a:pt x="63" y="79"/>
                      <a:pt x="58" y="60"/>
                      <a:pt x="57" y="50"/>
                    </a:cubicBezTo>
                    <a:cubicBezTo>
                      <a:pt x="56" y="40"/>
                      <a:pt x="50" y="31"/>
                      <a:pt x="51" y="23"/>
                    </a:cubicBezTo>
                    <a:cubicBezTo>
                      <a:pt x="53" y="16"/>
                      <a:pt x="62" y="6"/>
                      <a:pt x="65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59" name="Freeform 51">
                <a:extLst>
                  <a:ext uri="{FF2B5EF4-FFF2-40B4-BE49-F238E27FC236}">
                    <a16:creationId xmlns:a16="http://schemas.microsoft.com/office/drawing/2014/main" id="{84EB3C06-7590-404F-9C97-13FD82689603}"/>
                  </a:ext>
                </a:extLst>
              </p:cNvPr>
              <p:cNvSpPr>
                <a:spLocks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4262443" y="4166734"/>
                <a:ext cx="143657" cy="138702"/>
              </a:xfrm>
              <a:custGeom>
                <a:avLst/>
                <a:gdLst>
                  <a:gd name="T0" fmla="*/ 75 w 95"/>
                  <a:gd name="T1" fmla="*/ 0 h 90"/>
                  <a:gd name="T2" fmla="*/ 62 w 95"/>
                  <a:gd name="T3" fmla="*/ 11 h 90"/>
                  <a:gd name="T4" fmla="*/ 51 w 95"/>
                  <a:gd name="T5" fmla="*/ 2 h 90"/>
                  <a:gd name="T6" fmla="*/ 18 w 95"/>
                  <a:gd name="T7" fmla="*/ 2 h 90"/>
                  <a:gd name="T8" fmla="*/ 6 w 95"/>
                  <a:gd name="T9" fmla="*/ 4 h 90"/>
                  <a:gd name="T10" fmla="*/ 9 w 95"/>
                  <a:gd name="T11" fmla="*/ 36 h 90"/>
                  <a:gd name="T12" fmla="*/ 0 w 95"/>
                  <a:gd name="T13" fmla="*/ 50 h 90"/>
                  <a:gd name="T14" fmla="*/ 12 w 95"/>
                  <a:gd name="T15" fmla="*/ 70 h 90"/>
                  <a:gd name="T16" fmla="*/ 24 w 95"/>
                  <a:gd name="T17" fmla="*/ 90 h 90"/>
                  <a:gd name="T18" fmla="*/ 64 w 95"/>
                  <a:gd name="T19" fmla="*/ 76 h 90"/>
                  <a:gd name="T20" fmla="*/ 82 w 95"/>
                  <a:gd name="T21" fmla="*/ 58 h 90"/>
                  <a:gd name="T22" fmla="*/ 89 w 95"/>
                  <a:gd name="T23" fmla="*/ 41 h 90"/>
                  <a:gd name="T24" fmla="*/ 90 w 95"/>
                  <a:gd name="T25" fmla="*/ 30 h 90"/>
                  <a:gd name="T26" fmla="*/ 83 w 95"/>
                  <a:gd name="T27" fmla="*/ 15 h 90"/>
                  <a:gd name="T28" fmla="*/ 75 w 95"/>
                  <a:gd name="T29" fmla="*/ 0 h 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95" h="90">
                    <a:moveTo>
                      <a:pt x="75" y="0"/>
                    </a:moveTo>
                    <a:cubicBezTo>
                      <a:pt x="67" y="11"/>
                      <a:pt x="78" y="3"/>
                      <a:pt x="62" y="11"/>
                    </a:cubicBezTo>
                    <a:cubicBezTo>
                      <a:pt x="58" y="10"/>
                      <a:pt x="58" y="3"/>
                      <a:pt x="51" y="2"/>
                    </a:cubicBezTo>
                    <a:cubicBezTo>
                      <a:pt x="44" y="1"/>
                      <a:pt x="25" y="2"/>
                      <a:pt x="18" y="2"/>
                    </a:cubicBezTo>
                    <a:cubicBezTo>
                      <a:pt x="14" y="3"/>
                      <a:pt x="9" y="1"/>
                      <a:pt x="6" y="4"/>
                    </a:cubicBezTo>
                    <a:cubicBezTo>
                      <a:pt x="5" y="5"/>
                      <a:pt x="7" y="30"/>
                      <a:pt x="9" y="36"/>
                    </a:cubicBezTo>
                    <a:cubicBezTo>
                      <a:pt x="6" y="44"/>
                      <a:pt x="4" y="43"/>
                      <a:pt x="0" y="50"/>
                    </a:cubicBezTo>
                    <a:cubicBezTo>
                      <a:pt x="4" y="61"/>
                      <a:pt x="0" y="67"/>
                      <a:pt x="12" y="70"/>
                    </a:cubicBezTo>
                    <a:cubicBezTo>
                      <a:pt x="18" y="78"/>
                      <a:pt x="14" y="87"/>
                      <a:pt x="24" y="90"/>
                    </a:cubicBezTo>
                    <a:cubicBezTo>
                      <a:pt x="42" y="72"/>
                      <a:pt x="18" y="79"/>
                      <a:pt x="64" y="76"/>
                    </a:cubicBezTo>
                    <a:cubicBezTo>
                      <a:pt x="82" y="80"/>
                      <a:pt x="95" y="78"/>
                      <a:pt x="82" y="58"/>
                    </a:cubicBezTo>
                    <a:cubicBezTo>
                      <a:pt x="85" y="53"/>
                      <a:pt x="88" y="46"/>
                      <a:pt x="89" y="41"/>
                    </a:cubicBezTo>
                    <a:cubicBezTo>
                      <a:pt x="90" y="36"/>
                      <a:pt x="91" y="34"/>
                      <a:pt x="90" y="30"/>
                    </a:cubicBezTo>
                    <a:cubicBezTo>
                      <a:pt x="90" y="23"/>
                      <a:pt x="85" y="19"/>
                      <a:pt x="83" y="15"/>
                    </a:cubicBezTo>
                    <a:cubicBezTo>
                      <a:pt x="80" y="10"/>
                      <a:pt x="81" y="5"/>
                      <a:pt x="75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0" name="Freeform 52">
                <a:extLst>
                  <a:ext uri="{FF2B5EF4-FFF2-40B4-BE49-F238E27FC236}">
                    <a16:creationId xmlns:a16="http://schemas.microsoft.com/office/drawing/2014/main" id="{26645B69-41F4-4078-AD8C-DE04EA3AA00B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811893" y="4926512"/>
                <a:ext cx="367287" cy="342131"/>
              </a:xfrm>
              <a:custGeom>
                <a:avLst/>
                <a:gdLst>
                  <a:gd name="T0" fmla="*/ 15 w 244"/>
                  <a:gd name="T1" fmla="*/ 100 h 222"/>
                  <a:gd name="T2" fmla="*/ 16 w 244"/>
                  <a:gd name="T3" fmla="*/ 128 h 222"/>
                  <a:gd name="T4" fmla="*/ 30 w 244"/>
                  <a:gd name="T5" fmla="*/ 149 h 222"/>
                  <a:gd name="T6" fmla="*/ 37 w 244"/>
                  <a:gd name="T7" fmla="*/ 193 h 222"/>
                  <a:gd name="T8" fmla="*/ 51 w 244"/>
                  <a:gd name="T9" fmla="*/ 205 h 222"/>
                  <a:gd name="T10" fmla="*/ 84 w 244"/>
                  <a:gd name="T11" fmla="*/ 206 h 222"/>
                  <a:gd name="T12" fmla="*/ 144 w 244"/>
                  <a:gd name="T13" fmla="*/ 199 h 222"/>
                  <a:gd name="T14" fmla="*/ 166 w 244"/>
                  <a:gd name="T15" fmla="*/ 194 h 222"/>
                  <a:gd name="T16" fmla="*/ 177 w 244"/>
                  <a:gd name="T17" fmla="*/ 182 h 222"/>
                  <a:gd name="T18" fmla="*/ 192 w 244"/>
                  <a:gd name="T19" fmla="*/ 167 h 222"/>
                  <a:gd name="T20" fmla="*/ 207 w 244"/>
                  <a:gd name="T21" fmla="*/ 152 h 222"/>
                  <a:gd name="T22" fmla="*/ 216 w 244"/>
                  <a:gd name="T23" fmla="*/ 139 h 222"/>
                  <a:gd name="T24" fmla="*/ 243 w 244"/>
                  <a:gd name="T25" fmla="*/ 112 h 222"/>
                  <a:gd name="T26" fmla="*/ 244 w 244"/>
                  <a:gd name="T27" fmla="*/ 83 h 222"/>
                  <a:gd name="T28" fmla="*/ 235 w 244"/>
                  <a:gd name="T29" fmla="*/ 71 h 222"/>
                  <a:gd name="T30" fmla="*/ 241 w 244"/>
                  <a:gd name="T31" fmla="*/ 52 h 222"/>
                  <a:gd name="T32" fmla="*/ 231 w 244"/>
                  <a:gd name="T33" fmla="*/ 41 h 222"/>
                  <a:gd name="T34" fmla="*/ 231 w 244"/>
                  <a:gd name="T35" fmla="*/ 22 h 222"/>
                  <a:gd name="T36" fmla="*/ 223 w 244"/>
                  <a:gd name="T37" fmla="*/ 14 h 222"/>
                  <a:gd name="T38" fmla="*/ 213 w 244"/>
                  <a:gd name="T39" fmla="*/ 2 h 222"/>
                  <a:gd name="T40" fmla="*/ 191 w 244"/>
                  <a:gd name="T41" fmla="*/ 3 h 222"/>
                  <a:gd name="T42" fmla="*/ 169 w 244"/>
                  <a:gd name="T43" fmla="*/ 11 h 222"/>
                  <a:gd name="T44" fmla="*/ 163 w 244"/>
                  <a:gd name="T45" fmla="*/ 26 h 222"/>
                  <a:gd name="T46" fmla="*/ 156 w 244"/>
                  <a:gd name="T47" fmla="*/ 37 h 222"/>
                  <a:gd name="T48" fmla="*/ 157 w 244"/>
                  <a:gd name="T49" fmla="*/ 40 h 222"/>
                  <a:gd name="T50" fmla="*/ 145 w 244"/>
                  <a:gd name="T51" fmla="*/ 47 h 222"/>
                  <a:gd name="T52" fmla="*/ 132 w 244"/>
                  <a:gd name="T53" fmla="*/ 50 h 222"/>
                  <a:gd name="T54" fmla="*/ 115 w 244"/>
                  <a:gd name="T55" fmla="*/ 56 h 222"/>
                  <a:gd name="T56" fmla="*/ 91 w 244"/>
                  <a:gd name="T57" fmla="*/ 64 h 222"/>
                  <a:gd name="T58" fmla="*/ 70 w 244"/>
                  <a:gd name="T59" fmla="*/ 77 h 222"/>
                  <a:gd name="T60" fmla="*/ 64 w 244"/>
                  <a:gd name="T61" fmla="*/ 89 h 222"/>
                  <a:gd name="T62" fmla="*/ 52 w 244"/>
                  <a:gd name="T63" fmla="*/ 106 h 222"/>
                  <a:gd name="T64" fmla="*/ 36 w 244"/>
                  <a:gd name="T65" fmla="*/ 111 h 222"/>
                  <a:gd name="T66" fmla="*/ 24 w 244"/>
                  <a:gd name="T67" fmla="*/ 110 h 222"/>
                  <a:gd name="T68" fmla="*/ 15 w 244"/>
                  <a:gd name="T69" fmla="*/ 100 h 2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44" h="222">
                    <a:moveTo>
                      <a:pt x="15" y="100"/>
                    </a:moveTo>
                    <a:cubicBezTo>
                      <a:pt x="0" y="102"/>
                      <a:pt x="7" y="122"/>
                      <a:pt x="16" y="128"/>
                    </a:cubicBezTo>
                    <a:cubicBezTo>
                      <a:pt x="22" y="138"/>
                      <a:pt x="20" y="143"/>
                      <a:pt x="30" y="149"/>
                    </a:cubicBezTo>
                    <a:cubicBezTo>
                      <a:pt x="33" y="164"/>
                      <a:pt x="22" y="185"/>
                      <a:pt x="37" y="193"/>
                    </a:cubicBezTo>
                    <a:cubicBezTo>
                      <a:pt x="40" y="203"/>
                      <a:pt x="41" y="203"/>
                      <a:pt x="51" y="205"/>
                    </a:cubicBezTo>
                    <a:cubicBezTo>
                      <a:pt x="53" y="222"/>
                      <a:pt x="73" y="208"/>
                      <a:pt x="84" y="206"/>
                    </a:cubicBezTo>
                    <a:cubicBezTo>
                      <a:pt x="103" y="197"/>
                      <a:pt x="167" y="216"/>
                      <a:pt x="144" y="199"/>
                    </a:cubicBezTo>
                    <a:cubicBezTo>
                      <a:pt x="155" y="191"/>
                      <a:pt x="138" y="202"/>
                      <a:pt x="166" y="194"/>
                    </a:cubicBezTo>
                    <a:cubicBezTo>
                      <a:pt x="168" y="193"/>
                      <a:pt x="174" y="184"/>
                      <a:pt x="177" y="182"/>
                    </a:cubicBezTo>
                    <a:cubicBezTo>
                      <a:pt x="181" y="176"/>
                      <a:pt x="186" y="171"/>
                      <a:pt x="192" y="167"/>
                    </a:cubicBezTo>
                    <a:cubicBezTo>
                      <a:pt x="198" y="160"/>
                      <a:pt x="199" y="155"/>
                      <a:pt x="207" y="152"/>
                    </a:cubicBezTo>
                    <a:cubicBezTo>
                      <a:pt x="210" y="148"/>
                      <a:pt x="213" y="143"/>
                      <a:pt x="216" y="139"/>
                    </a:cubicBezTo>
                    <a:cubicBezTo>
                      <a:pt x="217" y="125"/>
                      <a:pt x="229" y="113"/>
                      <a:pt x="243" y="112"/>
                    </a:cubicBezTo>
                    <a:cubicBezTo>
                      <a:pt x="239" y="102"/>
                      <a:pt x="242" y="93"/>
                      <a:pt x="244" y="83"/>
                    </a:cubicBezTo>
                    <a:cubicBezTo>
                      <a:pt x="240" y="78"/>
                      <a:pt x="237" y="77"/>
                      <a:pt x="235" y="71"/>
                    </a:cubicBezTo>
                    <a:cubicBezTo>
                      <a:pt x="234" y="66"/>
                      <a:pt x="243" y="61"/>
                      <a:pt x="241" y="52"/>
                    </a:cubicBezTo>
                    <a:cubicBezTo>
                      <a:pt x="240" y="47"/>
                      <a:pt x="233" y="46"/>
                      <a:pt x="231" y="41"/>
                    </a:cubicBezTo>
                    <a:cubicBezTo>
                      <a:pt x="229" y="36"/>
                      <a:pt x="232" y="26"/>
                      <a:pt x="231" y="22"/>
                    </a:cubicBezTo>
                    <a:cubicBezTo>
                      <a:pt x="230" y="18"/>
                      <a:pt x="226" y="17"/>
                      <a:pt x="223" y="14"/>
                    </a:cubicBezTo>
                    <a:cubicBezTo>
                      <a:pt x="222" y="6"/>
                      <a:pt x="221" y="5"/>
                      <a:pt x="213" y="2"/>
                    </a:cubicBezTo>
                    <a:cubicBezTo>
                      <a:pt x="208" y="0"/>
                      <a:pt x="198" y="2"/>
                      <a:pt x="191" y="3"/>
                    </a:cubicBezTo>
                    <a:cubicBezTo>
                      <a:pt x="184" y="4"/>
                      <a:pt x="174" y="7"/>
                      <a:pt x="169" y="11"/>
                    </a:cubicBezTo>
                    <a:cubicBezTo>
                      <a:pt x="166" y="16"/>
                      <a:pt x="166" y="21"/>
                      <a:pt x="163" y="26"/>
                    </a:cubicBezTo>
                    <a:cubicBezTo>
                      <a:pt x="161" y="30"/>
                      <a:pt x="157" y="35"/>
                      <a:pt x="156" y="37"/>
                    </a:cubicBezTo>
                    <a:cubicBezTo>
                      <a:pt x="155" y="39"/>
                      <a:pt x="159" y="38"/>
                      <a:pt x="157" y="40"/>
                    </a:cubicBezTo>
                    <a:cubicBezTo>
                      <a:pt x="155" y="42"/>
                      <a:pt x="149" y="45"/>
                      <a:pt x="145" y="47"/>
                    </a:cubicBezTo>
                    <a:cubicBezTo>
                      <a:pt x="141" y="53"/>
                      <a:pt x="139" y="49"/>
                      <a:pt x="132" y="50"/>
                    </a:cubicBezTo>
                    <a:cubicBezTo>
                      <a:pt x="126" y="55"/>
                      <a:pt x="122" y="59"/>
                      <a:pt x="115" y="56"/>
                    </a:cubicBezTo>
                    <a:cubicBezTo>
                      <a:pt x="108" y="49"/>
                      <a:pt x="99" y="59"/>
                      <a:pt x="91" y="64"/>
                    </a:cubicBezTo>
                    <a:cubicBezTo>
                      <a:pt x="86" y="70"/>
                      <a:pt x="76" y="73"/>
                      <a:pt x="70" y="77"/>
                    </a:cubicBezTo>
                    <a:cubicBezTo>
                      <a:pt x="64" y="81"/>
                      <a:pt x="67" y="84"/>
                      <a:pt x="64" y="89"/>
                    </a:cubicBezTo>
                    <a:cubicBezTo>
                      <a:pt x="61" y="94"/>
                      <a:pt x="55" y="102"/>
                      <a:pt x="52" y="106"/>
                    </a:cubicBezTo>
                    <a:cubicBezTo>
                      <a:pt x="47" y="110"/>
                      <a:pt x="41" y="110"/>
                      <a:pt x="36" y="111"/>
                    </a:cubicBezTo>
                    <a:cubicBezTo>
                      <a:pt x="31" y="112"/>
                      <a:pt x="27" y="112"/>
                      <a:pt x="24" y="110"/>
                    </a:cubicBezTo>
                    <a:cubicBezTo>
                      <a:pt x="20" y="107"/>
                      <a:pt x="19" y="104"/>
                      <a:pt x="15" y="10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1" name="Freeform 53">
                <a:extLst>
                  <a:ext uri="{FF2B5EF4-FFF2-40B4-BE49-F238E27FC236}">
                    <a16:creationId xmlns:a16="http://schemas.microsoft.com/office/drawing/2014/main" id="{DF98F82B-5FCC-4234-9662-1A3F33F40CE5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5047372" y="5086789"/>
                <a:ext cx="63683" cy="78598"/>
              </a:xfrm>
              <a:custGeom>
                <a:avLst/>
                <a:gdLst>
                  <a:gd name="T0" fmla="*/ 21 w 43"/>
                  <a:gd name="T1" fmla="*/ 5 h 51"/>
                  <a:gd name="T2" fmla="*/ 7 w 43"/>
                  <a:gd name="T3" fmla="*/ 12 h 51"/>
                  <a:gd name="T4" fmla="*/ 9 w 43"/>
                  <a:gd name="T5" fmla="*/ 23 h 51"/>
                  <a:gd name="T6" fmla="*/ 10 w 43"/>
                  <a:gd name="T7" fmla="*/ 39 h 51"/>
                  <a:gd name="T8" fmla="*/ 36 w 43"/>
                  <a:gd name="T9" fmla="*/ 27 h 51"/>
                  <a:gd name="T10" fmla="*/ 25 w 43"/>
                  <a:gd name="T11" fmla="*/ 0 h 51"/>
                  <a:gd name="T12" fmla="*/ 21 w 43"/>
                  <a:gd name="T13" fmla="*/ 5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3" h="51">
                    <a:moveTo>
                      <a:pt x="21" y="5"/>
                    </a:moveTo>
                    <a:cubicBezTo>
                      <a:pt x="12" y="7"/>
                      <a:pt x="16" y="10"/>
                      <a:pt x="7" y="12"/>
                    </a:cubicBezTo>
                    <a:cubicBezTo>
                      <a:pt x="0" y="16"/>
                      <a:pt x="3" y="20"/>
                      <a:pt x="9" y="23"/>
                    </a:cubicBezTo>
                    <a:cubicBezTo>
                      <a:pt x="9" y="28"/>
                      <a:pt x="6" y="36"/>
                      <a:pt x="10" y="39"/>
                    </a:cubicBezTo>
                    <a:cubicBezTo>
                      <a:pt x="24" y="51"/>
                      <a:pt x="28" y="30"/>
                      <a:pt x="36" y="27"/>
                    </a:cubicBezTo>
                    <a:cubicBezTo>
                      <a:pt x="43" y="13"/>
                      <a:pt x="39" y="6"/>
                      <a:pt x="25" y="0"/>
                    </a:cubicBezTo>
                    <a:cubicBezTo>
                      <a:pt x="23" y="1"/>
                      <a:pt x="8" y="8"/>
                      <a:pt x="21" y="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2" name="Freeform 54">
                <a:extLst>
                  <a:ext uri="{FF2B5EF4-FFF2-40B4-BE49-F238E27FC236}">
                    <a16:creationId xmlns:a16="http://schemas.microsoft.com/office/drawing/2014/main" id="{04857896-216E-42D6-921F-8C91F69B6265}"/>
                  </a:ext>
                </a:extLst>
              </p:cNvPr>
              <p:cNvSpPr>
                <a:spLocks/>
              </p:cNvSpPr>
              <p:nvPr>
                <p:custDataLst>
                  <p:tags r:id="rId50"/>
                </p:custDataLst>
              </p:nvPr>
            </p:nvSpPr>
            <p:spPr bwMode="gray">
              <a:xfrm>
                <a:off x="4709704" y="4800139"/>
                <a:ext cx="231036" cy="298980"/>
              </a:xfrm>
              <a:custGeom>
                <a:avLst/>
                <a:gdLst>
                  <a:gd name="T0" fmla="*/ 75 w 154"/>
                  <a:gd name="T1" fmla="*/ 191 h 194"/>
                  <a:gd name="T2" fmla="*/ 60 w 154"/>
                  <a:gd name="T3" fmla="*/ 179 h 194"/>
                  <a:gd name="T4" fmla="*/ 53 w 154"/>
                  <a:gd name="T5" fmla="*/ 165 h 194"/>
                  <a:gd name="T6" fmla="*/ 47 w 154"/>
                  <a:gd name="T7" fmla="*/ 120 h 194"/>
                  <a:gd name="T8" fmla="*/ 24 w 154"/>
                  <a:gd name="T9" fmla="*/ 51 h 194"/>
                  <a:gd name="T10" fmla="*/ 8 w 154"/>
                  <a:gd name="T11" fmla="*/ 24 h 194"/>
                  <a:gd name="T12" fmla="*/ 0 w 154"/>
                  <a:gd name="T13" fmla="*/ 11 h 194"/>
                  <a:gd name="T14" fmla="*/ 24 w 154"/>
                  <a:gd name="T15" fmla="*/ 0 h 194"/>
                  <a:gd name="T16" fmla="*/ 39 w 154"/>
                  <a:gd name="T17" fmla="*/ 11 h 194"/>
                  <a:gd name="T18" fmla="*/ 101 w 154"/>
                  <a:gd name="T19" fmla="*/ 8 h 194"/>
                  <a:gd name="T20" fmla="*/ 107 w 154"/>
                  <a:gd name="T21" fmla="*/ 12 h 194"/>
                  <a:gd name="T22" fmla="*/ 141 w 154"/>
                  <a:gd name="T23" fmla="*/ 20 h 194"/>
                  <a:gd name="T24" fmla="*/ 125 w 154"/>
                  <a:gd name="T25" fmla="*/ 84 h 194"/>
                  <a:gd name="T26" fmla="*/ 128 w 154"/>
                  <a:gd name="T27" fmla="*/ 131 h 194"/>
                  <a:gd name="T28" fmla="*/ 137 w 154"/>
                  <a:gd name="T29" fmla="*/ 156 h 194"/>
                  <a:gd name="T30" fmla="*/ 131 w 154"/>
                  <a:gd name="T31" fmla="*/ 167 h 194"/>
                  <a:gd name="T32" fmla="*/ 111 w 154"/>
                  <a:gd name="T33" fmla="*/ 192 h 194"/>
                  <a:gd name="T34" fmla="*/ 81 w 154"/>
                  <a:gd name="T35" fmla="*/ 185 h 194"/>
                  <a:gd name="T36" fmla="*/ 75 w 154"/>
                  <a:gd name="T37" fmla="*/ 191 h 1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4" h="194">
                    <a:moveTo>
                      <a:pt x="75" y="191"/>
                    </a:moveTo>
                    <a:cubicBezTo>
                      <a:pt x="70" y="184"/>
                      <a:pt x="69" y="181"/>
                      <a:pt x="60" y="179"/>
                    </a:cubicBezTo>
                    <a:cubicBezTo>
                      <a:pt x="59" y="173"/>
                      <a:pt x="56" y="170"/>
                      <a:pt x="53" y="165"/>
                    </a:cubicBezTo>
                    <a:cubicBezTo>
                      <a:pt x="51" y="150"/>
                      <a:pt x="55" y="133"/>
                      <a:pt x="47" y="120"/>
                    </a:cubicBezTo>
                    <a:cubicBezTo>
                      <a:pt x="45" y="82"/>
                      <a:pt x="41" y="80"/>
                      <a:pt x="24" y="51"/>
                    </a:cubicBezTo>
                    <a:cubicBezTo>
                      <a:pt x="22" y="38"/>
                      <a:pt x="18" y="32"/>
                      <a:pt x="8" y="24"/>
                    </a:cubicBezTo>
                    <a:cubicBezTo>
                      <a:pt x="6" y="19"/>
                      <a:pt x="3" y="15"/>
                      <a:pt x="0" y="11"/>
                    </a:cubicBezTo>
                    <a:cubicBezTo>
                      <a:pt x="3" y="3"/>
                      <a:pt x="16" y="4"/>
                      <a:pt x="24" y="0"/>
                    </a:cubicBezTo>
                    <a:cubicBezTo>
                      <a:pt x="29" y="2"/>
                      <a:pt x="34" y="9"/>
                      <a:pt x="39" y="11"/>
                    </a:cubicBezTo>
                    <a:cubicBezTo>
                      <a:pt x="52" y="13"/>
                      <a:pt x="84" y="7"/>
                      <a:pt x="101" y="8"/>
                    </a:cubicBezTo>
                    <a:cubicBezTo>
                      <a:pt x="112" y="8"/>
                      <a:pt x="100" y="10"/>
                      <a:pt x="107" y="12"/>
                    </a:cubicBezTo>
                    <a:cubicBezTo>
                      <a:pt x="114" y="14"/>
                      <a:pt x="138" y="8"/>
                      <a:pt x="141" y="20"/>
                    </a:cubicBezTo>
                    <a:cubicBezTo>
                      <a:pt x="140" y="43"/>
                      <a:pt x="154" y="81"/>
                      <a:pt x="125" y="84"/>
                    </a:cubicBezTo>
                    <a:cubicBezTo>
                      <a:pt x="123" y="103"/>
                      <a:pt x="127" y="117"/>
                      <a:pt x="128" y="131"/>
                    </a:cubicBezTo>
                    <a:cubicBezTo>
                      <a:pt x="130" y="143"/>
                      <a:pt x="137" y="150"/>
                      <a:pt x="137" y="156"/>
                    </a:cubicBezTo>
                    <a:cubicBezTo>
                      <a:pt x="137" y="162"/>
                      <a:pt x="135" y="161"/>
                      <a:pt x="131" y="167"/>
                    </a:cubicBezTo>
                    <a:cubicBezTo>
                      <a:pt x="127" y="173"/>
                      <a:pt x="119" y="189"/>
                      <a:pt x="111" y="192"/>
                    </a:cubicBezTo>
                    <a:cubicBezTo>
                      <a:pt x="93" y="191"/>
                      <a:pt x="92" y="194"/>
                      <a:pt x="81" y="185"/>
                    </a:cubicBezTo>
                    <a:cubicBezTo>
                      <a:pt x="77" y="186"/>
                      <a:pt x="66" y="187"/>
                      <a:pt x="75" y="19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3" name="Freeform 55">
                <a:extLst>
                  <a:ext uri="{FF2B5EF4-FFF2-40B4-BE49-F238E27FC236}">
                    <a16:creationId xmlns:a16="http://schemas.microsoft.com/office/drawing/2014/main" id="{AFF1F4EE-5851-464D-A608-29F06B846FCC}"/>
                  </a:ext>
                </a:extLst>
              </p:cNvPr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gray">
              <a:xfrm>
                <a:off x="4894828" y="4809386"/>
                <a:ext cx="223631" cy="248123"/>
              </a:xfrm>
              <a:custGeom>
                <a:avLst/>
                <a:gdLst>
                  <a:gd name="T0" fmla="*/ 20 w 149"/>
                  <a:gd name="T1" fmla="*/ 11 h 161"/>
                  <a:gd name="T2" fmla="*/ 20 w 149"/>
                  <a:gd name="T3" fmla="*/ 21 h 161"/>
                  <a:gd name="T4" fmla="*/ 20 w 149"/>
                  <a:gd name="T5" fmla="*/ 35 h 161"/>
                  <a:gd name="T6" fmla="*/ 20 w 149"/>
                  <a:gd name="T7" fmla="*/ 48 h 161"/>
                  <a:gd name="T8" fmla="*/ 18 w 149"/>
                  <a:gd name="T9" fmla="*/ 69 h 161"/>
                  <a:gd name="T10" fmla="*/ 3 w 149"/>
                  <a:gd name="T11" fmla="*/ 84 h 161"/>
                  <a:gd name="T12" fmla="*/ 2 w 149"/>
                  <a:gd name="T13" fmla="*/ 94 h 161"/>
                  <a:gd name="T14" fmla="*/ 3 w 149"/>
                  <a:gd name="T15" fmla="*/ 123 h 161"/>
                  <a:gd name="T16" fmla="*/ 14 w 149"/>
                  <a:gd name="T17" fmla="*/ 147 h 161"/>
                  <a:gd name="T18" fmla="*/ 32 w 149"/>
                  <a:gd name="T19" fmla="*/ 144 h 161"/>
                  <a:gd name="T20" fmla="*/ 47 w 149"/>
                  <a:gd name="T21" fmla="*/ 129 h 161"/>
                  <a:gd name="T22" fmla="*/ 66 w 149"/>
                  <a:gd name="T23" fmla="*/ 131 h 161"/>
                  <a:gd name="T24" fmla="*/ 80 w 149"/>
                  <a:gd name="T25" fmla="*/ 128 h 161"/>
                  <a:gd name="T26" fmla="*/ 98 w 149"/>
                  <a:gd name="T27" fmla="*/ 117 h 161"/>
                  <a:gd name="T28" fmla="*/ 107 w 149"/>
                  <a:gd name="T29" fmla="*/ 104 h 161"/>
                  <a:gd name="T30" fmla="*/ 116 w 149"/>
                  <a:gd name="T31" fmla="*/ 89 h 161"/>
                  <a:gd name="T32" fmla="*/ 134 w 149"/>
                  <a:gd name="T33" fmla="*/ 81 h 161"/>
                  <a:gd name="T34" fmla="*/ 138 w 149"/>
                  <a:gd name="T35" fmla="*/ 78 h 161"/>
                  <a:gd name="T36" fmla="*/ 137 w 149"/>
                  <a:gd name="T37" fmla="*/ 68 h 161"/>
                  <a:gd name="T38" fmla="*/ 114 w 149"/>
                  <a:gd name="T39" fmla="*/ 63 h 161"/>
                  <a:gd name="T40" fmla="*/ 99 w 149"/>
                  <a:gd name="T41" fmla="*/ 42 h 161"/>
                  <a:gd name="T42" fmla="*/ 84 w 149"/>
                  <a:gd name="T43" fmla="*/ 24 h 161"/>
                  <a:gd name="T44" fmla="*/ 74 w 149"/>
                  <a:gd name="T45" fmla="*/ 9 h 161"/>
                  <a:gd name="T46" fmla="*/ 36 w 149"/>
                  <a:gd name="T47" fmla="*/ 3 h 161"/>
                  <a:gd name="T48" fmla="*/ 24 w 149"/>
                  <a:gd name="T49" fmla="*/ 9 h 161"/>
                  <a:gd name="T50" fmla="*/ 20 w 149"/>
                  <a:gd name="T51" fmla="*/ 11 h 1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49" h="161">
                    <a:moveTo>
                      <a:pt x="20" y="11"/>
                    </a:moveTo>
                    <a:cubicBezTo>
                      <a:pt x="19" y="13"/>
                      <a:pt x="20" y="15"/>
                      <a:pt x="20" y="21"/>
                    </a:cubicBezTo>
                    <a:cubicBezTo>
                      <a:pt x="20" y="25"/>
                      <a:pt x="20" y="31"/>
                      <a:pt x="20" y="35"/>
                    </a:cubicBezTo>
                    <a:cubicBezTo>
                      <a:pt x="20" y="39"/>
                      <a:pt x="20" y="42"/>
                      <a:pt x="20" y="48"/>
                    </a:cubicBezTo>
                    <a:cubicBezTo>
                      <a:pt x="20" y="54"/>
                      <a:pt x="21" y="63"/>
                      <a:pt x="18" y="69"/>
                    </a:cubicBezTo>
                    <a:cubicBezTo>
                      <a:pt x="16" y="74"/>
                      <a:pt x="5" y="79"/>
                      <a:pt x="3" y="84"/>
                    </a:cubicBezTo>
                    <a:cubicBezTo>
                      <a:pt x="2" y="88"/>
                      <a:pt x="0" y="86"/>
                      <a:pt x="2" y="94"/>
                    </a:cubicBezTo>
                    <a:cubicBezTo>
                      <a:pt x="2" y="100"/>
                      <a:pt x="1" y="114"/>
                      <a:pt x="3" y="123"/>
                    </a:cubicBezTo>
                    <a:cubicBezTo>
                      <a:pt x="5" y="132"/>
                      <a:pt x="9" y="144"/>
                      <a:pt x="14" y="147"/>
                    </a:cubicBezTo>
                    <a:cubicBezTo>
                      <a:pt x="16" y="161"/>
                      <a:pt x="22" y="150"/>
                      <a:pt x="32" y="144"/>
                    </a:cubicBezTo>
                    <a:cubicBezTo>
                      <a:pt x="38" y="143"/>
                      <a:pt x="41" y="131"/>
                      <a:pt x="47" y="129"/>
                    </a:cubicBezTo>
                    <a:cubicBezTo>
                      <a:pt x="53" y="127"/>
                      <a:pt x="61" y="131"/>
                      <a:pt x="66" y="131"/>
                    </a:cubicBezTo>
                    <a:cubicBezTo>
                      <a:pt x="71" y="131"/>
                      <a:pt x="75" y="130"/>
                      <a:pt x="80" y="128"/>
                    </a:cubicBezTo>
                    <a:cubicBezTo>
                      <a:pt x="90" y="126"/>
                      <a:pt x="90" y="122"/>
                      <a:pt x="98" y="117"/>
                    </a:cubicBezTo>
                    <a:cubicBezTo>
                      <a:pt x="101" y="113"/>
                      <a:pt x="105" y="109"/>
                      <a:pt x="107" y="104"/>
                    </a:cubicBezTo>
                    <a:cubicBezTo>
                      <a:pt x="108" y="95"/>
                      <a:pt x="108" y="94"/>
                      <a:pt x="116" y="89"/>
                    </a:cubicBezTo>
                    <a:cubicBezTo>
                      <a:pt x="120" y="82"/>
                      <a:pt x="126" y="83"/>
                      <a:pt x="134" y="81"/>
                    </a:cubicBezTo>
                    <a:cubicBezTo>
                      <a:pt x="135" y="80"/>
                      <a:pt x="136" y="79"/>
                      <a:pt x="138" y="78"/>
                    </a:cubicBezTo>
                    <a:cubicBezTo>
                      <a:pt x="147" y="74"/>
                      <a:pt x="149" y="70"/>
                      <a:pt x="137" y="68"/>
                    </a:cubicBezTo>
                    <a:cubicBezTo>
                      <a:pt x="129" y="65"/>
                      <a:pt x="122" y="66"/>
                      <a:pt x="114" y="63"/>
                    </a:cubicBezTo>
                    <a:cubicBezTo>
                      <a:pt x="113" y="45"/>
                      <a:pt x="114" y="47"/>
                      <a:pt x="99" y="42"/>
                    </a:cubicBezTo>
                    <a:cubicBezTo>
                      <a:pt x="91" y="36"/>
                      <a:pt x="94" y="28"/>
                      <a:pt x="84" y="24"/>
                    </a:cubicBezTo>
                    <a:cubicBezTo>
                      <a:pt x="80" y="18"/>
                      <a:pt x="81" y="12"/>
                      <a:pt x="74" y="9"/>
                    </a:cubicBezTo>
                    <a:cubicBezTo>
                      <a:pt x="62" y="11"/>
                      <a:pt x="48" y="5"/>
                      <a:pt x="36" y="3"/>
                    </a:cubicBezTo>
                    <a:cubicBezTo>
                      <a:pt x="31" y="0"/>
                      <a:pt x="24" y="9"/>
                      <a:pt x="24" y="9"/>
                    </a:cubicBezTo>
                    <a:cubicBezTo>
                      <a:pt x="23" y="10"/>
                      <a:pt x="20" y="11"/>
                      <a:pt x="20" y="1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4" name="Freeform 56">
                <a:extLst>
                  <a:ext uri="{FF2B5EF4-FFF2-40B4-BE49-F238E27FC236}">
                    <a16:creationId xmlns:a16="http://schemas.microsoft.com/office/drawing/2014/main" id="{A5DE24FA-22D7-4971-892B-7EFDE8E2DC43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gray">
              <a:xfrm>
                <a:off x="5414659" y="4679931"/>
                <a:ext cx="167353" cy="328262"/>
              </a:xfrm>
              <a:custGeom>
                <a:avLst/>
                <a:gdLst>
                  <a:gd name="T0" fmla="*/ 15 w 112"/>
                  <a:gd name="T1" fmla="*/ 204 h 213"/>
                  <a:gd name="T2" fmla="*/ 3 w 112"/>
                  <a:gd name="T3" fmla="*/ 179 h 213"/>
                  <a:gd name="T4" fmla="*/ 14 w 112"/>
                  <a:gd name="T5" fmla="*/ 140 h 213"/>
                  <a:gd name="T6" fmla="*/ 12 w 112"/>
                  <a:gd name="T7" fmla="*/ 98 h 213"/>
                  <a:gd name="T8" fmla="*/ 47 w 112"/>
                  <a:gd name="T9" fmla="*/ 56 h 213"/>
                  <a:gd name="T10" fmla="*/ 59 w 112"/>
                  <a:gd name="T11" fmla="*/ 44 h 213"/>
                  <a:gd name="T12" fmla="*/ 69 w 112"/>
                  <a:gd name="T13" fmla="*/ 32 h 213"/>
                  <a:gd name="T14" fmla="*/ 80 w 112"/>
                  <a:gd name="T15" fmla="*/ 18 h 213"/>
                  <a:gd name="T16" fmla="*/ 90 w 112"/>
                  <a:gd name="T17" fmla="*/ 0 h 213"/>
                  <a:gd name="T18" fmla="*/ 101 w 112"/>
                  <a:gd name="T19" fmla="*/ 17 h 213"/>
                  <a:gd name="T20" fmla="*/ 110 w 112"/>
                  <a:gd name="T21" fmla="*/ 56 h 213"/>
                  <a:gd name="T22" fmla="*/ 102 w 112"/>
                  <a:gd name="T23" fmla="*/ 68 h 213"/>
                  <a:gd name="T24" fmla="*/ 95 w 112"/>
                  <a:gd name="T25" fmla="*/ 90 h 213"/>
                  <a:gd name="T26" fmla="*/ 80 w 112"/>
                  <a:gd name="T27" fmla="*/ 129 h 213"/>
                  <a:gd name="T28" fmla="*/ 74 w 112"/>
                  <a:gd name="T29" fmla="*/ 159 h 213"/>
                  <a:gd name="T30" fmla="*/ 66 w 112"/>
                  <a:gd name="T31" fmla="*/ 186 h 213"/>
                  <a:gd name="T32" fmla="*/ 33 w 112"/>
                  <a:gd name="T33" fmla="*/ 210 h 213"/>
                  <a:gd name="T34" fmla="*/ 15 w 112"/>
                  <a:gd name="T35" fmla="*/ 204 h 2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12" h="213">
                    <a:moveTo>
                      <a:pt x="15" y="204"/>
                    </a:moveTo>
                    <a:cubicBezTo>
                      <a:pt x="9" y="195"/>
                      <a:pt x="12" y="181"/>
                      <a:pt x="3" y="179"/>
                    </a:cubicBezTo>
                    <a:cubicBezTo>
                      <a:pt x="0" y="163"/>
                      <a:pt x="0" y="148"/>
                      <a:pt x="14" y="140"/>
                    </a:cubicBezTo>
                    <a:cubicBezTo>
                      <a:pt x="21" y="128"/>
                      <a:pt x="18" y="110"/>
                      <a:pt x="12" y="98"/>
                    </a:cubicBezTo>
                    <a:cubicBezTo>
                      <a:pt x="16" y="66"/>
                      <a:pt x="15" y="61"/>
                      <a:pt x="47" y="56"/>
                    </a:cubicBezTo>
                    <a:cubicBezTo>
                      <a:pt x="52" y="52"/>
                      <a:pt x="54" y="48"/>
                      <a:pt x="59" y="44"/>
                    </a:cubicBezTo>
                    <a:cubicBezTo>
                      <a:pt x="62" y="39"/>
                      <a:pt x="64" y="36"/>
                      <a:pt x="69" y="32"/>
                    </a:cubicBezTo>
                    <a:cubicBezTo>
                      <a:pt x="73" y="25"/>
                      <a:pt x="72" y="21"/>
                      <a:pt x="80" y="18"/>
                    </a:cubicBezTo>
                    <a:cubicBezTo>
                      <a:pt x="85" y="12"/>
                      <a:pt x="83" y="5"/>
                      <a:pt x="90" y="0"/>
                    </a:cubicBezTo>
                    <a:cubicBezTo>
                      <a:pt x="99" y="3"/>
                      <a:pt x="96" y="9"/>
                      <a:pt x="101" y="17"/>
                    </a:cubicBezTo>
                    <a:cubicBezTo>
                      <a:pt x="103" y="31"/>
                      <a:pt x="105" y="43"/>
                      <a:pt x="110" y="56"/>
                    </a:cubicBezTo>
                    <a:cubicBezTo>
                      <a:pt x="112" y="66"/>
                      <a:pt x="107" y="60"/>
                      <a:pt x="102" y="68"/>
                    </a:cubicBezTo>
                    <a:cubicBezTo>
                      <a:pt x="105" y="78"/>
                      <a:pt x="103" y="84"/>
                      <a:pt x="95" y="90"/>
                    </a:cubicBezTo>
                    <a:cubicBezTo>
                      <a:pt x="94" y="103"/>
                      <a:pt x="91" y="120"/>
                      <a:pt x="80" y="129"/>
                    </a:cubicBezTo>
                    <a:cubicBezTo>
                      <a:pt x="79" y="140"/>
                      <a:pt x="81" y="150"/>
                      <a:pt x="74" y="159"/>
                    </a:cubicBezTo>
                    <a:cubicBezTo>
                      <a:pt x="72" y="169"/>
                      <a:pt x="71" y="177"/>
                      <a:pt x="66" y="186"/>
                    </a:cubicBezTo>
                    <a:cubicBezTo>
                      <a:pt x="64" y="211"/>
                      <a:pt x="57" y="206"/>
                      <a:pt x="33" y="210"/>
                    </a:cubicBezTo>
                    <a:cubicBezTo>
                      <a:pt x="25" y="213"/>
                      <a:pt x="20" y="209"/>
                      <a:pt x="15" y="204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5" name="Freeform 57">
                <a:extLst>
                  <a:ext uri="{FF2B5EF4-FFF2-40B4-BE49-F238E27FC236}">
                    <a16:creationId xmlns:a16="http://schemas.microsoft.com/office/drawing/2014/main" id="{9F6C37A0-61A1-4E58-9D8C-CD00D4338B4C}"/>
                  </a:ext>
                </a:extLst>
              </p:cNvPr>
              <p:cNvSpPr>
                <a:spLocks/>
              </p:cNvSpPr>
              <p:nvPr>
                <p:custDataLst>
                  <p:tags r:id="rId53"/>
                </p:custDataLst>
              </p:nvPr>
            </p:nvSpPr>
            <p:spPr bwMode="gray">
              <a:xfrm>
                <a:off x="5139193" y="5017439"/>
                <a:ext cx="44430" cy="38529"/>
              </a:xfrm>
              <a:custGeom>
                <a:avLst/>
                <a:gdLst>
                  <a:gd name="T0" fmla="*/ 18 w 30"/>
                  <a:gd name="T1" fmla="*/ 0 h 25"/>
                  <a:gd name="T2" fmla="*/ 5 w 30"/>
                  <a:gd name="T3" fmla="*/ 23 h 25"/>
                  <a:gd name="T4" fmla="*/ 20 w 30"/>
                  <a:gd name="T5" fmla="*/ 21 h 25"/>
                  <a:gd name="T6" fmla="*/ 18 w 30"/>
                  <a:gd name="T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25">
                    <a:moveTo>
                      <a:pt x="18" y="0"/>
                    </a:moveTo>
                    <a:cubicBezTo>
                      <a:pt x="0" y="3"/>
                      <a:pt x="3" y="3"/>
                      <a:pt x="5" y="23"/>
                    </a:cubicBezTo>
                    <a:cubicBezTo>
                      <a:pt x="10" y="22"/>
                      <a:pt x="17" y="25"/>
                      <a:pt x="20" y="21"/>
                    </a:cubicBezTo>
                    <a:cubicBezTo>
                      <a:pt x="30" y="7"/>
                      <a:pt x="9" y="6"/>
                      <a:pt x="18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6" name="Freeform 58">
                <a:extLst>
                  <a:ext uri="{FF2B5EF4-FFF2-40B4-BE49-F238E27FC236}">
                    <a16:creationId xmlns:a16="http://schemas.microsoft.com/office/drawing/2014/main" id="{F72E8F29-BE0B-41FB-8ED5-189A4169FBAF}"/>
                  </a:ext>
                </a:extLst>
              </p:cNvPr>
              <p:cNvSpPr>
                <a:spLocks/>
              </p:cNvSpPr>
              <p:nvPr>
                <p:custDataLst>
                  <p:tags r:id="rId54"/>
                </p:custDataLst>
              </p:nvPr>
            </p:nvSpPr>
            <p:spPr bwMode="gray">
              <a:xfrm>
                <a:off x="5004422" y="3628879"/>
                <a:ext cx="263618" cy="283568"/>
              </a:xfrm>
              <a:custGeom>
                <a:avLst/>
                <a:gdLst>
                  <a:gd name="T0" fmla="*/ 8 w 175"/>
                  <a:gd name="T1" fmla="*/ 178 h 184"/>
                  <a:gd name="T2" fmla="*/ 151 w 175"/>
                  <a:gd name="T3" fmla="*/ 174 h 184"/>
                  <a:gd name="T4" fmla="*/ 157 w 175"/>
                  <a:gd name="T5" fmla="*/ 145 h 184"/>
                  <a:gd name="T6" fmla="*/ 149 w 175"/>
                  <a:gd name="T7" fmla="*/ 111 h 184"/>
                  <a:gd name="T8" fmla="*/ 131 w 175"/>
                  <a:gd name="T9" fmla="*/ 79 h 184"/>
                  <a:gd name="T10" fmla="*/ 119 w 175"/>
                  <a:gd name="T11" fmla="*/ 51 h 184"/>
                  <a:gd name="T12" fmla="*/ 122 w 175"/>
                  <a:gd name="T13" fmla="*/ 43 h 184"/>
                  <a:gd name="T14" fmla="*/ 127 w 175"/>
                  <a:gd name="T15" fmla="*/ 61 h 184"/>
                  <a:gd name="T16" fmla="*/ 136 w 175"/>
                  <a:gd name="T17" fmla="*/ 79 h 184"/>
                  <a:gd name="T18" fmla="*/ 145 w 175"/>
                  <a:gd name="T19" fmla="*/ 28 h 184"/>
                  <a:gd name="T20" fmla="*/ 115 w 175"/>
                  <a:gd name="T21" fmla="*/ 24 h 184"/>
                  <a:gd name="T22" fmla="*/ 100 w 175"/>
                  <a:gd name="T23" fmla="*/ 10 h 184"/>
                  <a:gd name="T24" fmla="*/ 70 w 175"/>
                  <a:gd name="T25" fmla="*/ 27 h 184"/>
                  <a:gd name="T26" fmla="*/ 41 w 175"/>
                  <a:gd name="T27" fmla="*/ 15 h 184"/>
                  <a:gd name="T28" fmla="*/ 7 w 175"/>
                  <a:gd name="T29" fmla="*/ 13 h 184"/>
                  <a:gd name="T30" fmla="*/ 1 w 175"/>
                  <a:gd name="T31" fmla="*/ 27 h 184"/>
                  <a:gd name="T32" fmla="*/ 5 w 175"/>
                  <a:gd name="T33" fmla="*/ 106 h 184"/>
                  <a:gd name="T34" fmla="*/ 4 w 175"/>
                  <a:gd name="T35" fmla="*/ 177 h 184"/>
                  <a:gd name="T36" fmla="*/ 8 w 175"/>
                  <a:gd name="T37" fmla="*/ 178 h 1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5" h="184">
                    <a:moveTo>
                      <a:pt x="8" y="178"/>
                    </a:moveTo>
                    <a:cubicBezTo>
                      <a:pt x="34" y="173"/>
                      <a:pt x="127" y="184"/>
                      <a:pt x="151" y="174"/>
                    </a:cubicBezTo>
                    <a:cubicBezTo>
                      <a:pt x="175" y="169"/>
                      <a:pt x="157" y="155"/>
                      <a:pt x="157" y="145"/>
                    </a:cubicBezTo>
                    <a:cubicBezTo>
                      <a:pt x="157" y="135"/>
                      <a:pt x="153" y="122"/>
                      <a:pt x="149" y="111"/>
                    </a:cubicBezTo>
                    <a:cubicBezTo>
                      <a:pt x="147" y="99"/>
                      <a:pt x="137" y="89"/>
                      <a:pt x="131" y="79"/>
                    </a:cubicBezTo>
                    <a:cubicBezTo>
                      <a:pt x="130" y="67"/>
                      <a:pt x="129" y="57"/>
                      <a:pt x="119" y="51"/>
                    </a:cubicBezTo>
                    <a:cubicBezTo>
                      <a:pt x="118" y="48"/>
                      <a:pt x="119" y="42"/>
                      <a:pt x="122" y="43"/>
                    </a:cubicBezTo>
                    <a:cubicBezTo>
                      <a:pt x="124" y="44"/>
                      <a:pt x="126" y="58"/>
                      <a:pt x="127" y="61"/>
                    </a:cubicBezTo>
                    <a:cubicBezTo>
                      <a:pt x="128" y="68"/>
                      <a:pt x="128" y="77"/>
                      <a:pt x="136" y="79"/>
                    </a:cubicBezTo>
                    <a:cubicBezTo>
                      <a:pt x="162" y="76"/>
                      <a:pt x="151" y="81"/>
                      <a:pt x="145" y="28"/>
                    </a:cubicBezTo>
                    <a:cubicBezTo>
                      <a:pt x="144" y="18"/>
                      <a:pt x="125" y="24"/>
                      <a:pt x="115" y="24"/>
                    </a:cubicBezTo>
                    <a:cubicBezTo>
                      <a:pt x="109" y="20"/>
                      <a:pt x="106" y="15"/>
                      <a:pt x="100" y="10"/>
                    </a:cubicBezTo>
                    <a:cubicBezTo>
                      <a:pt x="87" y="13"/>
                      <a:pt x="82" y="21"/>
                      <a:pt x="70" y="27"/>
                    </a:cubicBezTo>
                    <a:cubicBezTo>
                      <a:pt x="60" y="24"/>
                      <a:pt x="51" y="17"/>
                      <a:pt x="41" y="15"/>
                    </a:cubicBezTo>
                    <a:cubicBezTo>
                      <a:pt x="30" y="9"/>
                      <a:pt x="21" y="12"/>
                      <a:pt x="7" y="13"/>
                    </a:cubicBezTo>
                    <a:cubicBezTo>
                      <a:pt x="0" y="15"/>
                      <a:pt x="1" y="0"/>
                      <a:pt x="1" y="27"/>
                    </a:cubicBezTo>
                    <a:cubicBezTo>
                      <a:pt x="0" y="42"/>
                      <a:pt x="5" y="81"/>
                      <a:pt x="5" y="106"/>
                    </a:cubicBezTo>
                    <a:cubicBezTo>
                      <a:pt x="5" y="131"/>
                      <a:pt x="3" y="165"/>
                      <a:pt x="4" y="177"/>
                    </a:cubicBezTo>
                    <a:cubicBezTo>
                      <a:pt x="9" y="174"/>
                      <a:pt x="13" y="179"/>
                      <a:pt x="8" y="17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7" name="Freeform 59">
                <a:extLst>
                  <a:ext uri="{FF2B5EF4-FFF2-40B4-BE49-F238E27FC236}">
                    <a16:creationId xmlns:a16="http://schemas.microsoft.com/office/drawing/2014/main" id="{61802D47-9CF8-4C7D-90C7-C20BD7D1040B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gray">
              <a:xfrm>
                <a:off x="4075837" y="3744464"/>
                <a:ext cx="219188" cy="180313"/>
              </a:xfrm>
              <a:custGeom>
                <a:avLst/>
                <a:gdLst>
                  <a:gd name="T0" fmla="*/ 118 w 146"/>
                  <a:gd name="T1" fmla="*/ 0 h 117"/>
                  <a:gd name="T2" fmla="*/ 62 w 146"/>
                  <a:gd name="T3" fmla="*/ 2 h 117"/>
                  <a:gd name="T4" fmla="*/ 54 w 146"/>
                  <a:gd name="T5" fmla="*/ 4 h 117"/>
                  <a:gd name="T6" fmla="*/ 50 w 146"/>
                  <a:gd name="T7" fmla="*/ 24 h 117"/>
                  <a:gd name="T8" fmla="*/ 32 w 146"/>
                  <a:gd name="T9" fmla="*/ 30 h 117"/>
                  <a:gd name="T10" fmla="*/ 22 w 146"/>
                  <a:gd name="T11" fmla="*/ 60 h 117"/>
                  <a:gd name="T12" fmla="*/ 4 w 146"/>
                  <a:gd name="T13" fmla="*/ 92 h 117"/>
                  <a:gd name="T14" fmla="*/ 3 w 146"/>
                  <a:gd name="T15" fmla="*/ 114 h 117"/>
                  <a:gd name="T16" fmla="*/ 19 w 146"/>
                  <a:gd name="T17" fmla="*/ 108 h 117"/>
                  <a:gd name="T18" fmla="*/ 43 w 146"/>
                  <a:gd name="T19" fmla="*/ 106 h 117"/>
                  <a:gd name="T20" fmla="*/ 58 w 146"/>
                  <a:gd name="T21" fmla="*/ 108 h 117"/>
                  <a:gd name="T22" fmla="*/ 60 w 146"/>
                  <a:gd name="T23" fmla="*/ 90 h 117"/>
                  <a:gd name="T24" fmla="*/ 60 w 146"/>
                  <a:gd name="T25" fmla="*/ 76 h 117"/>
                  <a:gd name="T26" fmla="*/ 72 w 146"/>
                  <a:gd name="T27" fmla="*/ 72 h 117"/>
                  <a:gd name="T28" fmla="*/ 76 w 146"/>
                  <a:gd name="T29" fmla="*/ 66 h 117"/>
                  <a:gd name="T30" fmla="*/ 75 w 146"/>
                  <a:gd name="T31" fmla="*/ 52 h 117"/>
                  <a:gd name="T32" fmla="*/ 75 w 146"/>
                  <a:gd name="T33" fmla="*/ 46 h 117"/>
                  <a:gd name="T34" fmla="*/ 78 w 146"/>
                  <a:gd name="T35" fmla="*/ 33 h 117"/>
                  <a:gd name="T36" fmla="*/ 88 w 146"/>
                  <a:gd name="T37" fmla="*/ 30 h 117"/>
                  <a:gd name="T38" fmla="*/ 106 w 146"/>
                  <a:gd name="T39" fmla="*/ 34 h 117"/>
                  <a:gd name="T40" fmla="*/ 130 w 146"/>
                  <a:gd name="T41" fmla="*/ 30 h 117"/>
                  <a:gd name="T42" fmla="*/ 138 w 146"/>
                  <a:gd name="T43" fmla="*/ 21 h 117"/>
                  <a:gd name="T44" fmla="*/ 118 w 146"/>
                  <a:gd name="T45" fmla="*/ 0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46" h="117">
                    <a:moveTo>
                      <a:pt x="118" y="0"/>
                    </a:moveTo>
                    <a:cubicBezTo>
                      <a:pt x="99" y="1"/>
                      <a:pt x="81" y="1"/>
                      <a:pt x="62" y="2"/>
                    </a:cubicBezTo>
                    <a:cubicBezTo>
                      <a:pt x="59" y="2"/>
                      <a:pt x="56" y="2"/>
                      <a:pt x="54" y="4"/>
                    </a:cubicBezTo>
                    <a:cubicBezTo>
                      <a:pt x="50" y="10"/>
                      <a:pt x="55" y="20"/>
                      <a:pt x="50" y="24"/>
                    </a:cubicBezTo>
                    <a:cubicBezTo>
                      <a:pt x="45" y="28"/>
                      <a:pt x="32" y="30"/>
                      <a:pt x="32" y="30"/>
                    </a:cubicBezTo>
                    <a:cubicBezTo>
                      <a:pt x="28" y="42"/>
                      <a:pt x="35" y="56"/>
                      <a:pt x="22" y="60"/>
                    </a:cubicBezTo>
                    <a:cubicBezTo>
                      <a:pt x="15" y="71"/>
                      <a:pt x="11" y="81"/>
                      <a:pt x="4" y="92"/>
                    </a:cubicBezTo>
                    <a:cubicBezTo>
                      <a:pt x="0" y="98"/>
                      <a:pt x="3" y="114"/>
                      <a:pt x="3" y="114"/>
                    </a:cubicBezTo>
                    <a:cubicBezTo>
                      <a:pt x="6" y="117"/>
                      <a:pt x="12" y="109"/>
                      <a:pt x="19" y="108"/>
                    </a:cubicBezTo>
                    <a:cubicBezTo>
                      <a:pt x="26" y="107"/>
                      <a:pt x="37" y="106"/>
                      <a:pt x="43" y="106"/>
                    </a:cubicBezTo>
                    <a:cubicBezTo>
                      <a:pt x="49" y="106"/>
                      <a:pt x="55" y="111"/>
                      <a:pt x="58" y="108"/>
                    </a:cubicBezTo>
                    <a:cubicBezTo>
                      <a:pt x="63" y="94"/>
                      <a:pt x="63" y="100"/>
                      <a:pt x="60" y="90"/>
                    </a:cubicBezTo>
                    <a:cubicBezTo>
                      <a:pt x="61" y="85"/>
                      <a:pt x="57" y="80"/>
                      <a:pt x="60" y="76"/>
                    </a:cubicBezTo>
                    <a:cubicBezTo>
                      <a:pt x="62" y="73"/>
                      <a:pt x="68" y="74"/>
                      <a:pt x="72" y="72"/>
                    </a:cubicBezTo>
                    <a:cubicBezTo>
                      <a:pt x="73" y="67"/>
                      <a:pt x="75" y="68"/>
                      <a:pt x="76" y="66"/>
                    </a:cubicBezTo>
                    <a:cubicBezTo>
                      <a:pt x="76" y="62"/>
                      <a:pt x="75" y="57"/>
                      <a:pt x="75" y="52"/>
                    </a:cubicBezTo>
                    <a:cubicBezTo>
                      <a:pt x="75" y="49"/>
                      <a:pt x="75" y="49"/>
                      <a:pt x="75" y="46"/>
                    </a:cubicBezTo>
                    <a:cubicBezTo>
                      <a:pt x="75" y="43"/>
                      <a:pt x="76" y="36"/>
                      <a:pt x="78" y="33"/>
                    </a:cubicBezTo>
                    <a:cubicBezTo>
                      <a:pt x="80" y="30"/>
                      <a:pt x="83" y="30"/>
                      <a:pt x="88" y="30"/>
                    </a:cubicBezTo>
                    <a:cubicBezTo>
                      <a:pt x="93" y="30"/>
                      <a:pt x="99" y="34"/>
                      <a:pt x="106" y="34"/>
                    </a:cubicBezTo>
                    <a:cubicBezTo>
                      <a:pt x="113" y="34"/>
                      <a:pt x="125" y="32"/>
                      <a:pt x="130" y="30"/>
                    </a:cubicBezTo>
                    <a:cubicBezTo>
                      <a:pt x="133" y="21"/>
                      <a:pt x="146" y="27"/>
                      <a:pt x="138" y="21"/>
                    </a:cubicBezTo>
                    <a:cubicBezTo>
                      <a:pt x="133" y="13"/>
                      <a:pt x="121" y="8"/>
                      <a:pt x="118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8" name="Freeform 60">
                <a:extLst>
                  <a:ext uri="{FF2B5EF4-FFF2-40B4-BE49-F238E27FC236}">
                    <a16:creationId xmlns:a16="http://schemas.microsoft.com/office/drawing/2014/main" id="{4DEC317B-DBF2-40B1-BBDD-01984D934739}"/>
                  </a:ext>
                </a:extLst>
              </p:cNvPr>
              <p:cNvSpPr>
                <a:spLocks/>
              </p:cNvSpPr>
              <p:nvPr>
                <p:custDataLst>
                  <p:tags r:id="rId56"/>
                </p:custDataLst>
              </p:nvPr>
            </p:nvSpPr>
            <p:spPr bwMode="gray">
              <a:xfrm>
                <a:off x="4161735" y="3536411"/>
                <a:ext cx="260656" cy="212676"/>
              </a:xfrm>
              <a:custGeom>
                <a:avLst/>
                <a:gdLst>
                  <a:gd name="T0" fmla="*/ 0 w 173"/>
                  <a:gd name="T1" fmla="*/ 138 h 138"/>
                  <a:gd name="T2" fmla="*/ 27 w 173"/>
                  <a:gd name="T3" fmla="*/ 124 h 138"/>
                  <a:gd name="T4" fmla="*/ 39 w 173"/>
                  <a:gd name="T5" fmla="*/ 114 h 138"/>
                  <a:gd name="T6" fmla="*/ 54 w 173"/>
                  <a:gd name="T7" fmla="*/ 63 h 138"/>
                  <a:gd name="T8" fmla="*/ 72 w 173"/>
                  <a:gd name="T9" fmla="*/ 42 h 138"/>
                  <a:gd name="T10" fmla="*/ 90 w 173"/>
                  <a:gd name="T11" fmla="*/ 30 h 138"/>
                  <a:gd name="T12" fmla="*/ 102 w 173"/>
                  <a:gd name="T13" fmla="*/ 15 h 138"/>
                  <a:gd name="T14" fmla="*/ 108 w 173"/>
                  <a:gd name="T15" fmla="*/ 0 h 138"/>
                  <a:gd name="T16" fmla="*/ 144 w 173"/>
                  <a:gd name="T17" fmla="*/ 4 h 138"/>
                  <a:gd name="T18" fmla="*/ 168 w 173"/>
                  <a:gd name="T19" fmla="*/ 12 h 138"/>
                  <a:gd name="T20" fmla="*/ 171 w 173"/>
                  <a:gd name="T21" fmla="*/ 57 h 138"/>
                  <a:gd name="T22" fmla="*/ 154 w 173"/>
                  <a:gd name="T23" fmla="*/ 64 h 138"/>
                  <a:gd name="T24" fmla="*/ 145 w 173"/>
                  <a:gd name="T25" fmla="*/ 76 h 138"/>
                  <a:gd name="T26" fmla="*/ 133 w 173"/>
                  <a:gd name="T27" fmla="*/ 85 h 138"/>
                  <a:gd name="T28" fmla="*/ 118 w 173"/>
                  <a:gd name="T29" fmla="*/ 96 h 138"/>
                  <a:gd name="T30" fmla="*/ 104 w 173"/>
                  <a:gd name="T31" fmla="*/ 108 h 138"/>
                  <a:gd name="T32" fmla="*/ 85 w 173"/>
                  <a:gd name="T33" fmla="*/ 109 h 138"/>
                  <a:gd name="T34" fmla="*/ 61 w 173"/>
                  <a:gd name="T35" fmla="*/ 133 h 138"/>
                  <a:gd name="T36" fmla="*/ 0 w 173"/>
                  <a:gd name="T37" fmla="*/ 138 h 1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73" h="138">
                    <a:moveTo>
                      <a:pt x="0" y="138"/>
                    </a:moveTo>
                    <a:cubicBezTo>
                      <a:pt x="6" y="135"/>
                      <a:pt x="21" y="128"/>
                      <a:pt x="27" y="124"/>
                    </a:cubicBezTo>
                    <a:cubicBezTo>
                      <a:pt x="31" y="118"/>
                      <a:pt x="31" y="115"/>
                      <a:pt x="39" y="114"/>
                    </a:cubicBezTo>
                    <a:cubicBezTo>
                      <a:pt x="60" y="104"/>
                      <a:pt x="42" y="80"/>
                      <a:pt x="54" y="63"/>
                    </a:cubicBezTo>
                    <a:cubicBezTo>
                      <a:pt x="56" y="53"/>
                      <a:pt x="61" y="44"/>
                      <a:pt x="72" y="42"/>
                    </a:cubicBezTo>
                    <a:cubicBezTo>
                      <a:pt x="77" y="36"/>
                      <a:pt x="82" y="32"/>
                      <a:pt x="90" y="30"/>
                    </a:cubicBezTo>
                    <a:cubicBezTo>
                      <a:pt x="97" y="27"/>
                      <a:pt x="98" y="21"/>
                      <a:pt x="102" y="15"/>
                    </a:cubicBezTo>
                    <a:cubicBezTo>
                      <a:pt x="103" y="9"/>
                      <a:pt x="104" y="5"/>
                      <a:pt x="108" y="0"/>
                    </a:cubicBezTo>
                    <a:cubicBezTo>
                      <a:pt x="121" y="1"/>
                      <a:pt x="131" y="3"/>
                      <a:pt x="144" y="4"/>
                    </a:cubicBezTo>
                    <a:cubicBezTo>
                      <a:pt x="154" y="5"/>
                      <a:pt x="163" y="3"/>
                      <a:pt x="168" y="12"/>
                    </a:cubicBezTo>
                    <a:cubicBezTo>
                      <a:pt x="172" y="20"/>
                      <a:pt x="173" y="48"/>
                      <a:pt x="171" y="57"/>
                    </a:cubicBezTo>
                    <a:cubicBezTo>
                      <a:pt x="169" y="66"/>
                      <a:pt x="158" y="61"/>
                      <a:pt x="154" y="64"/>
                    </a:cubicBezTo>
                    <a:cubicBezTo>
                      <a:pt x="149" y="68"/>
                      <a:pt x="148" y="71"/>
                      <a:pt x="145" y="76"/>
                    </a:cubicBezTo>
                    <a:cubicBezTo>
                      <a:pt x="143" y="84"/>
                      <a:pt x="140" y="84"/>
                      <a:pt x="133" y="85"/>
                    </a:cubicBezTo>
                    <a:cubicBezTo>
                      <a:pt x="127" y="89"/>
                      <a:pt x="124" y="92"/>
                      <a:pt x="118" y="96"/>
                    </a:cubicBezTo>
                    <a:cubicBezTo>
                      <a:pt x="113" y="100"/>
                      <a:pt x="109" y="106"/>
                      <a:pt x="104" y="108"/>
                    </a:cubicBezTo>
                    <a:cubicBezTo>
                      <a:pt x="99" y="110"/>
                      <a:pt x="92" y="105"/>
                      <a:pt x="85" y="109"/>
                    </a:cubicBezTo>
                    <a:cubicBezTo>
                      <a:pt x="77" y="113"/>
                      <a:pt x="62" y="133"/>
                      <a:pt x="61" y="133"/>
                    </a:cubicBezTo>
                    <a:cubicBezTo>
                      <a:pt x="44" y="134"/>
                      <a:pt x="17" y="138"/>
                      <a:pt x="0" y="13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69" name="Freeform 61">
                <a:extLst>
                  <a:ext uri="{FF2B5EF4-FFF2-40B4-BE49-F238E27FC236}">
                    <a16:creationId xmlns:a16="http://schemas.microsoft.com/office/drawing/2014/main" id="{8C241115-DF56-4444-9B17-4086118E4911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gray">
              <a:xfrm>
                <a:off x="5231015" y="3633503"/>
                <a:ext cx="460591" cy="403776"/>
              </a:xfrm>
              <a:custGeom>
                <a:avLst/>
                <a:gdLst>
                  <a:gd name="T0" fmla="*/ 7 w 306"/>
                  <a:gd name="T1" fmla="*/ 45 h 262"/>
                  <a:gd name="T2" fmla="*/ 23 w 306"/>
                  <a:gd name="T3" fmla="*/ 45 h 262"/>
                  <a:gd name="T4" fmla="*/ 37 w 306"/>
                  <a:gd name="T5" fmla="*/ 36 h 262"/>
                  <a:gd name="T6" fmla="*/ 35 w 306"/>
                  <a:gd name="T7" fmla="*/ 15 h 262"/>
                  <a:gd name="T8" fmla="*/ 37 w 306"/>
                  <a:gd name="T9" fmla="*/ 6 h 262"/>
                  <a:gd name="T10" fmla="*/ 59 w 306"/>
                  <a:gd name="T11" fmla="*/ 3 h 262"/>
                  <a:gd name="T12" fmla="*/ 79 w 306"/>
                  <a:gd name="T13" fmla="*/ 1 h 262"/>
                  <a:gd name="T14" fmla="*/ 94 w 306"/>
                  <a:gd name="T15" fmla="*/ 7 h 262"/>
                  <a:gd name="T16" fmla="*/ 106 w 306"/>
                  <a:gd name="T17" fmla="*/ 18 h 262"/>
                  <a:gd name="T18" fmla="*/ 121 w 306"/>
                  <a:gd name="T19" fmla="*/ 24 h 262"/>
                  <a:gd name="T20" fmla="*/ 128 w 306"/>
                  <a:gd name="T21" fmla="*/ 36 h 262"/>
                  <a:gd name="T22" fmla="*/ 128 w 306"/>
                  <a:gd name="T23" fmla="*/ 39 h 262"/>
                  <a:gd name="T24" fmla="*/ 139 w 306"/>
                  <a:gd name="T25" fmla="*/ 43 h 262"/>
                  <a:gd name="T26" fmla="*/ 154 w 306"/>
                  <a:gd name="T27" fmla="*/ 48 h 262"/>
                  <a:gd name="T28" fmla="*/ 185 w 306"/>
                  <a:gd name="T29" fmla="*/ 52 h 262"/>
                  <a:gd name="T30" fmla="*/ 200 w 306"/>
                  <a:gd name="T31" fmla="*/ 58 h 262"/>
                  <a:gd name="T32" fmla="*/ 214 w 306"/>
                  <a:gd name="T33" fmla="*/ 81 h 262"/>
                  <a:gd name="T34" fmla="*/ 223 w 306"/>
                  <a:gd name="T35" fmla="*/ 94 h 262"/>
                  <a:gd name="T36" fmla="*/ 235 w 306"/>
                  <a:gd name="T37" fmla="*/ 111 h 262"/>
                  <a:gd name="T38" fmla="*/ 247 w 306"/>
                  <a:gd name="T39" fmla="*/ 129 h 262"/>
                  <a:gd name="T40" fmla="*/ 254 w 306"/>
                  <a:gd name="T41" fmla="*/ 156 h 262"/>
                  <a:gd name="T42" fmla="*/ 280 w 306"/>
                  <a:gd name="T43" fmla="*/ 162 h 262"/>
                  <a:gd name="T44" fmla="*/ 302 w 306"/>
                  <a:gd name="T45" fmla="*/ 163 h 262"/>
                  <a:gd name="T46" fmla="*/ 304 w 306"/>
                  <a:gd name="T47" fmla="*/ 177 h 262"/>
                  <a:gd name="T48" fmla="*/ 296 w 306"/>
                  <a:gd name="T49" fmla="*/ 193 h 262"/>
                  <a:gd name="T50" fmla="*/ 281 w 306"/>
                  <a:gd name="T51" fmla="*/ 204 h 262"/>
                  <a:gd name="T52" fmla="*/ 274 w 306"/>
                  <a:gd name="T53" fmla="*/ 210 h 262"/>
                  <a:gd name="T54" fmla="*/ 257 w 306"/>
                  <a:gd name="T55" fmla="*/ 214 h 262"/>
                  <a:gd name="T56" fmla="*/ 236 w 306"/>
                  <a:gd name="T57" fmla="*/ 223 h 262"/>
                  <a:gd name="T58" fmla="*/ 208 w 306"/>
                  <a:gd name="T59" fmla="*/ 224 h 262"/>
                  <a:gd name="T60" fmla="*/ 197 w 306"/>
                  <a:gd name="T61" fmla="*/ 228 h 262"/>
                  <a:gd name="T62" fmla="*/ 191 w 306"/>
                  <a:gd name="T63" fmla="*/ 231 h 262"/>
                  <a:gd name="T64" fmla="*/ 182 w 306"/>
                  <a:gd name="T65" fmla="*/ 249 h 262"/>
                  <a:gd name="T66" fmla="*/ 169 w 306"/>
                  <a:gd name="T67" fmla="*/ 262 h 262"/>
                  <a:gd name="T68" fmla="*/ 137 w 306"/>
                  <a:gd name="T69" fmla="*/ 246 h 262"/>
                  <a:gd name="T70" fmla="*/ 113 w 306"/>
                  <a:gd name="T71" fmla="*/ 247 h 262"/>
                  <a:gd name="T72" fmla="*/ 107 w 306"/>
                  <a:gd name="T73" fmla="*/ 238 h 262"/>
                  <a:gd name="T74" fmla="*/ 83 w 306"/>
                  <a:gd name="T75" fmla="*/ 208 h 262"/>
                  <a:gd name="T76" fmla="*/ 68 w 306"/>
                  <a:gd name="T77" fmla="*/ 192 h 262"/>
                  <a:gd name="T78" fmla="*/ 61 w 306"/>
                  <a:gd name="T79" fmla="*/ 154 h 262"/>
                  <a:gd name="T80" fmla="*/ 37 w 306"/>
                  <a:gd name="T81" fmla="*/ 127 h 262"/>
                  <a:gd name="T82" fmla="*/ 31 w 306"/>
                  <a:gd name="T83" fmla="*/ 120 h 262"/>
                  <a:gd name="T84" fmla="*/ 20 w 306"/>
                  <a:gd name="T85" fmla="*/ 96 h 262"/>
                  <a:gd name="T86" fmla="*/ 8 w 306"/>
                  <a:gd name="T87" fmla="*/ 78 h 262"/>
                  <a:gd name="T88" fmla="*/ 1 w 306"/>
                  <a:gd name="T89" fmla="*/ 60 h 262"/>
                  <a:gd name="T90" fmla="*/ 7 w 306"/>
                  <a:gd name="T91" fmla="*/ 45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306" h="262">
                    <a:moveTo>
                      <a:pt x="7" y="45"/>
                    </a:moveTo>
                    <a:cubicBezTo>
                      <a:pt x="14" y="46"/>
                      <a:pt x="17" y="49"/>
                      <a:pt x="23" y="45"/>
                    </a:cubicBezTo>
                    <a:cubicBezTo>
                      <a:pt x="27" y="38"/>
                      <a:pt x="29" y="37"/>
                      <a:pt x="37" y="36"/>
                    </a:cubicBezTo>
                    <a:cubicBezTo>
                      <a:pt x="48" y="30"/>
                      <a:pt x="44" y="20"/>
                      <a:pt x="35" y="15"/>
                    </a:cubicBezTo>
                    <a:cubicBezTo>
                      <a:pt x="34" y="12"/>
                      <a:pt x="32" y="7"/>
                      <a:pt x="37" y="6"/>
                    </a:cubicBezTo>
                    <a:cubicBezTo>
                      <a:pt x="44" y="4"/>
                      <a:pt x="59" y="3"/>
                      <a:pt x="59" y="3"/>
                    </a:cubicBezTo>
                    <a:cubicBezTo>
                      <a:pt x="67" y="0"/>
                      <a:pt x="71" y="0"/>
                      <a:pt x="79" y="1"/>
                    </a:cubicBezTo>
                    <a:cubicBezTo>
                      <a:pt x="84" y="4"/>
                      <a:pt x="88" y="6"/>
                      <a:pt x="94" y="7"/>
                    </a:cubicBezTo>
                    <a:cubicBezTo>
                      <a:pt x="100" y="10"/>
                      <a:pt x="106" y="18"/>
                      <a:pt x="106" y="18"/>
                    </a:cubicBezTo>
                    <a:cubicBezTo>
                      <a:pt x="109" y="24"/>
                      <a:pt x="115" y="20"/>
                      <a:pt x="121" y="24"/>
                    </a:cubicBezTo>
                    <a:cubicBezTo>
                      <a:pt x="122" y="31"/>
                      <a:pt x="122" y="33"/>
                      <a:pt x="128" y="36"/>
                    </a:cubicBezTo>
                    <a:cubicBezTo>
                      <a:pt x="129" y="38"/>
                      <a:pt x="126" y="38"/>
                      <a:pt x="128" y="39"/>
                    </a:cubicBezTo>
                    <a:cubicBezTo>
                      <a:pt x="130" y="40"/>
                      <a:pt x="135" y="42"/>
                      <a:pt x="139" y="43"/>
                    </a:cubicBezTo>
                    <a:cubicBezTo>
                      <a:pt x="144" y="45"/>
                      <a:pt x="149" y="46"/>
                      <a:pt x="154" y="48"/>
                    </a:cubicBezTo>
                    <a:cubicBezTo>
                      <a:pt x="166" y="57"/>
                      <a:pt x="152" y="48"/>
                      <a:pt x="185" y="52"/>
                    </a:cubicBezTo>
                    <a:cubicBezTo>
                      <a:pt x="190" y="53"/>
                      <a:pt x="195" y="57"/>
                      <a:pt x="200" y="58"/>
                    </a:cubicBezTo>
                    <a:cubicBezTo>
                      <a:pt x="202" y="70"/>
                      <a:pt x="203" y="76"/>
                      <a:pt x="214" y="81"/>
                    </a:cubicBezTo>
                    <a:cubicBezTo>
                      <a:pt x="222" y="91"/>
                      <a:pt x="219" y="87"/>
                      <a:pt x="223" y="94"/>
                    </a:cubicBezTo>
                    <a:cubicBezTo>
                      <a:pt x="224" y="107"/>
                      <a:pt x="224" y="106"/>
                      <a:pt x="235" y="111"/>
                    </a:cubicBezTo>
                    <a:cubicBezTo>
                      <a:pt x="239" y="118"/>
                      <a:pt x="241" y="125"/>
                      <a:pt x="247" y="129"/>
                    </a:cubicBezTo>
                    <a:cubicBezTo>
                      <a:pt x="250" y="137"/>
                      <a:pt x="245" y="151"/>
                      <a:pt x="254" y="156"/>
                    </a:cubicBezTo>
                    <a:cubicBezTo>
                      <a:pt x="259" y="161"/>
                      <a:pt x="272" y="161"/>
                      <a:pt x="280" y="162"/>
                    </a:cubicBezTo>
                    <a:cubicBezTo>
                      <a:pt x="288" y="163"/>
                      <a:pt x="298" y="160"/>
                      <a:pt x="302" y="163"/>
                    </a:cubicBezTo>
                    <a:cubicBezTo>
                      <a:pt x="306" y="166"/>
                      <a:pt x="305" y="172"/>
                      <a:pt x="304" y="177"/>
                    </a:cubicBezTo>
                    <a:cubicBezTo>
                      <a:pt x="303" y="182"/>
                      <a:pt x="300" y="188"/>
                      <a:pt x="296" y="193"/>
                    </a:cubicBezTo>
                    <a:cubicBezTo>
                      <a:pt x="293" y="201"/>
                      <a:pt x="286" y="201"/>
                      <a:pt x="281" y="204"/>
                    </a:cubicBezTo>
                    <a:cubicBezTo>
                      <a:pt x="277" y="207"/>
                      <a:pt x="278" y="208"/>
                      <a:pt x="274" y="210"/>
                    </a:cubicBezTo>
                    <a:cubicBezTo>
                      <a:pt x="270" y="212"/>
                      <a:pt x="263" y="212"/>
                      <a:pt x="257" y="214"/>
                    </a:cubicBezTo>
                    <a:cubicBezTo>
                      <a:pt x="245" y="223"/>
                      <a:pt x="254" y="222"/>
                      <a:pt x="236" y="223"/>
                    </a:cubicBezTo>
                    <a:cubicBezTo>
                      <a:pt x="227" y="225"/>
                      <a:pt x="214" y="223"/>
                      <a:pt x="208" y="224"/>
                    </a:cubicBezTo>
                    <a:cubicBezTo>
                      <a:pt x="202" y="225"/>
                      <a:pt x="200" y="227"/>
                      <a:pt x="197" y="228"/>
                    </a:cubicBezTo>
                    <a:cubicBezTo>
                      <a:pt x="194" y="231"/>
                      <a:pt x="193" y="228"/>
                      <a:pt x="191" y="231"/>
                    </a:cubicBezTo>
                    <a:cubicBezTo>
                      <a:pt x="189" y="234"/>
                      <a:pt x="186" y="244"/>
                      <a:pt x="182" y="249"/>
                    </a:cubicBezTo>
                    <a:cubicBezTo>
                      <a:pt x="179" y="254"/>
                      <a:pt x="174" y="259"/>
                      <a:pt x="169" y="262"/>
                    </a:cubicBezTo>
                    <a:cubicBezTo>
                      <a:pt x="154" y="259"/>
                      <a:pt x="149" y="248"/>
                      <a:pt x="137" y="246"/>
                    </a:cubicBezTo>
                    <a:cubicBezTo>
                      <a:pt x="129" y="246"/>
                      <a:pt x="121" y="248"/>
                      <a:pt x="113" y="247"/>
                    </a:cubicBezTo>
                    <a:cubicBezTo>
                      <a:pt x="112" y="247"/>
                      <a:pt x="107" y="238"/>
                      <a:pt x="107" y="238"/>
                    </a:cubicBezTo>
                    <a:cubicBezTo>
                      <a:pt x="101" y="228"/>
                      <a:pt x="93" y="214"/>
                      <a:pt x="83" y="208"/>
                    </a:cubicBezTo>
                    <a:cubicBezTo>
                      <a:pt x="80" y="201"/>
                      <a:pt x="75" y="196"/>
                      <a:pt x="68" y="192"/>
                    </a:cubicBezTo>
                    <a:cubicBezTo>
                      <a:pt x="58" y="175"/>
                      <a:pt x="64" y="186"/>
                      <a:pt x="61" y="154"/>
                    </a:cubicBezTo>
                    <a:cubicBezTo>
                      <a:pt x="60" y="142"/>
                      <a:pt x="45" y="133"/>
                      <a:pt x="37" y="127"/>
                    </a:cubicBezTo>
                    <a:cubicBezTo>
                      <a:pt x="36" y="124"/>
                      <a:pt x="32" y="123"/>
                      <a:pt x="31" y="120"/>
                    </a:cubicBezTo>
                    <a:cubicBezTo>
                      <a:pt x="27" y="107"/>
                      <a:pt x="34" y="98"/>
                      <a:pt x="20" y="96"/>
                    </a:cubicBezTo>
                    <a:cubicBezTo>
                      <a:pt x="18" y="88"/>
                      <a:pt x="14" y="83"/>
                      <a:pt x="8" y="78"/>
                    </a:cubicBezTo>
                    <a:cubicBezTo>
                      <a:pt x="7" y="72"/>
                      <a:pt x="5" y="65"/>
                      <a:pt x="1" y="60"/>
                    </a:cubicBezTo>
                    <a:cubicBezTo>
                      <a:pt x="1" y="55"/>
                      <a:pt x="0" y="45"/>
                      <a:pt x="7" y="4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70" name="Freeform 62">
                <a:extLst>
                  <a:ext uri="{FF2B5EF4-FFF2-40B4-BE49-F238E27FC236}">
                    <a16:creationId xmlns:a16="http://schemas.microsoft.com/office/drawing/2014/main" id="{8990EDD8-F8B7-4C9F-9E23-72B0FBCAC430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gray">
              <a:xfrm>
                <a:off x="5216205" y="3599598"/>
                <a:ext cx="111075" cy="112503"/>
              </a:xfrm>
              <a:custGeom>
                <a:avLst/>
                <a:gdLst>
                  <a:gd name="T0" fmla="*/ 8 w 73"/>
                  <a:gd name="T1" fmla="*/ 70 h 73"/>
                  <a:gd name="T2" fmla="*/ 31 w 73"/>
                  <a:gd name="T3" fmla="*/ 67 h 73"/>
                  <a:gd name="T4" fmla="*/ 41 w 73"/>
                  <a:gd name="T5" fmla="*/ 56 h 73"/>
                  <a:gd name="T6" fmla="*/ 50 w 73"/>
                  <a:gd name="T7" fmla="*/ 58 h 73"/>
                  <a:gd name="T8" fmla="*/ 46 w 73"/>
                  <a:gd name="T9" fmla="*/ 37 h 73"/>
                  <a:gd name="T10" fmla="*/ 57 w 73"/>
                  <a:gd name="T11" fmla="*/ 26 h 73"/>
                  <a:gd name="T12" fmla="*/ 70 w 73"/>
                  <a:gd name="T13" fmla="*/ 28 h 73"/>
                  <a:gd name="T14" fmla="*/ 64 w 73"/>
                  <a:gd name="T15" fmla="*/ 17 h 73"/>
                  <a:gd name="T16" fmla="*/ 58 w 73"/>
                  <a:gd name="T17" fmla="*/ 2 h 73"/>
                  <a:gd name="T18" fmla="*/ 46 w 73"/>
                  <a:gd name="T19" fmla="*/ 5 h 73"/>
                  <a:gd name="T20" fmla="*/ 38 w 73"/>
                  <a:gd name="T21" fmla="*/ 14 h 73"/>
                  <a:gd name="T22" fmla="*/ 41 w 73"/>
                  <a:gd name="T23" fmla="*/ 14 h 73"/>
                  <a:gd name="T24" fmla="*/ 26 w 73"/>
                  <a:gd name="T25" fmla="*/ 11 h 73"/>
                  <a:gd name="T26" fmla="*/ 16 w 73"/>
                  <a:gd name="T27" fmla="*/ 22 h 73"/>
                  <a:gd name="T28" fmla="*/ 4 w 73"/>
                  <a:gd name="T29" fmla="*/ 44 h 73"/>
                  <a:gd name="T30" fmla="*/ 5 w 73"/>
                  <a:gd name="T31" fmla="*/ 65 h 73"/>
                  <a:gd name="T32" fmla="*/ 8 w 73"/>
                  <a:gd name="T33" fmla="*/ 70 h 7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73" h="73">
                    <a:moveTo>
                      <a:pt x="8" y="70"/>
                    </a:moveTo>
                    <a:cubicBezTo>
                      <a:pt x="22" y="64"/>
                      <a:pt x="0" y="73"/>
                      <a:pt x="31" y="67"/>
                    </a:cubicBezTo>
                    <a:cubicBezTo>
                      <a:pt x="36" y="66"/>
                      <a:pt x="38" y="57"/>
                      <a:pt x="41" y="56"/>
                    </a:cubicBezTo>
                    <a:cubicBezTo>
                      <a:pt x="44" y="55"/>
                      <a:pt x="49" y="61"/>
                      <a:pt x="50" y="58"/>
                    </a:cubicBezTo>
                    <a:cubicBezTo>
                      <a:pt x="53" y="51"/>
                      <a:pt x="51" y="43"/>
                      <a:pt x="46" y="37"/>
                    </a:cubicBezTo>
                    <a:cubicBezTo>
                      <a:pt x="47" y="32"/>
                      <a:pt x="53" y="27"/>
                      <a:pt x="57" y="26"/>
                    </a:cubicBezTo>
                    <a:cubicBezTo>
                      <a:pt x="61" y="25"/>
                      <a:pt x="69" y="29"/>
                      <a:pt x="70" y="28"/>
                    </a:cubicBezTo>
                    <a:cubicBezTo>
                      <a:pt x="73" y="24"/>
                      <a:pt x="66" y="21"/>
                      <a:pt x="64" y="17"/>
                    </a:cubicBezTo>
                    <a:cubicBezTo>
                      <a:pt x="62" y="13"/>
                      <a:pt x="61" y="4"/>
                      <a:pt x="58" y="2"/>
                    </a:cubicBezTo>
                    <a:cubicBezTo>
                      <a:pt x="55" y="0"/>
                      <a:pt x="49" y="3"/>
                      <a:pt x="46" y="5"/>
                    </a:cubicBezTo>
                    <a:cubicBezTo>
                      <a:pt x="44" y="6"/>
                      <a:pt x="39" y="12"/>
                      <a:pt x="38" y="14"/>
                    </a:cubicBezTo>
                    <a:cubicBezTo>
                      <a:pt x="37" y="17"/>
                      <a:pt x="43" y="11"/>
                      <a:pt x="41" y="14"/>
                    </a:cubicBezTo>
                    <a:cubicBezTo>
                      <a:pt x="41" y="14"/>
                      <a:pt x="27" y="12"/>
                      <a:pt x="26" y="11"/>
                    </a:cubicBezTo>
                    <a:cubicBezTo>
                      <a:pt x="21" y="14"/>
                      <a:pt x="19" y="17"/>
                      <a:pt x="16" y="22"/>
                    </a:cubicBezTo>
                    <a:cubicBezTo>
                      <a:pt x="14" y="38"/>
                      <a:pt x="18" y="42"/>
                      <a:pt x="4" y="44"/>
                    </a:cubicBezTo>
                    <a:cubicBezTo>
                      <a:pt x="4" y="51"/>
                      <a:pt x="4" y="58"/>
                      <a:pt x="5" y="65"/>
                    </a:cubicBezTo>
                    <a:cubicBezTo>
                      <a:pt x="5" y="67"/>
                      <a:pt x="8" y="70"/>
                      <a:pt x="8" y="7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71" name="Freeform 63">
                <a:extLst>
                  <a:ext uri="{FF2B5EF4-FFF2-40B4-BE49-F238E27FC236}">
                    <a16:creationId xmlns:a16="http://schemas.microsoft.com/office/drawing/2014/main" id="{3E6BAB0D-F53B-4650-8B44-78C20BFCD1E0}"/>
                  </a:ext>
                </a:extLst>
              </p:cNvPr>
              <p:cNvSpPr>
                <a:spLocks/>
              </p:cNvSpPr>
              <p:nvPr>
                <p:custDataLst>
                  <p:tags r:id="rId59"/>
                </p:custDataLst>
              </p:nvPr>
            </p:nvSpPr>
            <p:spPr bwMode="gray">
              <a:xfrm>
                <a:off x="4188393" y="4217591"/>
                <a:ext cx="111075" cy="81680"/>
              </a:xfrm>
              <a:custGeom>
                <a:avLst/>
                <a:gdLst>
                  <a:gd name="T0" fmla="*/ 51 w 73"/>
                  <a:gd name="T1" fmla="*/ 17 h 53"/>
                  <a:gd name="T2" fmla="*/ 47 w 73"/>
                  <a:gd name="T3" fmla="*/ 11 h 53"/>
                  <a:gd name="T4" fmla="*/ 36 w 73"/>
                  <a:gd name="T5" fmla="*/ 11 h 53"/>
                  <a:gd name="T6" fmla="*/ 18 w 73"/>
                  <a:gd name="T7" fmla="*/ 0 h 53"/>
                  <a:gd name="T8" fmla="*/ 7 w 73"/>
                  <a:gd name="T9" fmla="*/ 11 h 53"/>
                  <a:gd name="T10" fmla="*/ 1 w 73"/>
                  <a:gd name="T11" fmla="*/ 23 h 53"/>
                  <a:gd name="T12" fmla="*/ 15 w 73"/>
                  <a:gd name="T13" fmla="*/ 27 h 53"/>
                  <a:gd name="T14" fmla="*/ 27 w 73"/>
                  <a:gd name="T15" fmla="*/ 35 h 53"/>
                  <a:gd name="T16" fmla="*/ 43 w 73"/>
                  <a:gd name="T17" fmla="*/ 49 h 53"/>
                  <a:gd name="T18" fmla="*/ 55 w 73"/>
                  <a:gd name="T19" fmla="*/ 53 h 53"/>
                  <a:gd name="T20" fmla="*/ 55 w 73"/>
                  <a:gd name="T21" fmla="*/ 31 h 53"/>
                  <a:gd name="T22" fmla="*/ 51 w 73"/>
                  <a:gd name="T23" fmla="*/ 17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73" h="53">
                    <a:moveTo>
                      <a:pt x="51" y="17"/>
                    </a:moveTo>
                    <a:cubicBezTo>
                      <a:pt x="50" y="15"/>
                      <a:pt x="49" y="11"/>
                      <a:pt x="47" y="11"/>
                    </a:cubicBezTo>
                    <a:cubicBezTo>
                      <a:pt x="44" y="9"/>
                      <a:pt x="41" y="13"/>
                      <a:pt x="36" y="11"/>
                    </a:cubicBezTo>
                    <a:cubicBezTo>
                      <a:pt x="31" y="9"/>
                      <a:pt x="23" y="0"/>
                      <a:pt x="18" y="0"/>
                    </a:cubicBezTo>
                    <a:cubicBezTo>
                      <a:pt x="13" y="0"/>
                      <a:pt x="10" y="7"/>
                      <a:pt x="7" y="11"/>
                    </a:cubicBezTo>
                    <a:cubicBezTo>
                      <a:pt x="7" y="12"/>
                      <a:pt x="0" y="21"/>
                      <a:pt x="1" y="23"/>
                    </a:cubicBezTo>
                    <a:cubicBezTo>
                      <a:pt x="4" y="27"/>
                      <a:pt x="11" y="25"/>
                      <a:pt x="15" y="27"/>
                    </a:cubicBezTo>
                    <a:cubicBezTo>
                      <a:pt x="19" y="29"/>
                      <a:pt x="27" y="35"/>
                      <a:pt x="27" y="35"/>
                    </a:cubicBezTo>
                    <a:cubicBezTo>
                      <a:pt x="29" y="38"/>
                      <a:pt x="40" y="47"/>
                      <a:pt x="43" y="49"/>
                    </a:cubicBezTo>
                    <a:cubicBezTo>
                      <a:pt x="47" y="51"/>
                      <a:pt x="55" y="53"/>
                      <a:pt x="55" y="53"/>
                    </a:cubicBezTo>
                    <a:cubicBezTo>
                      <a:pt x="73" y="49"/>
                      <a:pt x="65" y="38"/>
                      <a:pt x="55" y="31"/>
                    </a:cubicBezTo>
                    <a:cubicBezTo>
                      <a:pt x="52" y="22"/>
                      <a:pt x="54" y="27"/>
                      <a:pt x="51" y="1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72" name="Freeform 68">
                <a:extLst>
                  <a:ext uri="{FF2B5EF4-FFF2-40B4-BE49-F238E27FC236}">
                    <a16:creationId xmlns:a16="http://schemas.microsoft.com/office/drawing/2014/main" id="{D3FEB872-C30F-4476-8AD8-F5D69E4EFD2B}"/>
                  </a:ext>
                </a:extLst>
              </p:cNvPr>
              <p:cNvSpPr>
                <a:spLocks/>
              </p:cNvSpPr>
              <p:nvPr>
                <p:custDataLst>
                  <p:tags r:id="rId60"/>
                </p:custDataLst>
              </p:nvPr>
            </p:nvSpPr>
            <p:spPr bwMode="gray">
              <a:xfrm>
                <a:off x="4585301" y="3157293"/>
                <a:ext cx="114037" cy="73974"/>
              </a:xfrm>
              <a:custGeom>
                <a:avLst/>
                <a:gdLst>
                  <a:gd name="T0" fmla="*/ 13 w 76"/>
                  <a:gd name="T1" fmla="*/ 12 h 48"/>
                  <a:gd name="T2" fmla="*/ 47 w 76"/>
                  <a:gd name="T3" fmla="*/ 4 h 48"/>
                  <a:gd name="T4" fmla="*/ 67 w 76"/>
                  <a:gd name="T5" fmla="*/ 7 h 48"/>
                  <a:gd name="T6" fmla="*/ 76 w 76"/>
                  <a:gd name="T7" fmla="*/ 18 h 48"/>
                  <a:gd name="T8" fmla="*/ 64 w 76"/>
                  <a:gd name="T9" fmla="*/ 25 h 48"/>
                  <a:gd name="T10" fmla="*/ 56 w 76"/>
                  <a:gd name="T11" fmla="*/ 31 h 48"/>
                  <a:gd name="T12" fmla="*/ 41 w 76"/>
                  <a:gd name="T13" fmla="*/ 39 h 48"/>
                  <a:gd name="T14" fmla="*/ 29 w 76"/>
                  <a:gd name="T15" fmla="*/ 43 h 48"/>
                  <a:gd name="T16" fmla="*/ 4 w 76"/>
                  <a:gd name="T17" fmla="*/ 34 h 48"/>
                  <a:gd name="T18" fmla="*/ 2 w 76"/>
                  <a:gd name="T19" fmla="*/ 18 h 48"/>
                  <a:gd name="T20" fmla="*/ 13 w 76"/>
                  <a:gd name="T21" fmla="*/ 12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76" h="48">
                    <a:moveTo>
                      <a:pt x="13" y="12"/>
                    </a:moveTo>
                    <a:cubicBezTo>
                      <a:pt x="37" y="4"/>
                      <a:pt x="23" y="0"/>
                      <a:pt x="47" y="4"/>
                    </a:cubicBezTo>
                    <a:cubicBezTo>
                      <a:pt x="53" y="5"/>
                      <a:pt x="70" y="1"/>
                      <a:pt x="67" y="7"/>
                    </a:cubicBezTo>
                    <a:cubicBezTo>
                      <a:pt x="72" y="9"/>
                      <a:pt x="76" y="15"/>
                      <a:pt x="76" y="18"/>
                    </a:cubicBezTo>
                    <a:cubicBezTo>
                      <a:pt x="76" y="21"/>
                      <a:pt x="67" y="23"/>
                      <a:pt x="64" y="25"/>
                    </a:cubicBezTo>
                    <a:cubicBezTo>
                      <a:pt x="61" y="27"/>
                      <a:pt x="60" y="29"/>
                      <a:pt x="56" y="31"/>
                    </a:cubicBezTo>
                    <a:cubicBezTo>
                      <a:pt x="52" y="33"/>
                      <a:pt x="45" y="37"/>
                      <a:pt x="41" y="39"/>
                    </a:cubicBezTo>
                    <a:cubicBezTo>
                      <a:pt x="37" y="41"/>
                      <a:pt x="35" y="44"/>
                      <a:pt x="29" y="43"/>
                    </a:cubicBezTo>
                    <a:cubicBezTo>
                      <a:pt x="23" y="48"/>
                      <a:pt x="9" y="38"/>
                      <a:pt x="4" y="34"/>
                    </a:cubicBezTo>
                    <a:cubicBezTo>
                      <a:pt x="0" y="30"/>
                      <a:pt x="0" y="22"/>
                      <a:pt x="2" y="18"/>
                    </a:cubicBezTo>
                    <a:cubicBezTo>
                      <a:pt x="7" y="14"/>
                      <a:pt x="18" y="17"/>
                      <a:pt x="13" y="1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73" name="Freeform 69">
                <a:extLst>
                  <a:ext uri="{FF2B5EF4-FFF2-40B4-BE49-F238E27FC236}">
                    <a16:creationId xmlns:a16="http://schemas.microsoft.com/office/drawing/2014/main" id="{D52BB0E1-6EAD-4008-9054-6772949559A6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gray">
              <a:xfrm>
                <a:off x="4512731" y="3015509"/>
                <a:ext cx="77012" cy="90927"/>
              </a:xfrm>
              <a:custGeom>
                <a:avLst/>
                <a:gdLst>
                  <a:gd name="T0" fmla="*/ 20 w 51"/>
                  <a:gd name="T1" fmla="*/ 5 h 59"/>
                  <a:gd name="T2" fmla="*/ 47 w 51"/>
                  <a:gd name="T3" fmla="*/ 17 h 59"/>
                  <a:gd name="T4" fmla="*/ 50 w 51"/>
                  <a:gd name="T5" fmla="*/ 29 h 59"/>
                  <a:gd name="T6" fmla="*/ 48 w 51"/>
                  <a:gd name="T7" fmla="*/ 59 h 59"/>
                  <a:gd name="T8" fmla="*/ 26 w 51"/>
                  <a:gd name="T9" fmla="*/ 39 h 59"/>
                  <a:gd name="T10" fmla="*/ 6 w 51"/>
                  <a:gd name="T11" fmla="*/ 25 h 59"/>
                  <a:gd name="T12" fmla="*/ 10 w 51"/>
                  <a:gd name="T13" fmla="*/ 7 h 59"/>
                  <a:gd name="T14" fmla="*/ 12 w 51"/>
                  <a:gd name="T15" fmla="*/ 1 h 59"/>
                  <a:gd name="T16" fmla="*/ 22 w 51"/>
                  <a:gd name="T17" fmla="*/ 3 h 59"/>
                  <a:gd name="T18" fmla="*/ 28 w 51"/>
                  <a:gd name="T19" fmla="*/ 5 h 59"/>
                  <a:gd name="T20" fmla="*/ 20 w 51"/>
                  <a:gd name="T21" fmla="*/ 5 h 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1" h="59">
                    <a:moveTo>
                      <a:pt x="20" y="5"/>
                    </a:moveTo>
                    <a:cubicBezTo>
                      <a:pt x="27" y="7"/>
                      <a:pt x="40" y="15"/>
                      <a:pt x="47" y="17"/>
                    </a:cubicBezTo>
                    <a:cubicBezTo>
                      <a:pt x="51" y="24"/>
                      <a:pt x="47" y="21"/>
                      <a:pt x="50" y="29"/>
                    </a:cubicBezTo>
                    <a:cubicBezTo>
                      <a:pt x="47" y="38"/>
                      <a:pt x="49" y="50"/>
                      <a:pt x="48" y="59"/>
                    </a:cubicBezTo>
                    <a:cubicBezTo>
                      <a:pt x="26" y="55"/>
                      <a:pt x="42" y="49"/>
                      <a:pt x="26" y="39"/>
                    </a:cubicBezTo>
                    <a:cubicBezTo>
                      <a:pt x="23" y="31"/>
                      <a:pt x="14" y="28"/>
                      <a:pt x="6" y="25"/>
                    </a:cubicBezTo>
                    <a:cubicBezTo>
                      <a:pt x="0" y="16"/>
                      <a:pt x="3" y="14"/>
                      <a:pt x="10" y="7"/>
                    </a:cubicBezTo>
                    <a:cubicBezTo>
                      <a:pt x="11" y="5"/>
                      <a:pt x="10" y="2"/>
                      <a:pt x="12" y="1"/>
                    </a:cubicBezTo>
                    <a:cubicBezTo>
                      <a:pt x="15" y="0"/>
                      <a:pt x="19" y="2"/>
                      <a:pt x="22" y="3"/>
                    </a:cubicBezTo>
                    <a:cubicBezTo>
                      <a:pt x="24" y="4"/>
                      <a:pt x="29" y="4"/>
                      <a:pt x="28" y="5"/>
                    </a:cubicBezTo>
                    <a:cubicBezTo>
                      <a:pt x="26" y="7"/>
                      <a:pt x="23" y="5"/>
                      <a:pt x="20" y="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74" name="Freeform 70">
                <a:extLst>
                  <a:ext uri="{FF2B5EF4-FFF2-40B4-BE49-F238E27FC236}">
                    <a16:creationId xmlns:a16="http://schemas.microsoft.com/office/drawing/2014/main" id="{63F8CB99-9FE0-4ACA-AFEA-82BA3AAEB432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gray">
              <a:xfrm>
                <a:off x="5624961" y="3319112"/>
                <a:ext cx="308047" cy="228087"/>
              </a:xfrm>
              <a:custGeom>
                <a:avLst/>
                <a:gdLst>
                  <a:gd name="T0" fmla="*/ 16 w 205"/>
                  <a:gd name="T1" fmla="*/ 112 h 148"/>
                  <a:gd name="T2" fmla="*/ 13 w 205"/>
                  <a:gd name="T3" fmla="*/ 72 h 148"/>
                  <a:gd name="T4" fmla="*/ 1 w 205"/>
                  <a:gd name="T5" fmla="*/ 55 h 148"/>
                  <a:gd name="T6" fmla="*/ 10 w 205"/>
                  <a:gd name="T7" fmla="*/ 24 h 148"/>
                  <a:gd name="T8" fmla="*/ 35 w 205"/>
                  <a:gd name="T9" fmla="*/ 28 h 148"/>
                  <a:gd name="T10" fmla="*/ 48 w 205"/>
                  <a:gd name="T11" fmla="*/ 28 h 148"/>
                  <a:gd name="T12" fmla="*/ 61 w 205"/>
                  <a:gd name="T13" fmla="*/ 34 h 148"/>
                  <a:gd name="T14" fmla="*/ 72 w 205"/>
                  <a:gd name="T15" fmla="*/ 27 h 148"/>
                  <a:gd name="T16" fmla="*/ 85 w 205"/>
                  <a:gd name="T17" fmla="*/ 12 h 148"/>
                  <a:gd name="T18" fmla="*/ 108 w 205"/>
                  <a:gd name="T19" fmla="*/ 12 h 148"/>
                  <a:gd name="T20" fmla="*/ 112 w 205"/>
                  <a:gd name="T21" fmla="*/ 30 h 148"/>
                  <a:gd name="T22" fmla="*/ 133 w 205"/>
                  <a:gd name="T23" fmla="*/ 34 h 148"/>
                  <a:gd name="T24" fmla="*/ 144 w 205"/>
                  <a:gd name="T25" fmla="*/ 46 h 148"/>
                  <a:gd name="T26" fmla="*/ 145 w 205"/>
                  <a:gd name="T27" fmla="*/ 60 h 148"/>
                  <a:gd name="T28" fmla="*/ 171 w 205"/>
                  <a:gd name="T29" fmla="*/ 81 h 148"/>
                  <a:gd name="T30" fmla="*/ 195 w 205"/>
                  <a:gd name="T31" fmla="*/ 94 h 148"/>
                  <a:gd name="T32" fmla="*/ 205 w 205"/>
                  <a:gd name="T33" fmla="*/ 105 h 148"/>
                  <a:gd name="T34" fmla="*/ 186 w 205"/>
                  <a:gd name="T35" fmla="*/ 111 h 148"/>
                  <a:gd name="T36" fmla="*/ 177 w 205"/>
                  <a:gd name="T37" fmla="*/ 130 h 148"/>
                  <a:gd name="T38" fmla="*/ 163 w 205"/>
                  <a:gd name="T39" fmla="*/ 139 h 148"/>
                  <a:gd name="T40" fmla="*/ 151 w 205"/>
                  <a:gd name="T41" fmla="*/ 148 h 148"/>
                  <a:gd name="T42" fmla="*/ 130 w 205"/>
                  <a:gd name="T43" fmla="*/ 141 h 148"/>
                  <a:gd name="T44" fmla="*/ 112 w 205"/>
                  <a:gd name="T45" fmla="*/ 123 h 148"/>
                  <a:gd name="T46" fmla="*/ 100 w 205"/>
                  <a:gd name="T47" fmla="*/ 114 h 148"/>
                  <a:gd name="T48" fmla="*/ 82 w 205"/>
                  <a:gd name="T49" fmla="*/ 105 h 148"/>
                  <a:gd name="T50" fmla="*/ 59 w 205"/>
                  <a:gd name="T51" fmla="*/ 100 h 148"/>
                  <a:gd name="T52" fmla="*/ 39 w 205"/>
                  <a:gd name="T53" fmla="*/ 102 h 148"/>
                  <a:gd name="T54" fmla="*/ 24 w 205"/>
                  <a:gd name="T55" fmla="*/ 106 h 148"/>
                  <a:gd name="T56" fmla="*/ 16 w 205"/>
                  <a:gd name="T57" fmla="*/ 112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205" h="148">
                    <a:moveTo>
                      <a:pt x="16" y="112"/>
                    </a:moveTo>
                    <a:cubicBezTo>
                      <a:pt x="22" y="99"/>
                      <a:pt x="21" y="83"/>
                      <a:pt x="13" y="72"/>
                    </a:cubicBezTo>
                    <a:cubicBezTo>
                      <a:pt x="12" y="65"/>
                      <a:pt x="5" y="61"/>
                      <a:pt x="1" y="55"/>
                    </a:cubicBezTo>
                    <a:cubicBezTo>
                      <a:pt x="2" y="44"/>
                      <a:pt x="0" y="31"/>
                      <a:pt x="10" y="24"/>
                    </a:cubicBezTo>
                    <a:cubicBezTo>
                      <a:pt x="16" y="20"/>
                      <a:pt x="29" y="26"/>
                      <a:pt x="35" y="28"/>
                    </a:cubicBezTo>
                    <a:cubicBezTo>
                      <a:pt x="41" y="29"/>
                      <a:pt x="44" y="27"/>
                      <a:pt x="48" y="28"/>
                    </a:cubicBezTo>
                    <a:cubicBezTo>
                      <a:pt x="56" y="30"/>
                      <a:pt x="57" y="34"/>
                      <a:pt x="61" y="34"/>
                    </a:cubicBezTo>
                    <a:cubicBezTo>
                      <a:pt x="65" y="34"/>
                      <a:pt x="68" y="31"/>
                      <a:pt x="72" y="27"/>
                    </a:cubicBezTo>
                    <a:cubicBezTo>
                      <a:pt x="73" y="11"/>
                      <a:pt x="72" y="16"/>
                      <a:pt x="85" y="12"/>
                    </a:cubicBezTo>
                    <a:cubicBezTo>
                      <a:pt x="92" y="14"/>
                      <a:pt x="101" y="9"/>
                      <a:pt x="108" y="12"/>
                    </a:cubicBezTo>
                    <a:cubicBezTo>
                      <a:pt x="118" y="25"/>
                      <a:pt x="100" y="0"/>
                      <a:pt x="112" y="30"/>
                    </a:cubicBezTo>
                    <a:cubicBezTo>
                      <a:pt x="113" y="32"/>
                      <a:pt x="130" y="34"/>
                      <a:pt x="133" y="34"/>
                    </a:cubicBezTo>
                    <a:cubicBezTo>
                      <a:pt x="137" y="38"/>
                      <a:pt x="141" y="41"/>
                      <a:pt x="144" y="46"/>
                    </a:cubicBezTo>
                    <a:cubicBezTo>
                      <a:pt x="144" y="51"/>
                      <a:pt x="143" y="56"/>
                      <a:pt x="145" y="60"/>
                    </a:cubicBezTo>
                    <a:cubicBezTo>
                      <a:pt x="146" y="62"/>
                      <a:pt x="168" y="80"/>
                      <a:pt x="171" y="81"/>
                    </a:cubicBezTo>
                    <a:cubicBezTo>
                      <a:pt x="177" y="89"/>
                      <a:pt x="185" y="92"/>
                      <a:pt x="195" y="94"/>
                    </a:cubicBezTo>
                    <a:cubicBezTo>
                      <a:pt x="200" y="98"/>
                      <a:pt x="204" y="98"/>
                      <a:pt x="205" y="105"/>
                    </a:cubicBezTo>
                    <a:cubicBezTo>
                      <a:pt x="199" y="109"/>
                      <a:pt x="193" y="109"/>
                      <a:pt x="186" y="111"/>
                    </a:cubicBezTo>
                    <a:cubicBezTo>
                      <a:pt x="175" y="118"/>
                      <a:pt x="182" y="117"/>
                      <a:pt x="177" y="130"/>
                    </a:cubicBezTo>
                    <a:cubicBezTo>
                      <a:pt x="175" y="135"/>
                      <a:pt x="163" y="139"/>
                      <a:pt x="163" y="139"/>
                    </a:cubicBezTo>
                    <a:cubicBezTo>
                      <a:pt x="159" y="145"/>
                      <a:pt x="158" y="147"/>
                      <a:pt x="151" y="148"/>
                    </a:cubicBezTo>
                    <a:cubicBezTo>
                      <a:pt x="139" y="147"/>
                      <a:pt x="139" y="146"/>
                      <a:pt x="130" y="141"/>
                    </a:cubicBezTo>
                    <a:cubicBezTo>
                      <a:pt x="128" y="131"/>
                      <a:pt x="120" y="128"/>
                      <a:pt x="112" y="123"/>
                    </a:cubicBezTo>
                    <a:cubicBezTo>
                      <a:pt x="108" y="117"/>
                      <a:pt x="107" y="115"/>
                      <a:pt x="100" y="114"/>
                    </a:cubicBezTo>
                    <a:cubicBezTo>
                      <a:pt x="94" y="110"/>
                      <a:pt x="89" y="106"/>
                      <a:pt x="82" y="105"/>
                    </a:cubicBezTo>
                    <a:cubicBezTo>
                      <a:pt x="75" y="103"/>
                      <a:pt x="66" y="100"/>
                      <a:pt x="59" y="100"/>
                    </a:cubicBezTo>
                    <a:cubicBezTo>
                      <a:pt x="52" y="100"/>
                      <a:pt x="45" y="101"/>
                      <a:pt x="39" y="102"/>
                    </a:cubicBezTo>
                    <a:cubicBezTo>
                      <a:pt x="34" y="103"/>
                      <a:pt x="29" y="105"/>
                      <a:pt x="24" y="106"/>
                    </a:cubicBezTo>
                    <a:cubicBezTo>
                      <a:pt x="17" y="109"/>
                      <a:pt x="20" y="107"/>
                      <a:pt x="16" y="11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75" name="Freeform 71">
                <a:extLst>
                  <a:ext uri="{FF2B5EF4-FFF2-40B4-BE49-F238E27FC236}">
                    <a16:creationId xmlns:a16="http://schemas.microsoft.com/office/drawing/2014/main" id="{6647EAA1-D45A-4E26-A809-4D7542D80D73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gray">
              <a:xfrm>
                <a:off x="4928892" y="2767387"/>
                <a:ext cx="165872" cy="110961"/>
              </a:xfrm>
              <a:custGeom>
                <a:avLst/>
                <a:gdLst>
                  <a:gd name="T0" fmla="*/ 46 w 110"/>
                  <a:gd name="T1" fmla="*/ 8 h 72"/>
                  <a:gd name="T2" fmla="*/ 34 w 110"/>
                  <a:gd name="T3" fmla="*/ 29 h 72"/>
                  <a:gd name="T4" fmla="*/ 13 w 110"/>
                  <a:gd name="T5" fmla="*/ 22 h 72"/>
                  <a:gd name="T6" fmla="*/ 0 w 110"/>
                  <a:gd name="T7" fmla="*/ 50 h 72"/>
                  <a:gd name="T8" fmla="*/ 52 w 110"/>
                  <a:gd name="T9" fmla="*/ 49 h 72"/>
                  <a:gd name="T10" fmla="*/ 81 w 110"/>
                  <a:gd name="T11" fmla="*/ 70 h 72"/>
                  <a:gd name="T12" fmla="*/ 100 w 110"/>
                  <a:gd name="T13" fmla="*/ 61 h 72"/>
                  <a:gd name="T14" fmla="*/ 100 w 110"/>
                  <a:gd name="T15" fmla="*/ 11 h 72"/>
                  <a:gd name="T16" fmla="*/ 87 w 110"/>
                  <a:gd name="T17" fmla="*/ 17 h 72"/>
                  <a:gd name="T18" fmla="*/ 66 w 110"/>
                  <a:gd name="T19" fmla="*/ 10 h 72"/>
                  <a:gd name="T20" fmla="*/ 46 w 110"/>
                  <a:gd name="T21" fmla="*/ 8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110" h="72">
                    <a:moveTo>
                      <a:pt x="46" y="8"/>
                    </a:moveTo>
                    <a:cubicBezTo>
                      <a:pt x="45" y="21"/>
                      <a:pt x="47" y="26"/>
                      <a:pt x="34" y="29"/>
                    </a:cubicBezTo>
                    <a:cubicBezTo>
                      <a:pt x="26" y="28"/>
                      <a:pt x="21" y="23"/>
                      <a:pt x="13" y="22"/>
                    </a:cubicBezTo>
                    <a:cubicBezTo>
                      <a:pt x="0" y="15"/>
                      <a:pt x="7" y="40"/>
                      <a:pt x="0" y="50"/>
                    </a:cubicBezTo>
                    <a:cubicBezTo>
                      <a:pt x="6" y="56"/>
                      <a:pt x="35" y="47"/>
                      <a:pt x="52" y="49"/>
                    </a:cubicBezTo>
                    <a:cubicBezTo>
                      <a:pt x="65" y="52"/>
                      <a:pt x="73" y="68"/>
                      <a:pt x="81" y="70"/>
                    </a:cubicBezTo>
                    <a:cubicBezTo>
                      <a:pt x="89" y="72"/>
                      <a:pt x="97" y="71"/>
                      <a:pt x="100" y="61"/>
                    </a:cubicBezTo>
                    <a:cubicBezTo>
                      <a:pt x="109" y="46"/>
                      <a:pt x="110" y="27"/>
                      <a:pt x="100" y="11"/>
                    </a:cubicBezTo>
                    <a:cubicBezTo>
                      <a:pt x="95" y="13"/>
                      <a:pt x="91" y="14"/>
                      <a:pt x="87" y="17"/>
                    </a:cubicBezTo>
                    <a:cubicBezTo>
                      <a:pt x="77" y="16"/>
                      <a:pt x="73" y="17"/>
                      <a:pt x="66" y="10"/>
                    </a:cubicBezTo>
                    <a:cubicBezTo>
                      <a:pt x="62" y="0"/>
                      <a:pt x="55" y="5"/>
                      <a:pt x="46" y="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76" name="Freeform 72">
                <a:extLst>
                  <a:ext uri="{FF2B5EF4-FFF2-40B4-BE49-F238E27FC236}">
                    <a16:creationId xmlns:a16="http://schemas.microsoft.com/office/drawing/2014/main" id="{857C5FEF-C23B-4A9F-BAE3-0ACB63374154}"/>
                  </a:ext>
                </a:extLst>
              </p:cNvPr>
              <p:cNvSpPr>
                <a:spLocks/>
              </p:cNvSpPr>
              <p:nvPr>
                <p:custDataLst>
                  <p:tags r:id="rId64"/>
                </p:custDataLst>
              </p:nvPr>
            </p:nvSpPr>
            <p:spPr bwMode="gray">
              <a:xfrm>
                <a:off x="4921486" y="2842902"/>
                <a:ext cx="130328" cy="97092"/>
              </a:xfrm>
              <a:custGeom>
                <a:avLst/>
                <a:gdLst>
                  <a:gd name="T0" fmla="*/ 8 w 86"/>
                  <a:gd name="T1" fmla="*/ 4 h 63"/>
                  <a:gd name="T2" fmla="*/ 5 w 86"/>
                  <a:gd name="T3" fmla="*/ 25 h 63"/>
                  <a:gd name="T4" fmla="*/ 26 w 86"/>
                  <a:gd name="T5" fmla="*/ 45 h 63"/>
                  <a:gd name="T6" fmla="*/ 30 w 86"/>
                  <a:gd name="T7" fmla="*/ 58 h 63"/>
                  <a:gd name="T8" fmla="*/ 47 w 86"/>
                  <a:gd name="T9" fmla="*/ 63 h 63"/>
                  <a:gd name="T10" fmla="*/ 66 w 86"/>
                  <a:gd name="T11" fmla="*/ 58 h 63"/>
                  <a:gd name="T12" fmla="*/ 72 w 86"/>
                  <a:gd name="T13" fmla="*/ 46 h 63"/>
                  <a:gd name="T14" fmla="*/ 86 w 86"/>
                  <a:gd name="T15" fmla="*/ 28 h 63"/>
                  <a:gd name="T16" fmla="*/ 78 w 86"/>
                  <a:gd name="T17" fmla="*/ 16 h 63"/>
                  <a:gd name="T18" fmla="*/ 63 w 86"/>
                  <a:gd name="T19" fmla="*/ 3 h 63"/>
                  <a:gd name="T20" fmla="*/ 41 w 86"/>
                  <a:gd name="T21" fmla="*/ 1 h 63"/>
                  <a:gd name="T22" fmla="*/ 8 w 86"/>
                  <a:gd name="T23" fmla="*/ 4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6" h="63">
                    <a:moveTo>
                      <a:pt x="8" y="4"/>
                    </a:moveTo>
                    <a:cubicBezTo>
                      <a:pt x="0" y="7"/>
                      <a:pt x="2" y="18"/>
                      <a:pt x="5" y="25"/>
                    </a:cubicBezTo>
                    <a:cubicBezTo>
                      <a:pt x="8" y="32"/>
                      <a:pt x="22" y="40"/>
                      <a:pt x="26" y="45"/>
                    </a:cubicBezTo>
                    <a:cubicBezTo>
                      <a:pt x="31" y="51"/>
                      <a:pt x="24" y="54"/>
                      <a:pt x="30" y="58"/>
                    </a:cubicBezTo>
                    <a:cubicBezTo>
                      <a:pt x="33" y="61"/>
                      <a:pt x="41" y="63"/>
                      <a:pt x="47" y="63"/>
                    </a:cubicBezTo>
                    <a:cubicBezTo>
                      <a:pt x="53" y="63"/>
                      <a:pt x="62" y="61"/>
                      <a:pt x="66" y="58"/>
                    </a:cubicBezTo>
                    <a:cubicBezTo>
                      <a:pt x="70" y="56"/>
                      <a:pt x="71" y="50"/>
                      <a:pt x="72" y="46"/>
                    </a:cubicBezTo>
                    <a:cubicBezTo>
                      <a:pt x="73" y="40"/>
                      <a:pt x="83" y="33"/>
                      <a:pt x="86" y="28"/>
                    </a:cubicBezTo>
                    <a:cubicBezTo>
                      <a:pt x="83" y="22"/>
                      <a:pt x="84" y="20"/>
                      <a:pt x="78" y="16"/>
                    </a:cubicBezTo>
                    <a:cubicBezTo>
                      <a:pt x="74" y="11"/>
                      <a:pt x="68" y="6"/>
                      <a:pt x="63" y="3"/>
                    </a:cubicBezTo>
                    <a:cubicBezTo>
                      <a:pt x="57" y="1"/>
                      <a:pt x="50" y="0"/>
                      <a:pt x="41" y="1"/>
                    </a:cubicBezTo>
                    <a:cubicBezTo>
                      <a:pt x="32" y="1"/>
                      <a:pt x="15" y="3"/>
                      <a:pt x="8" y="4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77" name="Freeform 73">
                <a:extLst>
                  <a:ext uri="{FF2B5EF4-FFF2-40B4-BE49-F238E27FC236}">
                    <a16:creationId xmlns:a16="http://schemas.microsoft.com/office/drawing/2014/main" id="{FB96D86F-FD2A-4369-8631-1D1877E3E981}"/>
                  </a:ext>
                </a:extLst>
              </p:cNvPr>
              <p:cNvSpPr>
                <a:spLocks/>
              </p:cNvSpPr>
              <p:nvPr>
                <p:custDataLst>
                  <p:tags r:id="rId65"/>
                </p:custDataLst>
              </p:nvPr>
            </p:nvSpPr>
            <p:spPr bwMode="gray">
              <a:xfrm>
                <a:off x="4973322" y="2858313"/>
                <a:ext cx="192530" cy="180313"/>
              </a:xfrm>
              <a:custGeom>
                <a:avLst/>
                <a:gdLst>
                  <a:gd name="T0" fmla="*/ 11 w 128"/>
                  <a:gd name="T1" fmla="*/ 54 h 117"/>
                  <a:gd name="T2" fmla="*/ 2 w 128"/>
                  <a:gd name="T3" fmla="*/ 92 h 117"/>
                  <a:gd name="T4" fmla="*/ 10 w 128"/>
                  <a:gd name="T5" fmla="*/ 114 h 117"/>
                  <a:gd name="T6" fmla="*/ 22 w 128"/>
                  <a:gd name="T7" fmla="*/ 110 h 117"/>
                  <a:gd name="T8" fmla="*/ 61 w 128"/>
                  <a:gd name="T9" fmla="*/ 110 h 117"/>
                  <a:gd name="T10" fmla="*/ 83 w 128"/>
                  <a:gd name="T11" fmla="*/ 114 h 117"/>
                  <a:gd name="T12" fmla="*/ 107 w 128"/>
                  <a:gd name="T13" fmla="*/ 109 h 117"/>
                  <a:gd name="T14" fmla="*/ 118 w 128"/>
                  <a:gd name="T15" fmla="*/ 102 h 117"/>
                  <a:gd name="T16" fmla="*/ 124 w 128"/>
                  <a:gd name="T17" fmla="*/ 84 h 117"/>
                  <a:gd name="T18" fmla="*/ 122 w 128"/>
                  <a:gd name="T19" fmla="*/ 68 h 117"/>
                  <a:gd name="T20" fmla="*/ 119 w 128"/>
                  <a:gd name="T21" fmla="*/ 51 h 117"/>
                  <a:gd name="T22" fmla="*/ 104 w 128"/>
                  <a:gd name="T23" fmla="*/ 23 h 117"/>
                  <a:gd name="T24" fmla="*/ 91 w 128"/>
                  <a:gd name="T25" fmla="*/ 6 h 117"/>
                  <a:gd name="T26" fmla="*/ 74 w 128"/>
                  <a:gd name="T27" fmla="*/ 2 h 117"/>
                  <a:gd name="T28" fmla="*/ 56 w 128"/>
                  <a:gd name="T29" fmla="*/ 15 h 117"/>
                  <a:gd name="T30" fmla="*/ 44 w 128"/>
                  <a:gd name="T31" fmla="*/ 26 h 117"/>
                  <a:gd name="T32" fmla="*/ 41 w 128"/>
                  <a:gd name="T33" fmla="*/ 37 h 117"/>
                  <a:gd name="T34" fmla="*/ 35 w 128"/>
                  <a:gd name="T35" fmla="*/ 48 h 117"/>
                  <a:gd name="T36" fmla="*/ 23 w 128"/>
                  <a:gd name="T37" fmla="*/ 53 h 117"/>
                  <a:gd name="T38" fmla="*/ 11 w 128"/>
                  <a:gd name="T39" fmla="*/ 54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8" h="117">
                    <a:moveTo>
                      <a:pt x="11" y="54"/>
                    </a:moveTo>
                    <a:cubicBezTo>
                      <a:pt x="8" y="67"/>
                      <a:pt x="14" y="85"/>
                      <a:pt x="2" y="92"/>
                    </a:cubicBezTo>
                    <a:cubicBezTo>
                      <a:pt x="2" y="100"/>
                      <a:pt x="0" y="111"/>
                      <a:pt x="10" y="114"/>
                    </a:cubicBezTo>
                    <a:cubicBezTo>
                      <a:pt x="13" y="117"/>
                      <a:pt x="14" y="111"/>
                      <a:pt x="22" y="110"/>
                    </a:cubicBezTo>
                    <a:cubicBezTo>
                      <a:pt x="30" y="109"/>
                      <a:pt x="51" y="109"/>
                      <a:pt x="61" y="110"/>
                    </a:cubicBezTo>
                    <a:cubicBezTo>
                      <a:pt x="68" y="114"/>
                      <a:pt x="76" y="109"/>
                      <a:pt x="83" y="114"/>
                    </a:cubicBezTo>
                    <a:cubicBezTo>
                      <a:pt x="91" y="114"/>
                      <a:pt x="101" y="111"/>
                      <a:pt x="107" y="109"/>
                    </a:cubicBezTo>
                    <a:cubicBezTo>
                      <a:pt x="113" y="107"/>
                      <a:pt x="115" y="106"/>
                      <a:pt x="118" y="102"/>
                    </a:cubicBezTo>
                    <a:cubicBezTo>
                      <a:pt x="119" y="94"/>
                      <a:pt x="128" y="89"/>
                      <a:pt x="124" y="84"/>
                    </a:cubicBezTo>
                    <a:cubicBezTo>
                      <a:pt x="122" y="76"/>
                      <a:pt x="118" y="75"/>
                      <a:pt x="122" y="68"/>
                    </a:cubicBezTo>
                    <a:cubicBezTo>
                      <a:pt x="119" y="62"/>
                      <a:pt x="121" y="57"/>
                      <a:pt x="119" y="51"/>
                    </a:cubicBezTo>
                    <a:cubicBezTo>
                      <a:pt x="117" y="40"/>
                      <a:pt x="116" y="25"/>
                      <a:pt x="104" y="23"/>
                    </a:cubicBezTo>
                    <a:cubicBezTo>
                      <a:pt x="98" y="19"/>
                      <a:pt x="91" y="6"/>
                      <a:pt x="91" y="6"/>
                    </a:cubicBezTo>
                    <a:cubicBezTo>
                      <a:pt x="87" y="0"/>
                      <a:pt x="81" y="3"/>
                      <a:pt x="74" y="2"/>
                    </a:cubicBezTo>
                    <a:cubicBezTo>
                      <a:pt x="67" y="6"/>
                      <a:pt x="64" y="14"/>
                      <a:pt x="56" y="15"/>
                    </a:cubicBezTo>
                    <a:cubicBezTo>
                      <a:pt x="53" y="20"/>
                      <a:pt x="47" y="21"/>
                      <a:pt x="44" y="26"/>
                    </a:cubicBezTo>
                    <a:cubicBezTo>
                      <a:pt x="42" y="30"/>
                      <a:pt x="42" y="33"/>
                      <a:pt x="41" y="37"/>
                    </a:cubicBezTo>
                    <a:cubicBezTo>
                      <a:pt x="40" y="41"/>
                      <a:pt x="38" y="45"/>
                      <a:pt x="35" y="48"/>
                    </a:cubicBezTo>
                    <a:cubicBezTo>
                      <a:pt x="26" y="47"/>
                      <a:pt x="27" y="52"/>
                      <a:pt x="23" y="53"/>
                    </a:cubicBezTo>
                    <a:cubicBezTo>
                      <a:pt x="19" y="54"/>
                      <a:pt x="13" y="54"/>
                      <a:pt x="11" y="54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78" name="Freeform 74">
                <a:extLst>
                  <a:ext uri="{FF2B5EF4-FFF2-40B4-BE49-F238E27FC236}">
                    <a16:creationId xmlns:a16="http://schemas.microsoft.com/office/drawing/2014/main" id="{0AB4AB37-C00C-4698-A231-E1B695C2D540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gray">
              <a:xfrm>
                <a:off x="4582339" y="2916876"/>
                <a:ext cx="194011" cy="257369"/>
              </a:xfrm>
              <a:custGeom>
                <a:avLst/>
                <a:gdLst>
                  <a:gd name="T0" fmla="*/ 3 w 129"/>
                  <a:gd name="T1" fmla="*/ 127 h 167"/>
                  <a:gd name="T2" fmla="*/ 4 w 129"/>
                  <a:gd name="T3" fmla="*/ 109 h 167"/>
                  <a:gd name="T4" fmla="*/ 3 w 129"/>
                  <a:gd name="T5" fmla="*/ 88 h 167"/>
                  <a:gd name="T6" fmla="*/ 7 w 129"/>
                  <a:gd name="T7" fmla="*/ 69 h 167"/>
                  <a:gd name="T8" fmla="*/ 15 w 129"/>
                  <a:gd name="T9" fmla="*/ 52 h 167"/>
                  <a:gd name="T10" fmla="*/ 24 w 129"/>
                  <a:gd name="T11" fmla="*/ 28 h 167"/>
                  <a:gd name="T12" fmla="*/ 52 w 129"/>
                  <a:gd name="T13" fmla="*/ 22 h 167"/>
                  <a:gd name="T14" fmla="*/ 57 w 129"/>
                  <a:gd name="T15" fmla="*/ 0 h 167"/>
                  <a:gd name="T16" fmla="*/ 75 w 129"/>
                  <a:gd name="T17" fmla="*/ 13 h 167"/>
                  <a:gd name="T18" fmla="*/ 87 w 129"/>
                  <a:gd name="T19" fmla="*/ 21 h 167"/>
                  <a:gd name="T20" fmla="*/ 114 w 129"/>
                  <a:gd name="T21" fmla="*/ 13 h 167"/>
                  <a:gd name="T22" fmla="*/ 123 w 129"/>
                  <a:gd name="T23" fmla="*/ 27 h 167"/>
                  <a:gd name="T24" fmla="*/ 129 w 129"/>
                  <a:gd name="T25" fmla="*/ 58 h 167"/>
                  <a:gd name="T26" fmla="*/ 126 w 129"/>
                  <a:gd name="T27" fmla="*/ 88 h 167"/>
                  <a:gd name="T28" fmla="*/ 111 w 129"/>
                  <a:gd name="T29" fmla="*/ 100 h 167"/>
                  <a:gd name="T30" fmla="*/ 97 w 129"/>
                  <a:gd name="T31" fmla="*/ 108 h 167"/>
                  <a:gd name="T32" fmla="*/ 97 w 129"/>
                  <a:gd name="T33" fmla="*/ 120 h 167"/>
                  <a:gd name="T34" fmla="*/ 111 w 129"/>
                  <a:gd name="T35" fmla="*/ 129 h 167"/>
                  <a:gd name="T36" fmla="*/ 103 w 129"/>
                  <a:gd name="T37" fmla="*/ 156 h 167"/>
                  <a:gd name="T38" fmla="*/ 96 w 129"/>
                  <a:gd name="T39" fmla="*/ 165 h 167"/>
                  <a:gd name="T40" fmla="*/ 76 w 129"/>
                  <a:gd name="T41" fmla="*/ 166 h 167"/>
                  <a:gd name="T42" fmla="*/ 28 w 129"/>
                  <a:gd name="T43" fmla="*/ 159 h 167"/>
                  <a:gd name="T44" fmla="*/ 30 w 129"/>
                  <a:gd name="T45" fmla="*/ 141 h 167"/>
                  <a:gd name="T46" fmla="*/ 16 w 129"/>
                  <a:gd name="T47" fmla="*/ 129 h 167"/>
                  <a:gd name="T48" fmla="*/ 3 w 129"/>
                  <a:gd name="T49" fmla="*/ 127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29" h="167">
                    <a:moveTo>
                      <a:pt x="3" y="127"/>
                    </a:moveTo>
                    <a:cubicBezTo>
                      <a:pt x="0" y="123"/>
                      <a:pt x="3" y="119"/>
                      <a:pt x="4" y="109"/>
                    </a:cubicBezTo>
                    <a:cubicBezTo>
                      <a:pt x="4" y="103"/>
                      <a:pt x="2" y="95"/>
                      <a:pt x="3" y="88"/>
                    </a:cubicBezTo>
                    <a:cubicBezTo>
                      <a:pt x="4" y="81"/>
                      <a:pt x="5" y="75"/>
                      <a:pt x="7" y="69"/>
                    </a:cubicBezTo>
                    <a:cubicBezTo>
                      <a:pt x="8" y="59"/>
                      <a:pt x="10" y="58"/>
                      <a:pt x="15" y="52"/>
                    </a:cubicBezTo>
                    <a:cubicBezTo>
                      <a:pt x="18" y="45"/>
                      <a:pt x="18" y="33"/>
                      <a:pt x="24" y="28"/>
                    </a:cubicBezTo>
                    <a:cubicBezTo>
                      <a:pt x="28" y="17"/>
                      <a:pt x="39" y="24"/>
                      <a:pt x="52" y="22"/>
                    </a:cubicBezTo>
                    <a:cubicBezTo>
                      <a:pt x="54" y="14"/>
                      <a:pt x="46" y="2"/>
                      <a:pt x="57" y="0"/>
                    </a:cubicBezTo>
                    <a:cubicBezTo>
                      <a:pt x="70" y="1"/>
                      <a:pt x="68" y="4"/>
                      <a:pt x="75" y="13"/>
                    </a:cubicBezTo>
                    <a:cubicBezTo>
                      <a:pt x="77" y="22"/>
                      <a:pt x="78" y="22"/>
                      <a:pt x="87" y="21"/>
                    </a:cubicBezTo>
                    <a:cubicBezTo>
                      <a:pt x="95" y="8"/>
                      <a:pt x="92" y="12"/>
                      <a:pt x="114" y="13"/>
                    </a:cubicBezTo>
                    <a:cubicBezTo>
                      <a:pt x="115" y="20"/>
                      <a:pt x="120" y="20"/>
                      <a:pt x="123" y="27"/>
                    </a:cubicBezTo>
                    <a:cubicBezTo>
                      <a:pt x="124" y="37"/>
                      <a:pt x="124" y="49"/>
                      <a:pt x="129" y="58"/>
                    </a:cubicBezTo>
                    <a:cubicBezTo>
                      <a:pt x="129" y="69"/>
                      <a:pt x="129" y="81"/>
                      <a:pt x="126" y="88"/>
                    </a:cubicBezTo>
                    <a:cubicBezTo>
                      <a:pt x="123" y="95"/>
                      <a:pt x="116" y="97"/>
                      <a:pt x="111" y="100"/>
                    </a:cubicBezTo>
                    <a:cubicBezTo>
                      <a:pt x="104" y="105"/>
                      <a:pt x="102" y="100"/>
                      <a:pt x="97" y="108"/>
                    </a:cubicBezTo>
                    <a:cubicBezTo>
                      <a:pt x="96" y="111"/>
                      <a:pt x="95" y="116"/>
                      <a:pt x="97" y="120"/>
                    </a:cubicBezTo>
                    <a:cubicBezTo>
                      <a:pt x="99" y="124"/>
                      <a:pt x="110" y="123"/>
                      <a:pt x="111" y="129"/>
                    </a:cubicBezTo>
                    <a:cubicBezTo>
                      <a:pt x="113" y="142"/>
                      <a:pt x="108" y="145"/>
                      <a:pt x="103" y="156"/>
                    </a:cubicBezTo>
                    <a:cubicBezTo>
                      <a:pt x="100" y="162"/>
                      <a:pt x="100" y="163"/>
                      <a:pt x="96" y="165"/>
                    </a:cubicBezTo>
                    <a:cubicBezTo>
                      <a:pt x="92" y="167"/>
                      <a:pt x="87" y="167"/>
                      <a:pt x="76" y="166"/>
                    </a:cubicBezTo>
                    <a:cubicBezTo>
                      <a:pt x="60" y="154"/>
                      <a:pt x="59" y="160"/>
                      <a:pt x="28" y="159"/>
                    </a:cubicBezTo>
                    <a:cubicBezTo>
                      <a:pt x="20" y="155"/>
                      <a:pt x="32" y="146"/>
                      <a:pt x="30" y="141"/>
                    </a:cubicBezTo>
                    <a:cubicBezTo>
                      <a:pt x="28" y="136"/>
                      <a:pt x="20" y="131"/>
                      <a:pt x="16" y="129"/>
                    </a:cubicBezTo>
                    <a:cubicBezTo>
                      <a:pt x="11" y="126"/>
                      <a:pt x="3" y="131"/>
                      <a:pt x="3" y="12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79" name="Freeform 75">
                <a:extLst>
                  <a:ext uri="{FF2B5EF4-FFF2-40B4-BE49-F238E27FC236}">
                    <a16:creationId xmlns:a16="http://schemas.microsoft.com/office/drawing/2014/main" id="{4A203D00-DF5E-44D4-A675-2E3A4270AE09}"/>
                  </a:ext>
                </a:extLst>
              </p:cNvPr>
              <p:cNvSpPr>
                <a:spLocks/>
              </p:cNvSpPr>
              <p:nvPr>
                <p:custDataLst>
                  <p:tags r:id="rId67"/>
                </p:custDataLst>
              </p:nvPr>
            </p:nvSpPr>
            <p:spPr bwMode="gray">
              <a:xfrm>
                <a:off x="4539389" y="2944616"/>
                <a:ext cx="84417" cy="97092"/>
              </a:xfrm>
              <a:custGeom>
                <a:avLst/>
                <a:gdLst>
                  <a:gd name="T0" fmla="*/ 7 w 56"/>
                  <a:gd name="T1" fmla="*/ 52 h 63"/>
                  <a:gd name="T2" fmla="*/ 10 w 56"/>
                  <a:gd name="T3" fmla="*/ 35 h 63"/>
                  <a:gd name="T4" fmla="*/ 14 w 56"/>
                  <a:gd name="T5" fmla="*/ 17 h 63"/>
                  <a:gd name="T6" fmla="*/ 50 w 56"/>
                  <a:gd name="T7" fmla="*/ 9 h 63"/>
                  <a:gd name="T8" fmla="*/ 44 w 56"/>
                  <a:gd name="T9" fmla="*/ 27 h 63"/>
                  <a:gd name="T10" fmla="*/ 38 w 56"/>
                  <a:gd name="T11" fmla="*/ 46 h 63"/>
                  <a:gd name="T12" fmla="*/ 28 w 56"/>
                  <a:gd name="T13" fmla="*/ 63 h 63"/>
                  <a:gd name="T14" fmla="*/ 7 w 56"/>
                  <a:gd name="T15" fmla="*/ 52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6" h="63">
                    <a:moveTo>
                      <a:pt x="7" y="52"/>
                    </a:moveTo>
                    <a:cubicBezTo>
                      <a:pt x="12" y="38"/>
                      <a:pt x="0" y="41"/>
                      <a:pt x="10" y="35"/>
                    </a:cubicBezTo>
                    <a:cubicBezTo>
                      <a:pt x="15" y="28"/>
                      <a:pt x="17" y="25"/>
                      <a:pt x="14" y="17"/>
                    </a:cubicBezTo>
                    <a:cubicBezTo>
                      <a:pt x="20" y="0"/>
                      <a:pt x="32" y="8"/>
                      <a:pt x="50" y="9"/>
                    </a:cubicBezTo>
                    <a:cubicBezTo>
                      <a:pt x="56" y="11"/>
                      <a:pt x="46" y="21"/>
                      <a:pt x="44" y="27"/>
                    </a:cubicBezTo>
                    <a:cubicBezTo>
                      <a:pt x="42" y="33"/>
                      <a:pt x="33" y="40"/>
                      <a:pt x="38" y="46"/>
                    </a:cubicBezTo>
                    <a:cubicBezTo>
                      <a:pt x="33" y="54"/>
                      <a:pt x="37" y="60"/>
                      <a:pt x="28" y="63"/>
                    </a:cubicBezTo>
                    <a:cubicBezTo>
                      <a:pt x="18" y="60"/>
                      <a:pt x="14" y="59"/>
                      <a:pt x="7" y="5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80" name="Freeform 77">
                <a:extLst>
                  <a:ext uri="{FF2B5EF4-FFF2-40B4-BE49-F238E27FC236}">
                    <a16:creationId xmlns:a16="http://schemas.microsoft.com/office/drawing/2014/main" id="{C2295940-0290-4749-9F6A-C9BB7CC27B70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gray">
              <a:xfrm>
                <a:off x="4885788" y="3362264"/>
                <a:ext cx="146774" cy="175895"/>
              </a:xfrm>
              <a:custGeom>
                <a:avLst/>
                <a:gdLst/>
                <a:ahLst/>
                <a:cxnLst/>
                <a:rect l="l" t="t" r="r" b="b"/>
                <a:pathLst>
                  <a:path w="157329" h="181187">
                    <a:moveTo>
                      <a:pt x="93201" y="149225"/>
                    </a:moveTo>
                    <a:cubicBezTo>
                      <a:pt x="128471" y="153988"/>
                      <a:pt x="114043" y="166688"/>
                      <a:pt x="157329" y="171450"/>
                    </a:cubicBezTo>
                    <a:cubicBezTo>
                      <a:pt x="136488" y="185738"/>
                      <a:pt x="133281" y="180976"/>
                      <a:pt x="102820" y="177801"/>
                    </a:cubicBezTo>
                    <a:cubicBezTo>
                      <a:pt x="91598" y="169863"/>
                      <a:pt x="85185" y="171450"/>
                      <a:pt x="80375" y="158750"/>
                    </a:cubicBezTo>
                    <a:cubicBezTo>
                      <a:pt x="91598" y="155575"/>
                      <a:pt x="88391" y="158750"/>
                      <a:pt x="93201" y="149225"/>
                    </a:cubicBezTo>
                    <a:close/>
                    <a:moveTo>
                      <a:pt x="112439" y="0"/>
                    </a:moveTo>
                    <a:cubicBezTo>
                      <a:pt x="96407" y="15875"/>
                      <a:pt x="110836" y="-3175"/>
                      <a:pt x="115645" y="12700"/>
                    </a:cubicBezTo>
                    <a:cubicBezTo>
                      <a:pt x="110836" y="30162"/>
                      <a:pt x="67548" y="46037"/>
                      <a:pt x="56326" y="65087"/>
                    </a:cubicBezTo>
                    <a:cubicBezTo>
                      <a:pt x="46707" y="80962"/>
                      <a:pt x="57929" y="103187"/>
                      <a:pt x="56326" y="112712"/>
                    </a:cubicBezTo>
                    <a:cubicBezTo>
                      <a:pt x="54723" y="122237"/>
                      <a:pt x="49913" y="130175"/>
                      <a:pt x="41897" y="120650"/>
                    </a:cubicBezTo>
                    <a:cubicBezTo>
                      <a:pt x="13039" y="101600"/>
                      <a:pt x="9833" y="92075"/>
                      <a:pt x="3420" y="57150"/>
                    </a:cubicBezTo>
                    <a:cubicBezTo>
                      <a:pt x="1817" y="50800"/>
                      <a:pt x="-187" y="48815"/>
                      <a:pt x="13" y="47823"/>
                    </a:cubicBezTo>
                    <a:lnTo>
                      <a:pt x="9833" y="44450"/>
                    </a:lnTo>
                    <a:cubicBezTo>
                      <a:pt x="16246" y="42862"/>
                      <a:pt x="30674" y="50800"/>
                      <a:pt x="38691" y="46037"/>
                    </a:cubicBezTo>
                    <a:cubicBezTo>
                      <a:pt x="46707" y="41275"/>
                      <a:pt x="54723" y="19050"/>
                      <a:pt x="61136" y="14287"/>
                    </a:cubicBezTo>
                    <a:cubicBezTo>
                      <a:pt x="61136" y="14287"/>
                      <a:pt x="67548" y="9525"/>
                      <a:pt x="73961" y="6350"/>
                    </a:cubicBezTo>
                    <a:cubicBezTo>
                      <a:pt x="85184" y="0"/>
                      <a:pt x="99613" y="4762"/>
                      <a:pt x="112439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81" name="Freeform 79">
                <a:extLst>
                  <a:ext uri="{FF2B5EF4-FFF2-40B4-BE49-F238E27FC236}">
                    <a16:creationId xmlns:a16="http://schemas.microsoft.com/office/drawing/2014/main" id="{59E3EB7F-8688-4014-BF4C-BCCE040942CE}"/>
                  </a:ext>
                </a:extLst>
              </p:cNvPr>
              <p:cNvSpPr>
                <a:spLocks/>
              </p:cNvSpPr>
              <p:nvPr>
                <p:custDataLst>
                  <p:tags r:id="rId69"/>
                </p:custDataLst>
              </p:nvPr>
            </p:nvSpPr>
            <p:spPr bwMode="gray">
              <a:xfrm>
                <a:off x="5953742" y="3391545"/>
                <a:ext cx="182163" cy="124832"/>
              </a:xfrm>
              <a:custGeom>
                <a:avLst/>
                <a:gdLst>
                  <a:gd name="T0" fmla="*/ 98 w 121"/>
                  <a:gd name="T1" fmla="*/ 26 h 81"/>
                  <a:gd name="T2" fmla="*/ 98 w 121"/>
                  <a:gd name="T3" fmla="*/ 40 h 81"/>
                  <a:gd name="T4" fmla="*/ 109 w 121"/>
                  <a:gd name="T5" fmla="*/ 34 h 81"/>
                  <a:gd name="T6" fmla="*/ 113 w 121"/>
                  <a:gd name="T7" fmla="*/ 46 h 81"/>
                  <a:gd name="T8" fmla="*/ 119 w 121"/>
                  <a:gd name="T9" fmla="*/ 62 h 81"/>
                  <a:gd name="T10" fmla="*/ 101 w 121"/>
                  <a:gd name="T11" fmla="*/ 68 h 81"/>
                  <a:gd name="T12" fmla="*/ 80 w 121"/>
                  <a:gd name="T13" fmla="*/ 74 h 81"/>
                  <a:gd name="T14" fmla="*/ 64 w 121"/>
                  <a:gd name="T15" fmla="*/ 77 h 81"/>
                  <a:gd name="T16" fmla="*/ 62 w 121"/>
                  <a:gd name="T17" fmla="*/ 52 h 81"/>
                  <a:gd name="T18" fmla="*/ 58 w 121"/>
                  <a:gd name="T19" fmla="*/ 40 h 81"/>
                  <a:gd name="T20" fmla="*/ 44 w 121"/>
                  <a:gd name="T21" fmla="*/ 58 h 81"/>
                  <a:gd name="T22" fmla="*/ 32 w 121"/>
                  <a:gd name="T23" fmla="*/ 64 h 81"/>
                  <a:gd name="T24" fmla="*/ 11 w 121"/>
                  <a:gd name="T25" fmla="*/ 67 h 81"/>
                  <a:gd name="T26" fmla="*/ 8 w 121"/>
                  <a:gd name="T27" fmla="*/ 53 h 81"/>
                  <a:gd name="T28" fmla="*/ 8 w 121"/>
                  <a:gd name="T29" fmla="*/ 39 h 81"/>
                  <a:gd name="T30" fmla="*/ 2 w 121"/>
                  <a:gd name="T31" fmla="*/ 25 h 81"/>
                  <a:gd name="T32" fmla="*/ 20 w 121"/>
                  <a:gd name="T33" fmla="*/ 11 h 81"/>
                  <a:gd name="T34" fmla="*/ 28 w 121"/>
                  <a:gd name="T35" fmla="*/ 1 h 81"/>
                  <a:gd name="T36" fmla="*/ 37 w 121"/>
                  <a:gd name="T37" fmla="*/ 4 h 81"/>
                  <a:gd name="T38" fmla="*/ 50 w 121"/>
                  <a:gd name="T39" fmla="*/ 19 h 81"/>
                  <a:gd name="T40" fmla="*/ 52 w 121"/>
                  <a:gd name="T41" fmla="*/ 32 h 81"/>
                  <a:gd name="T42" fmla="*/ 58 w 121"/>
                  <a:gd name="T43" fmla="*/ 23 h 81"/>
                  <a:gd name="T44" fmla="*/ 79 w 121"/>
                  <a:gd name="T45" fmla="*/ 26 h 81"/>
                  <a:gd name="T46" fmla="*/ 98 w 121"/>
                  <a:gd name="T47" fmla="*/ 26 h 8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21" h="81">
                    <a:moveTo>
                      <a:pt x="98" y="26"/>
                    </a:moveTo>
                    <a:cubicBezTo>
                      <a:pt x="101" y="28"/>
                      <a:pt x="96" y="39"/>
                      <a:pt x="98" y="40"/>
                    </a:cubicBezTo>
                    <a:cubicBezTo>
                      <a:pt x="100" y="41"/>
                      <a:pt x="107" y="33"/>
                      <a:pt x="109" y="34"/>
                    </a:cubicBezTo>
                    <a:cubicBezTo>
                      <a:pt x="111" y="35"/>
                      <a:pt x="111" y="41"/>
                      <a:pt x="113" y="46"/>
                    </a:cubicBezTo>
                    <a:cubicBezTo>
                      <a:pt x="115" y="51"/>
                      <a:pt x="121" y="58"/>
                      <a:pt x="119" y="62"/>
                    </a:cubicBezTo>
                    <a:cubicBezTo>
                      <a:pt x="117" y="66"/>
                      <a:pt x="107" y="66"/>
                      <a:pt x="101" y="68"/>
                    </a:cubicBezTo>
                    <a:cubicBezTo>
                      <a:pt x="95" y="70"/>
                      <a:pt x="86" y="73"/>
                      <a:pt x="80" y="74"/>
                    </a:cubicBezTo>
                    <a:cubicBezTo>
                      <a:pt x="74" y="75"/>
                      <a:pt x="67" y="81"/>
                      <a:pt x="64" y="77"/>
                    </a:cubicBezTo>
                    <a:cubicBezTo>
                      <a:pt x="61" y="73"/>
                      <a:pt x="63" y="58"/>
                      <a:pt x="62" y="52"/>
                    </a:cubicBezTo>
                    <a:cubicBezTo>
                      <a:pt x="61" y="46"/>
                      <a:pt x="61" y="39"/>
                      <a:pt x="58" y="40"/>
                    </a:cubicBezTo>
                    <a:cubicBezTo>
                      <a:pt x="55" y="41"/>
                      <a:pt x="48" y="54"/>
                      <a:pt x="44" y="58"/>
                    </a:cubicBezTo>
                    <a:cubicBezTo>
                      <a:pt x="40" y="62"/>
                      <a:pt x="37" y="63"/>
                      <a:pt x="32" y="64"/>
                    </a:cubicBezTo>
                    <a:cubicBezTo>
                      <a:pt x="27" y="65"/>
                      <a:pt x="15" y="69"/>
                      <a:pt x="11" y="67"/>
                    </a:cubicBezTo>
                    <a:cubicBezTo>
                      <a:pt x="7" y="65"/>
                      <a:pt x="8" y="58"/>
                      <a:pt x="8" y="53"/>
                    </a:cubicBezTo>
                    <a:cubicBezTo>
                      <a:pt x="8" y="48"/>
                      <a:pt x="9" y="44"/>
                      <a:pt x="8" y="39"/>
                    </a:cubicBezTo>
                    <a:cubicBezTo>
                      <a:pt x="7" y="34"/>
                      <a:pt x="0" y="30"/>
                      <a:pt x="2" y="25"/>
                    </a:cubicBezTo>
                    <a:cubicBezTo>
                      <a:pt x="4" y="20"/>
                      <a:pt x="16" y="15"/>
                      <a:pt x="20" y="11"/>
                    </a:cubicBezTo>
                    <a:cubicBezTo>
                      <a:pt x="24" y="7"/>
                      <a:pt x="25" y="2"/>
                      <a:pt x="28" y="1"/>
                    </a:cubicBezTo>
                    <a:cubicBezTo>
                      <a:pt x="31" y="0"/>
                      <a:pt x="33" y="1"/>
                      <a:pt x="37" y="4"/>
                    </a:cubicBezTo>
                    <a:cubicBezTo>
                      <a:pt x="41" y="7"/>
                      <a:pt x="48" y="14"/>
                      <a:pt x="50" y="19"/>
                    </a:cubicBezTo>
                    <a:cubicBezTo>
                      <a:pt x="52" y="24"/>
                      <a:pt x="51" y="31"/>
                      <a:pt x="52" y="32"/>
                    </a:cubicBezTo>
                    <a:cubicBezTo>
                      <a:pt x="53" y="33"/>
                      <a:pt x="54" y="24"/>
                      <a:pt x="58" y="23"/>
                    </a:cubicBezTo>
                    <a:cubicBezTo>
                      <a:pt x="62" y="22"/>
                      <a:pt x="73" y="26"/>
                      <a:pt x="79" y="26"/>
                    </a:cubicBezTo>
                    <a:cubicBezTo>
                      <a:pt x="85" y="26"/>
                      <a:pt x="95" y="24"/>
                      <a:pt x="98" y="2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82" name="Freeform 80">
                <a:extLst>
                  <a:ext uri="{FF2B5EF4-FFF2-40B4-BE49-F238E27FC236}">
                    <a16:creationId xmlns:a16="http://schemas.microsoft.com/office/drawing/2014/main" id="{A9F9B46E-4C91-4676-8885-45662186C734}"/>
                  </a:ext>
                </a:extLst>
              </p:cNvPr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gray">
              <a:xfrm>
                <a:off x="4192836" y="2882971"/>
                <a:ext cx="115518" cy="169524"/>
              </a:xfrm>
              <a:custGeom>
                <a:avLst/>
                <a:gdLst>
                  <a:gd name="T0" fmla="*/ 40 w 76"/>
                  <a:gd name="T1" fmla="*/ 41 h 110"/>
                  <a:gd name="T2" fmla="*/ 66 w 76"/>
                  <a:gd name="T3" fmla="*/ 55 h 110"/>
                  <a:gd name="T4" fmla="*/ 73 w 76"/>
                  <a:gd name="T5" fmla="*/ 91 h 110"/>
                  <a:gd name="T6" fmla="*/ 51 w 76"/>
                  <a:gd name="T7" fmla="*/ 103 h 110"/>
                  <a:gd name="T8" fmla="*/ 36 w 76"/>
                  <a:gd name="T9" fmla="*/ 103 h 110"/>
                  <a:gd name="T10" fmla="*/ 16 w 76"/>
                  <a:gd name="T11" fmla="*/ 91 h 110"/>
                  <a:gd name="T12" fmla="*/ 15 w 76"/>
                  <a:gd name="T13" fmla="*/ 82 h 110"/>
                  <a:gd name="T14" fmla="*/ 28 w 76"/>
                  <a:gd name="T15" fmla="*/ 64 h 110"/>
                  <a:gd name="T16" fmla="*/ 12 w 76"/>
                  <a:gd name="T17" fmla="*/ 53 h 110"/>
                  <a:gd name="T18" fmla="*/ 3 w 76"/>
                  <a:gd name="T19" fmla="*/ 37 h 110"/>
                  <a:gd name="T20" fmla="*/ 30 w 76"/>
                  <a:gd name="T21" fmla="*/ 25 h 110"/>
                  <a:gd name="T22" fmla="*/ 21 w 76"/>
                  <a:gd name="T23" fmla="*/ 8 h 110"/>
                  <a:gd name="T24" fmla="*/ 55 w 76"/>
                  <a:gd name="T25" fmla="*/ 2 h 110"/>
                  <a:gd name="T26" fmla="*/ 43 w 76"/>
                  <a:gd name="T27" fmla="*/ 19 h 110"/>
                  <a:gd name="T28" fmla="*/ 40 w 76"/>
                  <a:gd name="T29" fmla="*/ 41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110">
                    <a:moveTo>
                      <a:pt x="40" y="41"/>
                    </a:moveTo>
                    <a:cubicBezTo>
                      <a:pt x="46" y="45"/>
                      <a:pt x="61" y="47"/>
                      <a:pt x="66" y="55"/>
                    </a:cubicBezTo>
                    <a:cubicBezTo>
                      <a:pt x="71" y="63"/>
                      <a:pt x="76" y="83"/>
                      <a:pt x="73" y="91"/>
                    </a:cubicBezTo>
                    <a:cubicBezTo>
                      <a:pt x="66" y="94"/>
                      <a:pt x="59" y="101"/>
                      <a:pt x="51" y="103"/>
                    </a:cubicBezTo>
                    <a:cubicBezTo>
                      <a:pt x="50" y="110"/>
                      <a:pt x="42" y="100"/>
                      <a:pt x="36" y="103"/>
                    </a:cubicBezTo>
                    <a:cubicBezTo>
                      <a:pt x="13" y="99"/>
                      <a:pt x="23" y="104"/>
                      <a:pt x="16" y="91"/>
                    </a:cubicBezTo>
                    <a:cubicBezTo>
                      <a:pt x="15" y="84"/>
                      <a:pt x="6" y="84"/>
                      <a:pt x="15" y="82"/>
                    </a:cubicBezTo>
                    <a:cubicBezTo>
                      <a:pt x="21" y="72"/>
                      <a:pt x="18" y="72"/>
                      <a:pt x="28" y="64"/>
                    </a:cubicBezTo>
                    <a:cubicBezTo>
                      <a:pt x="26" y="52"/>
                      <a:pt x="17" y="62"/>
                      <a:pt x="12" y="53"/>
                    </a:cubicBezTo>
                    <a:cubicBezTo>
                      <a:pt x="10" y="48"/>
                      <a:pt x="0" y="42"/>
                      <a:pt x="3" y="37"/>
                    </a:cubicBezTo>
                    <a:cubicBezTo>
                      <a:pt x="6" y="32"/>
                      <a:pt x="27" y="30"/>
                      <a:pt x="30" y="25"/>
                    </a:cubicBezTo>
                    <a:cubicBezTo>
                      <a:pt x="33" y="20"/>
                      <a:pt x="17" y="12"/>
                      <a:pt x="21" y="8"/>
                    </a:cubicBezTo>
                    <a:cubicBezTo>
                      <a:pt x="25" y="4"/>
                      <a:pt x="52" y="0"/>
                      <a:pt x="55" y="2"/>
                    </a:cubicBezTo>
                    <a:cubicBezTo>
                      <a:pt x="58" y="4"/>
                      <a:pt x="45" y="13"/>
                      <a:pt x="43" y="19"/>
                    </a:cubicBezTo>
                    <a:cubicBezTo>
                      <a:pt x="41" y="25"/>
                      <a:pt x="31" y="37"/>
                      <a:pt x="40" y="4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83" name="Freeform 86">
                <a:extLst>
                  <a:ext uri="{FF2B5EF4-FFF2-40B4-BE49-F238E27FC236}">
                    <a16:creationId xmlns:a16="http://schemas.microsoft.com/office/drawing/2014/main" id="{A2B05469-EDA1-4960-812E-EDC987058255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gray">
              <a:xfrm>
                <a:off x="4256519" y="3297536"/>
                <a:ext cx="275465" cy="228087"/>
              </a:xfrm>
              <a:custGeom>
                <a:avLst/>
                <a:gdLst>
                  <a:gd name="T0" fmla="*/ 9 w 183"/>
                  <a:gd name="T1" fmla="*/ 5 h 148"/>
                  <a:gd name="T2" fmla="*/ 54 w 183"/>
                  <a:gd name="T3" fmla="*/ 3 h 148"/>
                  <a:gd name="T4" fmla="*/ 81 w 183"/>
                  <a:gd name="T5" fmla="*/ 3 h 148"/>
                  <a:gd name="T6" fmla="*/ 156 w 183"/>
                  <a:gd name="T7" fmla="*/ 17 h 148"/>
                  <a:gd name="T8" fmla="*/ 175 w 183"/>
                  <a:gd name="T9" fmla="*/ 27 h 148"/>
                  <a:gd name="T10" fmla="*/ 175 w 183"/>
                  <a:gd name="T11" fmla="*/ 39 h 148"/>
                  <a:gd name="T12" fmla="*/ 154 w 183"/>
                  <a:gd name="T13" fmla="*/ 48 h 148"/>
                  <a:gd name="T14" fmla="*/ 139 w 183"/>
                  <a:gd name="T15" fmla="*/ 62 h 148"/>
                  <a:gd name="T16" fmla="*/ 129 w 183"/>
                  <a:gd name="T17" fmla="*/ 77 h 148"/>
                  <a:gd name="T18" fmla="*/ 132 w 183"/>
                  <a:gd name="T19" fmla="*/ 96 h 148"/>
                  <a:gd name="T20" fmla="*/ 130 w 183"/>
                  <a:gd name="T21" fmla="*/ 102 h 148"/>
                  <a:gd name="T22" fmla="*/ 123 w 183"/>
                  <a:gd name="T23" fmla="*/ 104 h 148"/>
                  <a:gd name="T24" fmla="*/ 112 w 183"/>
                  <a:gd name="T25" fmla="*/ 119 h 148"/>
                  <a:gd name="T26" fmla="*/ 91 w 183"/>
                  <a:gd name="T27" fmla="*/ 134 h 148"/>
                  <a:gd name="T28" fmla="*/ 55 w 183"/>
                  <a:gd name="T29" fmla="*/ 141 h 148"/>
                  <a:gd name="T30" fmla="*/ 43 w 183"/>
                  <a:gd name="T31" fmla="*/ 146 h 148"/>
                  <a:gd name="T32" fmla="*/ 28 w 183"/>
                  <a:gd name="T33" fmla="*/ 131 h 148"/>
                  <a:gd name="T34" fmla="*/ 21 w 183"/>
                  <a:gd name="T35" fmla="*/ 119 h 148"/>
                  <a:gd name="T36" fmla="*/ 27 w 183"/>
                  <a:gd name="T37" fmla="*/ 83 h 148"/>
                  <a:gd name="T38" fmla="*/ 37 w 183"/>
                  <a:gd name="T39" fmla="*/ 42 h 148"/>
                  <a:gd name="T40" fmla="*/ 16 w 183"/>
                  <a:gd name="T41" fmla="*/ 35 h 148"/>
                  <a:gd name="T42" fmla="*/ 4 w 183"/>
                  <a:gd name="T43" fmla="*/ 29 h 148"/>
                  <a:gd name="T44" fmla="*/ 0 w 183"/>
                  <a:gd name="T45" fmla="*/ 12 h 148"/>
                  <a:gd name="T46" fmla="*/ 9 w 183"/>
                  <a:gd name="T47" fmla="*/ 8 h 1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3" h="148">
                    <a:moveTo>
                      <a:pt x="9" y="5"/>
                    </a:moveTo>
                    <a:cubicBezTo>
                      <a:pt x="13" y="0"/>
                      <a:pt x="48" y="3"/>
                      <a:pt x="54" y="3"/>
                    </a:cubicBezTo>
                    <a:cubicBezTo>
                      <a:pt x="62" y="9"/>
                      <a:pt x="72" y="7"/>
                      <a:pt x="81" y="3"/>
                    </a:cubicBezTo>
                    <a:cubicBezTo>
                      <a:pt x="113" y="5"/>
                      <a:pt x="122" y="15"/>
                      <a:pt x="156" y="17"/>
                    </a:cubicBezTo>
                    <a:cubicBezTo>
                      <a:pt x="167" y="25"/>
                      <a:pt x="155" y="25"/>
                      <a:pt x="175" y="27"/>
                    </a:cubicBezTo>
                    <a:cubicBezTo>
                      <a:pt x="177" y="34"/>
                      <a:pt x="183" y="37"/>
                      <a:pt x="175" y="39"/>
                    </a:cubicBezTo>
                    <a:cubicBezTo>
                      <a:pt x="171" y="46"/>
                      <a:pt x="162" y="47"/>
                      <a:pt x="154" y="48"/>
                    </a:cubicBezTo>
                    <a:cubicBezTo>
                      <a:pt x="148" y="53"/>
                      <a:pt x="147" y="59"/>
                      <a:pt x="139" y="62"/>
                    </a:cubicBezTo>
                    <a:cubicBezTo>
                      <a:pt x="135" y="68"/>
                      <a:pt x="136" y="74"/>
                      <a:pt x="129" y="77"/>
                    </a:cubicBezTo>
                    <a:cubicBezTo>
                      <a:pt x="123" y="84"/>
                      <a:pt x="125" y="91"/>
                      <a:pt x="132" y="96"/>
                    </a:cubicBezTo>
                    <a:cubicBezTo>
                      <a:pt x="131" y="98"/>
                      <a:pt x="132" y="101"/>
                      <a:pt x="130" y="102"/>
                    </a:cubicBezTo>
                    <a:cubicBezTo>
                      <a:pt x="128" y="104"/>
                      <a:pt x="125" y="102"/>
                      <a:pt x="123" y="104"/>
                    </a:cubicBezTo>
                    <a:cubicBezTo>
                      <a:pt x="115" y="114"/>
                      <a:pt x="125" y="111"/>
                      <a:pt x="112" y="119"/>
                    </a:cubicBezTo>
                    <a:cubicBezTo>
                      <a:pt x="105" y="129"/>
                      <a:pt x="102" y="130"/>
                      <a:pt x="91" y="134"/>
                    </a:cubicBezTo>
                    <a:cubicBezTo>
                      <a:pt x="78" y="144"/>
                      <a:pt x="78" y="140"/>
                      <a:pt x="55" y="141"/>
                    </a:cubicBezTo>
                    <a:cubicBezTo>
                      <a:pt x="48" y="145"/>
                      <a:pt x="52" y="148"/>
                      <a:pt x="43" y="146"/>
                    </a:cubicBezTo>
                    <a:cubicBezTo>
                      <a:pt x="39" y="140"/>
                      <a:pt x="35" y="132"/>
                      <a:pt x="28" y="131"/>
                    </a:cubicBezTo>
                    <a:cubicBezTo>
                      <a:pt x="25" y="126"/>
                      <a:pt x="24" y="124"/>
                      <a:pt x="21" y="119"/>
                    </a:cubicBezTo>
                    <a:cubicBezTo>
                      <a:pt x="28" y="108"/>
                      <a:pt x="21" y="95"/>
                      <a:pt x="27" y="83"/>
                    </a:cubicBezTo>
                    <a:cubicBezTo>
                      <a:pt x="30" y="67"/>
                      <a:pt x="29" y="56"/>
                      <a:pt x="37" y="42"/>
                    </a:cubicBezTo>
                    <a:cubicBezTo>
                      <a:pt x="31" y="34"/>
                      <a:pt x="27" y="36"/>
                      <a:pt x="16" y="35"/>
                    </a:cubicBezTo>
                    <a:cubicBezTo>
                      <a:pt x="11" y="33"/>
                      <a:pt x="9" y="32"/>
                      <a:pt x="4" y="29"/>
                    </a:cubicBezTo>
                    <a:cubicBezTo>
                      <a:pt x="3" y="24"/>
                      <a:pt x="1" y="17"/>
                      <a:pt x="0" y="12"/>
                    </a:cubicBezTo>
                    <a:cubicBezTo>
                      <a:pt x="3" y="10"/>
                      <a:pt x="9" y="8"/>
                      <a:pt x="9" y="8"/>
                    </a:cubicBez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84" name="Freeform 87">
                <a:extLst>
                  <a:ext uri="{FF2B5EF4-FFF2-40B4-BE49-F238E27FC236}">
                    <a16:creationId xmlns:a16="http://schemas.microsoft.com/office/drawing/2014/main" id="{2B1B4144-444C-4E88-B54C-9C12A4E4038C}"/>
                  </a:ext>
                </a:extLst>
              </p:cNvPr>
              <p:cNvSpPr>
                <a:spLocks/>
              </p:cNvSpPr>
              <p:nvPr>
                <p:custDataLst>
                  <p:tags r:id="rId72"/>
                </p:custDataLst>
              </p:nvPr>
            </p:nvSpPr>
            <p:spPr bwMode="gray">
              <a:xfrm>
                <a:off x="5447241" y="3414662"/>
                <a:ext cx="416161" cy="403776"/>
              </a:xfrm>
              <a:custGeom>
                <a:avLst/>
                <a:gdLst>
                  <a:gd name="T0" fmla="*/ 5 w 277"/>
                  <a:gd name="T1" fmla="*/ 5 h 262"/>
                  <a:gd name="T2" fmla="*/ 1 w 277"/>
                  <a:gd name="T3" fmla="*/ 37 h 262"/>
                  <a:gd name="T4" fmla="*/ 2 w 277"/>
                  <a:gd name="T5" fmla="*/ 53 h 262"/>
                  <a:gd name="T6" fmla="*/ 15 w 277"/>
                  <a:gd name="T7" fmla="*/ 67 h 262"/>
                  <a:gd name="T8" fmla="*/ 26 w 277"/>
                  <a:gd name="T9" fmla="*/ 77 h 262"/>
                  <a:gd name="T10" fmla="*/ 14 w 277"/>
                  <a:gd name="T11" fmla="*/ 100 h 262"/>
                  <a:gd name="T12" fmla="*/ 28 w 277"/>
                  <a:gd name="T13" fmla="*/ 121 h 262"/>
                  <a:gd name="T14" fmla="*/ 46 w 277"/>
                  <a:gd name="T15" fmla="*/ 139 h 262"/>
                  <a:gd name="T16" fmla="*/ 53 w 277"/>
                  <a:gd name="T17" fmla="*/ 173 h 262"/>
                  <a:gd name="T18" fmla="*/ 85 w 277"/>
                  <a:gd name="T19" fmla="*/ 182 h 262"/>
                  <a:gd name="T20" fmla="*/ 94 w 277"/>
                  <a:gd name="T21" fmla="*/ 208 h 262"/>
                  <a:gd name="T22" fmla="*/ 115 w 277"/>
                  <a:gd name="T23" fmla="*/ 218 h 262"/>
                  <a:gd name="T24" fmla="*/ 119 w 277"/>
                  <a:gd name="T25" fmla="*/ 220 h 262"/>
                  <a:gd name="T26" fmla="*/ 130 w 277"/>
                  <a:gd name="T27" fmla="*/ 221 h 262"/>
                  <a:gd name="T28" fmla="*/ 145 w 277"/>
                  <a:gd name="T29" fmla="*/ 233 h 262"/>
                  <a:gd name="T30" fmla="*/ 173 w 277"/>
                  <a:gd name="T31" fmla="*/ 215 h 262"/>
                  <a:gd name="T32" fmla="*/ 193 w 277"/>
                  <a:gd name="T33" fmla="*/ 221 h 262"/>
                  <a:gd name="T34" fmla="*/ 202 w 277"/>
                  <a:gd name="T35" fmla="*/ 251 h 262"/>
                  <a:gd name="T36" fmla="*/ 236 w 277"/>
                  <a:gd name="T37" fmla="*/ 257 h 262"/>
                  <a:gd name="T38" fmla="*/ 256 w 277"/>
                  <a:gd name="T39" fmla="*/ 241 h 262"/>
                  <a:gd name="T40" fmla="*/ 268 w 277"/>
                  <a:gd name="T41" fmla="*/ 233 h 262"/>
                  <a:gd name="T42" fmla="*/ 277 w 277"/>
                  <a:gd name="T43" fmla="*/ 230 h 262"/>
                  <a:gd name="T44" fmla="*/ 269 w 277"/>
                  <a:gd name="T45" fmla="*/ 208 h 262"/>
                  <a:gd name="T46" fmla="*/ 253 w 277"/>
                  <a:gd name="T47" fmla="*/ 199 h 262"/>
                  <a:gd name="T48" fmla="*/ 248 w 277"/>
                  <a:gd name="T49" fmla="*/ 176 h 262"/>
                  <a:gd name="T50" fmla="*/ 251 w 277"/>
                  <a:gd name="T51" fmla="*/ 164 h 262"/>
                  <a:gd name="T52" fmla="*/ 243 w 277"/>
                  <a:gd name="T53" fmla="*/ 146 h 262"/>
                  <a:gd name="T54" fmla="*/ 239 w 277"/>
                  <a:gd name="T55" fmla="*/ 127 h 262"/>
                  <a:gd name="T56" fmla="*/ 247 w 277"/>
                  <a:gd name="T57" fmla="*/ 80 h 262"/>
                  <a:gd name="T58" fmla="*/ 227 w 277"/>
                  <a:gd name="T59" fmla="*/ 61 h 262"/>
                  <a:gd name="T60" fmla="*/ 209 w 277"/>
                  <a:gd name="T61" fmla="*/ 49 h 262"/>
                  <a:gd name="T62" fmla="*/ 185 w 277"/>
                  <a:gd name="T63" fmla="*/ 40 h 262"/>
                  <a:gd name="T64" fmla="*/ 165 w 277"/>
                  <a:gd name="T65" fmla="*/ 38 h 262"/>
                  <a:gd name="T66" fmla="*/ 146 w 277"/>
                  <a:gd name="T67" fmla="*/ 44 h 262"/>
                  <a:gd name="T68" fmla="*/ 128 w 277"/>
                  <a:gd name="T69" fmla="*/ 52 h 262"/>
                  <a:gd name="T70" fmla="*/ 97 w 277"/>
                  <a:gd name="T71" fmla="*/ 61 h 262"/>
                  <a:gd name="T72" fmla="*/ 73 w 277"/>
                  <a:gd name="T73" fmla="*/ 41 h 262"/>
                  <a:gd name="T74" fmla="*/ 53 w 277"/>
                  <a:gd name="T75" fmla="*/ 19 h 262"/>
                  <a:gd name="T76" fmla="*/ 43 w 277"/>
                  <a:gd name="T77" fmla="*/ 8 h 262"/>
                  <a:gd name="T78" fmla="*/ 31 w 277"/>
                  <a:gd name="T79" fmla="*/ 10 h 262"/>
                  <a:gd name="T80" fmla="*/ 17 w 277"/>
                  <a:gd name="T81" fmla="*/ 8 h 262"/>
                  <a:gd name="T82" fmla="*/ 5 w 277"/>
                  <a:gd name="T83" fmla="*/ 5 h 2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277" h="262">
                    <a:moveTo>
                      <a:pt x="5" y="5"/>
                    </a:moveTo>
                    <a:cubicBezTo>
                      <a:pt x="0" y="9"/>
                      <a:pt x="1" y="28"/>
                      <a:pt x="1" y="37"/>
                    </a:cubicBezTo>
                    <a:cubicBezTo>
                      <a:pt x="1" y="45"/>
                      <a:pt x="0" y="48"/>
                      <a:pt x="2" y="53"/>
                    </a:cubicBezTo>
                    <a:cubicBezTo>
                      <a:pt x="4" y="58"/>
                      <a:pt x="11" y="63"/>
                      <a:pt x="15" y="67"/>
                    </a:cubicBezTo>
                    <a:cubicBezTo>
                      <a:pt x="19" y="71"/>
                      <a:pt x="26" y="72"/>
                      <a:pt x="26" y="77"/>
                    </a:cubicBezTo>
                    <a:cubicBezTo>
                      <a:pt x="18" y="85"/>
                      <a:pt x="25" y="96"/>
                      <a:pt x="14" y="100"/>
                    </a:cubicBezTo>
                    <a:cubicBezTo>
                      <a:pt x="12" y="110"/>
                      <a:pt x="19" y="117"/>
                      <a:pt x="28" y="121"/>
                    </a:cubicBezTo>
                    <a:cubicBezTo>
                      <a:pt x="34" y="129"/>
                      <a:pt x="37" y="135"/>
                      <a:pt x="46" y="139"/>
                    </a:cubicBezTo>
                    <a:cubicBezTo>
                      <a:pt x="54" y="149"/>
                      <a:pt x="45" y="163"/>
                      <a:pt x="53" y="173"/>
                    </a:cubicBezTo>
                    <a:cubicBezTo>
                      <a:pt x="67" y="170"/>
                      <a:pt x="78" y="169"/>
                      <a:pt x="85" y="182"/>
                    </a:cubicBezTo>
                    <a:cubicBezTo>
                      <a:pt x="87" y="192"/>
                      <a:pt x="90" y="199"/>
                      <a:pt x="94" y="208"/>
                    </a:cubicBezTo>
                    <a:cubicBezTo>
                      <a:pt x="96" y="221"/>
                      <a:pt x="104" y="216"/>
                      <a:pt x="115" y="218"/>
                    </a:cubicBezTo>
                    <a:cubicBezTo>
                      <a:pt x="116" y="219"/>
                      <a:pt x="118" y="220"/>
                      <a:pt x="119" y="220"/>
                    </a:cubicBezTo>
                    <a:cubicBezTo>
                      <a:pt x="123" y="221"/>
                      <a:pt x="127" y="220"/>
                      <a:pt x="130" y="221"/>
                    </a:cubicBezTo>
                    <a:cubicBezTo>
                      <a:pt x="136" y="224"/>
                      <a:pt x="134" y="231"/>
                      <a:pt x="145" y="233"/>
                    </a:cubicBezTo>
                    <a:cubicBezTo>
                      <a:pt x="153" y="237"/>
                      <a:pt x="166" y="220"/>
                      <a:pt x="173" y="215"/>
                    </a:cubicBezTo>
                    <a:cubicBezTo>
                      <a:pt x="178" y="216"/>
                      <a:pt x="189" y="218"/>
                      <a:pt x="193" y="221"/>
                    </a:cubicBezTo>
                    <a:cubicBezTo>
                      <a:pt x="198" y="224"/>
                      <a:pt x="190" y="249"/>
                      <a:pt x="202" y="251"/>
                    </a:cubicBezTo>
                    <a:cubicBezTo>
                      <a:pt x="224" y="262"/>
                      <a:pt x="198" y="256"/>
                      <a:pt x="236" y="257"/>
                    </a:cubicBezTo>
                    <a:cubicBezTo>
                      <a:pt x="274" y="255"/>
                      <a:pt x="241" y="262"/>
                      <a:pt x="256" y="241"/>
                    </a:cubicBezTo>
                    <a:cubicBezTo>
                      <a:pt x="262" y="241"/>
                      <a:pt x="266" y="233"/>
                      <a:pt x="268" y="233"/>
                    </a:cubicBezTo>
                    <a:cubicBezTo>
                      <a:pt x="271" y="230"/>
                      <a:pt x="277" y="234"/>
                      <a:pt x="277" y="230"/>
                    </a:cubicBezTo>
                    <a:cubicBezTo>
                      <a:pt x="277" y="226"/>
                      <a:pt x="273" y="213"/>
                      <a:pt x="269" y="208"/>
                    </a:cubicBezTo>
                    <a:cubicBezTo>
                      <a:pt x="268" y="201"/>
                      <a:pt x="258" y="204"/>
                      <a:pt x="253" y="199"/>
                    </a:cubicBezTo>
                    <a:cubicBezTo>
                      <a:pt x="248" y="186"/>
                      <a:pt x="247" y="198"/>
                      <a:pt x="248" y="176"/>
                    </a:cubicBezTo>
                    <a:cubicBezTo>
                      <a:pt x="247" y="170"/>
                      <a:pt x="252" y="168"/>
                      <a:pt x="251" y="164"/>
                    </a:cubicBezTo>
                    <a:cubicBezTo>
                      <a:pt x="250" y="159"/>
                      <a:pt x="245" y="152"/>
                      <a:pt x="243" y="146"/>
                    </a:cubicBezTo>
                    <a:cubicBezTo>
                      <a:pt x="237" y="138"/>
                      <a:pt x="238" y="136"/>
                      <a:pt x="239" y="127"/>
                    </a:cubicBezTo>
                    <a:cubicBezTo>
                      <a:pt x="239" y="117"/>
                      <a:pt x="249" y="91"/>
                      <a:pt x="247" y="80"/>
                    </a:cubicBezTo>
                    <a:cubicBezTo>
                      <a:pt x="245" y="69"/>
                      <a:pt x="233" y="66"/>
                      <a:pt x="227" y="61"/>
                    </a:cubicBezTo>
                    <a:cubicBezTo>
                      <a:pt x="223" y="54"/>
                      <a:pt x="218" y="50"/>
                      <a:pt x="209" y="49"/>
                    </a:cubicBezTo>
                    <a:cubicBezTo>
                      <a:pt x="202" y="46"/>
                      <a:pt x="192" y="41"/>
                      <a:pt x="185" y="40"/>
                    </a:cubicBezTo>
                    <a:cubicBezTo>
                      <a:pt x="177" y="38"/>
                      <a:pt x="171" y="37"/>
                      <a:pt x="165" y="38"/>
                    </a:cubicBezTo>
                    <a:cubicBezTo>
                      <a:pt x="159" y="39"/>
                      <a:pt x="152" y="42"/>
                      <a:pt x="146" y="44"/>
                    </a:cubicBezTo>
                    <a:cubicBezTo>
                      <a:pt x="141" y="48"/>
                      <a:pt x="135" y="51"/>
                      <a:pt x="128" y="52"/>
                    </a:cubicBezTo>
                    <a:cubicBezTo>
                      <a:pt x="120" y="53"/>
                      <a:pt x="106" y="63"/>
                      <a:pt x="97" y="61"/>
                    </a:cubicBezTo>
                    <a:cubicBezTo>
                      <a:pt x="88" y="59"/>
                      <a:pt x="80" y="48"/>
                      <a:pt x="73" y="41"/>
                    </a:cubicBezTo>
                    <a:cubicBezTo>
                      <a:pt x="69" y="35"/>
                      <a:pt x="57" y="24"/>
                      <a:pt x="53" y="19"/>
                    </a:cubicBezTo>
                    <a:cubicBezTo>
                      <a:pt x="48" y="13"/>
                      <a:pt x="50" y="11"/>
                      <a:pt x="43" y="8"/>
                    </a:cubicBezTo>
                    <a:cubicBezTo>
                      <a:pt x="38" y="11"/>
                      <a:pt x="36" y="6"/>
                      <a:pt x="31" y="10"/>
                    </a:cubicBezTo>
                    <a:cubicBezTo>
                      <a:pt x="27" y="4"/>
                      <a:pt x="24" y="11"/>
                      <a:pt x="17" y="8"/>
                    </a:cubicBezTo>
                    <a:cubicBezTo>
                      <a:pt x="11" y="0"/>
                      <a:pt x="12" y="9"/>
                      <a:pt x="5" y="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85" name="Freeform 88">
                <a:extLst>
                  <a:ext uri="{FF2B5EF4-FFF2-40B4-BE49-F238E27FC236}">
                    <a16:creationId xmlns:a16="http://schemas.microsoft.com/office/drawing/2014/main" id="{15B8BF8B-2A03-4793-946A-71926FDAAE55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gray">
              <a:xfrm>
                <a:off x="5302103" y="3491719"/>
                <a:ext cx="225112" cy="221923"/>
              </a:xfrm>
              <a:custGeom>
                <a:avLst/>
                <a:gdLst>
                  <a:gd name="T0" fmla="*/ 92 w 149"/>
                  <a:gd name="T1" fmla="*/ 3 h 144"/>
                  <a:gd name="T2" fmla="*/ 76 w 149"/>
                  <a:gd name="T3" fmla="*/ 8 h 144"/>
                  <a:gd name="T4" fmla="*/ 49 w 149"/>
                  <a:gd name="T5" fmla="*/ 5 h 144"/>
                  <a:gd name="T6" fmla="*/ 41 w 149"/>
                  <a:gd name="T7" fmla="*/ 40 h 144"/>
                  <a:gd name="T8" fmla="*/ 32 w 149"/>
                  <a:gd name="T9" fmla="*/ 51 h 144"/>
                  <a:gd name="T10" fmla="*/ 22 w 149"/>
                  <a:gd name="T11" fmla="*/ 66 h 144"/>
                  <a:gd name="T12" fmla="*/ 7 w 149"/>
                  <a:gd name="T13" fmla="*/ 71 h 144"/>
                  <a:gd name="T14" fmla="*/ 20 w 149"/>
                  <a:gd name="T15" fmla="*/ 95 h 144"/>
                  <a:gd name="T16" fmla="*/ 34 w 149"/>
                  <a:gd name="T17" fmla="*/ 95 h 144"/>
                  <a:gd name="T18" fmla="*/ 49 w 149"/>
                  <a:gd name="T19" fmla="*/ 102 h 144"/>
                  <a:gd name="T20" fmla="*/ 58 w 149"/>
                  <a:gd name="T21" fmla="*/ 107 h 144"/>
                  <a:gd name="T22" fmla="*/ 71 w 149"/>
                  <a:gd name="T23" fmla="*/ 117 h 144"/>
                  <a:gd name="T24" fmla="*/ 83 w 149"/>
                  <a:gd name="T25" fmla="*/ 131 h 144"/>
                  <a:gd name="T26" fmla="*/ 97 w 149"/>
                  <a:gd name="T27" fmla="*/ 134 h 144"/>
                  <a:gd name="T28" fmla="*/ 110 w 149"/>
                  <a:gd name="T29" fmla="*/ 143 h 144"/>
                  <a:gd name="T30" fmla="*/ 128 w 149"/>
                  <a:gd name="T31" fmla="*/ 140 h 144"/>
                  <a:gd name="T32" fmla="*/ 146 w 149"/>
                  <a:gd name="T33" fmla="*/ 125 h 144"/>
                  <a:gd name="T34" fmla="*/ 147 w 149"/>
                  <a:gd name="T35" fmla="*/ 114 h 144"/>
                  <a:gd name="T36" fmla="*/ 145 w 149"/>
                  <a:gd name="T37" fmla="*/ 93 h 144"/>
                  <a:gd name="T38" fmla="*/ 122 w 149"/>
                  <a:gd name="T39" fmla="*/ 71 h 144"/>
                  <a:gd name="T40" fmla="*/ 110 w 149"/>
                  <a:gd name="T41" fmla="*/ 59 h 144"/>
                  <a:gd name="T42" fmla="*/ 119 w 149"/>
                  <a:gd name="T43" fmla="*/ 45 h 144"/>
                  <a:gd name="T44" fmla="*/ 119 w 149"/>
                  <a:gd name="T45" fmla="*/ 35 h 144"/>
                  <a:gd name="T46" fmla="*/ 121 w 149"/>
                  <a:gd name="T47" fmla="*/ 23 h 144"/>
                  <a:gd name="T48" fmla="*/ 113 w 149"/>
                  <a:gd name="T49" fmla="*/ 18 h 144"/>
                  <a:gd name="T50" fmla="*/ 103 w 149"/>
                  <a:gd name="T51" fmla="*/ 14 h 144"/>
                  <a:gd name="T52" fmla="*/ 95 w 149"/>
                  <a:gd name="T53" fmla="*/ 6 h 144"/>
                  <a:gd name="T54" fmla="*/ 92 w 149"/>
                  <a:gd name="T55" fmla="*/ 3 h 1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49" h="144">
                    <a:moveTo>
                      <a:pt x="92" y="3"/>
                    </a:moveTo>
                    <a:cubicBezTo>
                      <a:pt x="89" y="2"/>
                      <a:pt x="83" y="8"/>
                      <a:pt x="76" y="8"/>
                    </a:cubicBezTo>
                    <a:cubicBezTo>
                      <a:pt x="69" y="8"/>
                      <a:pt x="55" y="0"/>
                      <a:pt x="49" y="5"/>
                    </a:cubicBezTo>
                    <a:cubicBezTo>
                      <a:pt x="41" y="12"/>
                      <a:pt x="44" y="32"/>
                      <a:pt x="41" y="40"/>
                    </a:cubicBezTo>
                    <a:cubicBezTo>
                      <a:pt x="38" y="48"/>
                      <a:pt x="35" y="47"/>
                      <a:pt x="32" y="51"/>
                    </a:cubicBezTo>
                    <a:cubicBezTo>
                      <a:pt x="28" y="55"/>
                      <a:pt x="26" y="63"/>
                      <a:pt x="22" y="66"/>
                    </a:cubicBezTo>
                    <a:cubicBezTo>
                      <a:pt x="18" y="69"/>
                      <a:pt x="7" y="66"/>
                      <a:pt x="7" y="71"/>
                    </a:cubicBezTo>
                    <a:cubicBezTo>
                      <a:pt x="0" y="85"/>
                      <a:pt x="8" y="93"/>
                      <a:pt x="20" y="95"/>
                    </a:cubicBezTo>
                    <a:cubicBezTo>
                      <a:pt x="24" y="100"/>
                      <a:pt x="29" y="94"/>
                      <a:pt x="34" y="95"/>
                    </a:cubicBezTo>
                    <a:cubicBezTo>
                      <a:pt x="39" y="96"/>
                      <a:pt x="45" y="100"/>
                      <a:pt x="49" y="102"/>
                    </a:cubicBezTo>
                    <a:cubicBezTo>
                      <a:pt x="53" y="104"/>
                      <a:pt x="54" y="105"/>
                      <a:pt x="58" y="107"/>
                    </a:cubicBezTo>
                    <a:cubicBezTo>
                      <a:pt x="61" y="110"/>
                      <a:pt x="67" y="113"/>
                      <a:pt x="71" y="117"/>
                    </a:cubicBezTo>
                    <a:cubicBezTo>
                      <a:pt x="75" y="121"/>
                      <a:pt x="79" y="128"/>
                      <a:pt x="83" y="131"/>
                    </a:cubicBezTo>
                    <a:cubicBezTo>
                      <a:pt x="89" y="135"/>
                      <a:pt x="90" y="133"/>
                      <a:pt x="97" y="134"/>
                    </a:cubicBezTo>
                    <a:cubicBezTo>
                      <a:pt x="102" y="135"/>
                      <a:pt x="105" y="142"/>
                      <a:pt x="110" y="143"/>
                    </a:cubicBezTo>
                    <a:cubicBezTo>
                      <a:pt x="115" y="144"/>
                      <a:pt x="122" y="143"/>
                      <a:pt x="128" y="140"/>
                    </a:cubicBezTo>
                    <a:cubicBezTo>
                      <a:pt x="134" y="137"/>
                      <a:pt x="147" y="136"/>
                      <a:pt x="146" y="125"/>
                    </a:cubicBezTo>
                    <a:cubicBezTo>
                      <a:pt x="149" y="121"/>
                      <a:pt x="147" y="119"/>
                      <a:pt x="147" y="114"/>
                    </a:cubicBezTo>
                    <a:cubicBezTo>
                      <a:pt x="147" y="109"/>
                      <a:pt x="149" y="100"/>
                      <a:pt x="145" y="93"/>
                    </a:cubicBezTo>
                    <a:cubicBezTo>
                      <a:pt x="141" y="86"/>
                      <a:pt x="128" y="77"/>
                      <a:pt x="122" y="71"/>
                    </a:cubicBezTo>
                    <a:cubicBezTo>
                      <a:pt x="118" y="65"/>
                      <a:pt x="114" y="64"/>
                      <a:pt x="110" y="59"/>
                    </a:cubicBezTo>
                    <a:cubicBezTo>
                      <a:pt x="108" y="54"/>
                      <a:pt x="118" y="49"/>
                      <a:pt x="119" y="45"/>
                    </a:cubicBezTo>
                    <a:cubicBezTo>
                      <a:pt x="120" y="41"/>
                      <a:pt x="119" y="39"/>
                      <a:pt x="119" y="35"/>
                    </a:cubicBezTo>
                    <a:cubicBezTo>
                      <a:pt x="120" y="29"/>
                      <a:pt x="124" y="26"/>
                      <a:pt x="121" y="23"/>
                    </a:cubicBezTo>
                    <a:cubicBezTo>
                      <a:pt x="120" y="20"/>
                      <a:pt x="116" y="20"/>
                      <a:pt x="113" y="18"/>
                    </a:cubicBezTo>
                    <a:cubicBezTo>
                      <a:pt x="110" y="16"/>
                      <a:pt x="106" y="16"/>
                      <a:pt x="103" y="14"/>
                    </a:cubicBezTo>
                    <a:cubicBezTo>
                      <a:pt x="99" y="7"/>
                      <a:pt x="102" y="11"/>
                      <a:pt x="95" y="6"/>
                    </a:cubicBezTo>
                    <a:cubicBezTo>
                      <a:pt x="90" y="3"/>
                      <a:pt x="89" y="3"/>
                      <a:pt x="92" y="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86" name="Freeform 89">
                <a:extLst>
                  <a:ext uri="{FF2B5EF4-FFF2-40B4-BE49-F238E27FC236}">
                    <a16:creationId xmlns:a16="http://schemas.microsoft.com/office/drawing/2014/main" id="{86564F44-31CF-4E7C-A9EA-D4388C7C91A4}"/>
                  </a:ext>
                </a:extLst>
              </p:cNvPr>
              <p:cNvSpPr>
                <a:spLocks/>
              </p:cNvSpPr>
              <p:nvPr>
                <p:custDataLst>
                  <p:tags r:id="rId74"/>
                </p:custDataLst>
              </p:nvPr>
            </p:nvSpPr>
            <p:spPr bwMode="gray">
              <a:xfrm>
                <a:off x="4702299" y="4325470"/>
                <a:ext cx="161429" cy="201889"/>
              </a:xfrm>
              <a:custGeom>
                <a:avLst/>
                <a:gdLst>
                  <a:gd name="T0" fmla="*/ 67 w 107"/>
                  <a:gd name="T1" fmla="*/ 14 h 131"/>
                  <a:gd name="T2" fmla="*/ 70 w 107"/>
                  <a:gd name="T3" fmla="*/ 16 h 131"/>
                  <a:gd name="T4" fmla="*/ 86 w 107"/>
                  <a:gd name="T5" fmla="*/ 1 h 131"/>
                  <a:gd name="T6" fmla="*/ 103 w 107"/>
                  <a:gd name="T7" fmla="*/ 2 h 131"/>
                  <a:gd name="T8" fmla="*/ 106 w 107"/>
                  <a:gd name="T9" fmla="*/ 29 h 131"/>
                  <a:gd name="T10" fmla="*/ 98 w 107"/>
                  <a:gd name="T11" fmla="*/ 43 h 131"/>
                  <a:gd name="T12" fmla="*/ 100 w 107"/>
                  <a:gd name="T13" fmla="*/ 64 h 131"/>
                  <a:gd name="T14" fmla="*/ 86 w 107"/>
                  <a:gd name="T15" fmla="*/ 73 h 131"/>
                  <a:gd name="T16" fmla="*/ 77 w 107"/>
                  <a:gd name="T17" fmla="*/ 86 h 131"/>
                  <a:gd name="T18" fmla="*/ 71 w 107"/>
                  <a:gd name="T19" fmla="*/ 101 h 131"/>
                  <a:gd name="T20" fmla="*/ 65 w 107"/>
                  <a:gd name="T21" fmla="*/ 113 h 131"/>
                  <a:gd name="T22" fmla="*/ 50 w 107"/>
                  <a:gd name="T23" fmla="*/ 119 h 131"/>
                  <a:gd name="T24" fmla="*/ 39 w 107"/>
                  <a:gd name="T25" fmla="*/ 119 h 131"/>
                  <a:gd name="T26" fmla="*/ 25 w 107"/>
                  <a:gd name="T27" fmla="*/ 121 h 131"/>
                  <a:gd name="T28" fmla="*/ 11 w 107"/>
                  <a:gd name="T29" fmla="*/ 130 h 131"/>
                  <a:gd name="T30" fmla="*/ 1 w 107"/>
                  <a:gd name="T31" fmla="*/ 115 h 131"/>
                  <a:gd name="T32" fmla="*/ 16 w 107"/>
                  <a:gd name="T33" fmla="*/ 103 h 131"/>
                  <a:gd name="T34" fmla="*/ 16 w 107"/>
                  <a:gd name="T35" fmla="*/ 88 h 131"/>
                  <a:gd name="T36" fmla="*/ 26 w 107"/>
                  <a:gd name="T37" fmla="*/ 80 h 131"/>
                  <a:gd name="T38" fmla="*/ 49 w 107"/>
                  <a:gd name="T39" fmla="*/ 85 h 131"/>
                  <a:gd name="T40" fmla="*/ 53 w 107"/>
                  <a:gd name="T41" fmla="*/ 71 h 131"/>
                  <a:gd name="T42" fmla="*/ 46 w 107"/>
                  <a:gd name="T43" fmla="*/ 50 h 131"/>
                  <a:gd name="T44" fmla="*/ 47 w 107"/>
                  <a:gd name="T45" fmla="*/ 37 h 131"/>
                  <a:gd name="T46" fmla="*/ 35 w 107"/>
                  <a:gd name="T47" fmla="*/ 37 h 131"/>
                  <a:gd name="T48" fmla="*/ 28 w 107"/>
                  <a:gd name="T49" fmla="*/ 20 h 131"/>
                  <a:gd name="T50" fmla="*/ 58 w 107"/>
                  <a:gd name="T51" fmla="*/ 22 h 131"/>
                  <a:gd name="T52" fmla="*/ 73 w 107"/>
                  <a:gd name="T53" fmla="*/ 11 h 1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07" h="131">
                    <a:moveTo>
                      <a:pt x="67" y="14"/>
                    </a:moveTo>
                    <a:cubicBezTo>
                      <a:pt x="76" y="18"/>
                      <a:pt x="67" y="23"/>
                      <a:pt x="70" y="16"/>
                    </a:cubicBezTo>
                    <a:cubicBezTo>
                      <a:pt x="67" y="7"/>
                      <a:pt x="76" y="2"/>
                      <a:pt x="86" y="1"/>
                    </a:cubicBezTo>
                    <a:cubicBezTo>
                      <a:pt x="92" y="1"/>
                      <a:pt x="98" y="0"/>
                      <a:pt x="103" y="2"/>
                    </a:cubicBezTo>
                    <a:cubicBezTo>
                      <a:pt x="106" y="6"/>
                      <a:pt x="107" y="22"/>
                      <a:pt x="106" y="29"/>
                    </a:cubicBezTo>
                    <a:cubicBezTo>
                      <a:pt x="105" y="36"/>
                      <a:pt x="99" y="37"/>
                      <a:pt x="98" y="43"/>
                    </a:cubicBezTo>
                    <a:cubicBezTo>
                      <a:pt x="97" y="53"/>
                      <a:pt x="102" y="59"/>
                      <a:pt x="100" y="64"/>
                    </a:cubicBezTo>
                    <a:cubicBezTo>
                      <a:pt x="98" y="69"/>
                      <a:pt x="90" y="69"/>
                      <a:pt x="86" y="73"/>
                    </a:cubicBezTo>
                    <a:cubicBezTo>
                      <a:pt x="85" y="81"/>
                      <a:pt x="81" y="80"/>
                      <a:pt x="77" y="86"/>
                    </a:cubicBezTo>
                    <a:cubicBezTo>
                      <a:pt x="75" y="92"/>
                      <a:pt x="73" y="97"/>
                      <a:pt x="71" y="101"/>
                    </a:cubicBezTo>
                    <a:cubicBezTo>
                      <a:pt x="69" y="105"/>
                      <a:pt x="68" y="110"/>
                      <a:pt x="65" y="113"/>
                    </a:cubicBezTo>
                    <a:cubicBezTo>
                      <a:pt x="60" y="117"/>
                      <a:pt x="56" y="118"/>
                      <a:pt x="50" y="119"/>
                    </a:cubicBezTo>
                    <a:cubicBezTo>
                      <a:pt x="46" y="120"/>
                      <a:pt x="43" y="119"/>
                      <a:pt x="39" y="119"/>
                    </a:cubicBezTo>
                    <a:cubicBezTo>
                      <a:pt x="35" y="119"/>
                      <a:pt x="30" y="119"/>
                      <a:pt x="25" y="121"/>
                    </a:cubicBezTo>
                    <a:cubicBezTo>
                      <a:pt x="19" y="121"/>
                      <a:pt x="15" y="131"/>
                      <a:pt x="11" y="130"/>
                    </a:cubicBezTo>
                    <a:cubicBezTo>
                      <a:pt x="7" y="129"/>
                      <a:pt x="0" y="119"/>
                      <a:pt x="1" y="115"/>
                    </a:cubicBezTo>
                    <a:cubicBezTo>
                      <a:pt x="0" y="109"/>
                      <a:pt x="14" y="107"/>
                      <a:pt x="16" y="103"/>
                    </a:cubicBezTo>
                    <a:cubicBezTo>
                      <a:pt x="18" y="99"/>
                      <a:pt x="14" y="92"/>
                      <a:pt x="16" y="88"/>
                    </a:cubicBezTo>
                    <a:cubicBezTo>
                      <a:pt x="18" y="84"/>
                      <a:pt x="21" y="80"/>
                      <a:pt x="26" y="80"/>
                    </a:cubicBezTo>
                    <a:cubicBezTo>
                      <a:pt x="31" y="80"/>
                      <a:pt x="45" y="86"/>
                      <a:pt x="49" y="85"/>
                    </a:cubicBezTo>
                    <a:cubicBezTo>
                      <a:pt x="53" y="84"/>
                      <a:pt x="53" y="77"/>
                      <a:pt x="53" y="71"/>
                    </a:cubicBezTo>
                    <a:cubicBezTo>
                      <a:pt x="53" y="65"/>
                      <a:pt x="47" y="56"/>
                      <a:pt x="46" y="50"/>
                    </a:cubicBezTo>
                    <a:cubicBezTo>
                      <a:pt x="45" y="44"/>
                      <a:pt x="49" y="39"/>
                      <a:pt x="47" y="37"/>
                    </a:cubicBezTo>
                    <a:cubicBezTo>
                      <a:pt x="45" y="35"/>
                      <a:pt x="38" y="40"/>
                      <a:pt x="35" y="37"/>
                    </a:cubicBezTo>
                    <a:cubicBezTo>
                      <a:pt x="32" y="34"/>
                      <a:pt x="24" y="22"/>
                      <a:pt x="28" y="20"/>
                    </a:cubicBezTo>
                    <a:cubicBezTo>
                      <a:pt x="32" y="18"/>
                      <a:pt x="51" y="23"/>
                      <a:pt x="58" y="22"/>
                    </a:cubicBezTo>
                    <a:cubicBezTo>
                      <a:pt x="65" y="21"/>
                      <a:pt x="70" y="13"/>
                      <a:pt x="73" y="11"/>
                    </a:cubicBez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87" name="Freeform 90">
                <a:extLst>
                  <a:ext uri="{FF2B5EF4-FFF2-40B4-BE49-F238E27FC236}">
                    <a16:creationId xmlns:a16="http://schemas.microsoft.com/office/drawing/2014/main" id="{FB6E56C7-58BF-4039-B4D1-F1CEC432B85B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gray">
              <a:xfrm>
                <a:off x="4656388" y="4356293"/>
                <a:ext cx="125885" cy="147949"/>
              </a:xfrm>
              <a:custGeom>
                <a:avLst/>
                <a:gdLst>
                  <a:gd name="T0" fmla="*/ 4 w 83"/>
                  <a:gd name="T1" fmla="*/ 24 h 96"/>
                  <a:gd name="T2" fmla="*/ 32 w 83"/>
                  <a:gd name="T3" fmla="*/ 17 h 96"/>
                  <a:gd name="T4" fmla="*/ 37 w 83"/>
                  <a:gd name="T5" fmla="*/ 0 h 96"/>
                  <a:gd name="T6" fmla="*/ 55 w 83"/>
                  <a:gd name="T7" fmla="*/ 2 h 96"/>
                  <a:gd name="T8" fmla="*/ 65 w 83"/>
                  <a:gd name="T9" fmla="*/ 17 h 96"/>
                  <a:gd name="T10" fmla="*/ 80 w 83"/>
                  <a:gd name="T11" fmla="*/ 21 h 96"/>
                  <a:gd name="T12" fmla="*/ 79 w 83"/>
                  <a:gd name="T13" fmla="*/ 26 h 96"/>
                  <a:gd name="T14" fmla="*/ 77 w 83"/>
                  <a:gd name="T15" fmla="*/ 32 h 96"/>
                  <a:gd name="T16" fmla="*/ 77 w 83"/>
                  <a:gd name="T17" fmla="*/ 41 h 96"/>
                  <a:gd name="T18" fmla="*/ 81 w 83"/>
                  <a:gd name="T19" fmla="*/ 49 h 96"/>
                  <a:gd name="T20" fmla="*/ 79 w 83"/>
                  <a:gd name="T21" fmla="*/ 65 h 96"/>
                  <a:gd name="T22" fmla="*/ 56 w 83"/>
                  <a:gd name="T23" fmla="*/ 59 h 96"/>
                  <a:gd name="T24" fmla="*/ 49 w 83"/>
                  <a:gd name="T25" fmla="*/ 69 h 96"/>
                  <a:gd name="T26" fmla="*/ 29 w 83"/>
                  <a:gd name="T27" fmla="*/ 96 h 96"/>
                  <a:gd name="T28" fmla="*/ 8 w 83"/>
                  <a:gd name="T29" fmla="*/ 77 h 96"/>
                  <a:gd name="T30" fmla="*/ 4 w 83"/>
                  <a:gd name="T31" fmla="*/ 24 h 9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83" h="96">
                    <a:moveTo>
                      <a:pt x="4" y="24"/>
                    </a:moveTo>
                    <a:cubicBezTo>
                      <a:pt x="13" y="24"/>
                      <a:pt x="24" y="22"/>
                      <a:pt x="32" y="17"/>
                    </a:cubicBezTo>
                    <a:cubicBezTo>
                      <a:pt x="37" y="14"/>
                      <a:pt x="37" y="0"/>
                      <a:pt x="37" y="0"/>
                    </a:cubicBezTo>
                    <a:cubicBezTo>
                      <a:pt x="44" y="1"/>
                      <a:pt x="49" y="0"/>
                      <a:pt x="55" y="2"/>
                    </a:cubicBezTo>
                    <a:cubicBezTo>
                      <a:pt x="60" y="3"/>
                      <a:pt x="59" y="14"/>
                      <a:pt x="65" y="17"/>
                    </a:cubicBezTo>
                    <a:cubicBezTo>
                      <a:pt x="72" y="14"/>
                      <a:pt x="76" y="15"/>
                      <a:pt x="80" y="21"/>
                    </a:cubicBezTo>
                    <a:cubicBezTo>
                      <a:pt x="80" y="23"/>
                      <a:pt x="80" y="25"/>
                      <a:pt x="79" y="26"/>
                    </a:cubicBezTo>
                    <a:cubicBezTo>
                      <a:pt x="77" y="27"/>
                      <a:pt x="78" y="30"/>
                      <a:pt x="77" y="32"/>
                    </a:cubicBezTo>
                    <a:cubicBezTo>
                      <a:pt x="77" y="34"/>
                      <a:pt x="78" y="35"/>
                      <a:pt x="77" y="41"/>
                    </a:cubicBezTo>
                    <a:cubicBezTo>
                      <a:pt x="78" y="44"/>
                      <a:pt x="81" y="45"/>
                      <a:pt x="81" y="49"/>
                    </a:cubicBezTo>
                    <a:cubicBezTo>
                      <a:pt x="81" y="53"/>
                      <a:pt x="83" y="63"/>
                      <a:pt x="79" y="65"/>
                    </a:cubicBezTo>
                    <a:cubicBezTo>
                      <a:pt x="69" y="64"/>
                      <a:pt x="62" y="67"/>
                      <a:pt x="56" y="59"/>
                    </a:cubicBezTo>
                    <a:cubicBezTo>
                      <a:pt x="46" y="60"/>
                      <a:pt x="55" y="61"/>
                      <a:pt x="49" y="69"/>
                    </a:cubicBezTo>
                    <a:cubicBezTo>
                      <a:pt x="51" y="79"/>
                      <a:pt x="38" y="89"/>
                      <a:pt x="29" y="96"/>
                    </a:cubicBezTo>
                    <a:cubicBezTo>
                      <a:pt x="20" y="93"/>
                      <a:pt x="16" y="83"/>
                      <a:pt x="8" y="77"/>
                    </a:cubicBezTo>
                    <a:cubicBezTo>
                      <a:pt x="4" y="65"/>
                      <a:pt x="0" y="34"/>
                      <a:pt x="4" y="24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88" name="Freeform 91">
                <a:extLst>
                  <a:ext uri="{FF2B5EF4-FFF2-40B4-BE49-F238E27FC236}">
                    <a16:creationId xmlns:a16="http://schemas.microsoft.com/office/drawing/2014/main" id="{85BD14DF-BA5C-47D0-9681-1A920446D9CE}"/>
                  </a:ext>
                </a:extLst>
              </p:cNvPr>
              <p:cNvSpPr>
                <a:spLocks/>
              </p:cNvSpPr>
              <p:nvPr>
                <p:custDataLst>
                  <p:tags r:id="rId76"/>
                </p:custDataLst>
              </p:nvPr>
            </p:nvSpPr>
            <p:spPr bwMode="gray">
              <a:xfrm>
                <a:off x="5134750" y="4647567"/>
                <a:ext cx="241403" cy="385283"/>
              </a:xfrm>
              <a:custGeom>
                <a:avLst/>
                <a:gdLst>
                  <a:gd name="T0" fmla="*/ 38 w 161"/>
                  <a:gd name="T1" fmla="*/ 237 h 250"/>
                  <a:gd name="T2" fmla="*/ 63 w 161"/>
                  <a:gd name="T3" fmla="*/ 221 h 250"/>
                  <a:gd name="T4" fmla="*/ 77 w 161"/>
                  <a:gd name="T5" fmla="*/ 204 h 250"/>
                  <a:gd name="T6" fmla="*/ 75 w 161"/>
                  <a:gd name="T7" fmla="*/ 173 h 250"/>
                  <a:gd name="T8" fmla="*/ 65 w 161"/>
                  <a:gd name="T9" fmla="*/ 150 h 250"/>
                  <a:gd name="T10" fmla="*/ 77 w 161"/>
                  <a:gd name="T11" fmla="*/ 134 h 250"/>
                  <a:gd name="T12" fmla="*/ 87 w 161"/>
                  <a:gd name="T13" fmla="*/ 123 h 250"/>
                  <a:gd name="T14" fmla="*/ 96 w 161"/>
                  <a:gd name="T15" fmla="*/ 116 h 250"/>
                  <a:gd name="T16" fmla="*/ 134 w 161"/>
                  <a:gd name="T17" fmla="*/ 102 h 250"/>
                  <a:gd name="T18" fmla="*/ 149 w 161"/>
                  <a:gd name="T19" fmla="*/ 71 h 250"/>
                  <a:gd name="T20" fmla="*/ 140 w 161"/>
                  <a:gd name="T21" fmla="*/ 0 h 250"/>
                  <a:gd name="T22" fmla="*/ 120 w 161"/>
                  <a:gd name="T23" fmla="*/ 15 h 250"/>
                  <a:gd name="T24" fmla="*/ 99 w 161"/>
                  <a:gd name="T25" fmla="*/ 23 h 250"/>
                  <a:gd name="T26" fmla="*/ 65 w 161"/>
                  <a:gd name="T27" fmla="*/ 24 h 250"/>
                  <a:gd name="T28" fmla="*/ 68 w 161"/>
                  <a:gd name="T29" fmla="*/ 47 h 250"/>
                  <a:gd name="T30" fmla="*/ 74 w 161"/>
                  <a:gd name="T31" fmla="*/ 62 h 250"/>
                  <a:gd name="T32" fmla="*/ 71 w 161"/>
                  <a:gd name="T33" fmla="*/ 99 h 250"/>
                  <a:gd name="T34" fmla="*/ 57 w 161"/>
                  <a:gd name="T35" fmla="*/ 86 h 250"/>
                  <a:gd name="T36" fmla="*/ 45 w 161"/>
                  <a:gd name="T37" fmla="*/ 63 h 250"/>
                  <a:gd name="T38" fmla="*/ 32 w 161"/>
                  <a:gd name="T39" fmla="*/ 54 h 250"/>
                  <a:gd name="T40" fmla="*/ 18 w 161"/>
                  <a:gd name="T41" fmla="*/ 63 h 250"/>
                  <a:gd name="T42" fmla="*/ 5 w 161"/>
                  <a:gd name="T43" fmla="*/ 72 h 250"/>
                  <a:gd name="T44" fmla="*/ 8 w 161"/>
                  <a:gd name="T45" fmla="*/ 84 h 250"/>
                  <a:gd name="T46" fmla="*/ 17 w 161"/>
                  <a:gd name="T47" fmla="*/ 87 h 250"/>
                  <a:gd name="T48" fmla="*/ 35 w 161"/>
                  <a:gd name="T49" fmla="*/ 99 h 250"/>
                  <a:gd name="T50" fmla="*/ 35 w 161"/>
                  <a:gd name="T51" fmla="*/ 138 h 250"/>
                  <a:gd name="T52" fmla="*/ 30 w 161"/>
                  <a:gd name="T53" fmla="*/ 158 h 250"/>
                  <a:gd name="T54" fmla="*/ 27 w 161"/>
                  <a:gd name="T55" fmla="*/ 174 h 250"/>
                  <a:gd name="T56" fmla="*/ 6 w 161"/>
                  <a:gd name="T57" fmla="*/ 189 h 250"/>
                  <a:gd name="T58" fmla="*/ 17 w 161"/>
                  <a:gd name="T59" fmla="*/ 206 h 250"/>
                  <a:gd name="T60" fmla="*/ 24 w 161"/>
                  <a:gd name="T61" fmla="*/ 230 h 250"/>
                  <a:gd name="T62" fmla="*/ 29 w 161"/>
                  <a:gd name="T63" fmla="*/ 249 h 250"/>
                  <a:gd name="T64" fmla="*/ 38 w 161"/>
                  <a:gd name="T65" fmla="*/ 237 h 25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161" h="250">
                    <a:moveTo>
                      <a:pt x="38" y="237"/>
                    </a:moveTo>
                    <a:cubicBezTo>
                      <a:pt x="40" y="223"/>
                      <a:pt x="51" y="222"/>
                      <a:pt x="63" y="221"/>
                    </a:cubicBezTo>
                    <a:cubicBezTo>
                      <a:pt x="70" y="218"/>
                      <a:pt x="73" y="211"/>
                      <a:pt x="77" y="204"/>
                    </a:cubicBezTo>
                    <a:cubicBezTo>
                      <a:pt x="79" y="194"/>
                      <a:pt x="80" y="183"/>
                      <a:pt x="75" y="173"/>
                    </a:cubicBezTo>
                    <a:cubicBezTo>
                      <a:pt x="73" y="164"/>
                      <a:pt x="70" y="158"/>
                      <a:pt x="65" y="150"/>
                    </a:cubicBezTo>
                    <a:cubicBezTo>
                      <a:pt x="66" y="135"/>
                      <a:pt x="65" y="136"/>
                      <a:pt x="77" y="134"/>
                    </a:cubicBezTo>
                    <a:cubicBezTo>
                      <a:pt x="87" y="129"/>
                      <a:pt x="82" y="129"/>
                      <a:pt x="87" y="123"/>
                    </a:cubicBezTo>
                    <a:cubicBezTo>
                      <a:pt x="89" y="120"/>
                      <a:pt x="96" y="116"/>
                      <a:pt x="96" y="116"/>
                    </a:cubicBezTo>
                    <a:cubicBezTo>
                      <a:pt x="104" y="102"/>
                      <a:pt x="119" y="104"/>
                      <a:pt x="134" y="102"/>
                    </a:cubicBezTo>
                    <a:cubicBezTo>
                      <a:pt x="135" y="89"/>
                      <a:pt x="143" y="82"/>
                      <a:pt x="149" y="71"/>
                    </a:cubicBezTo>
                    <a:cubicBezTo>
                      <a:pt x="148" y="50"/>
                      <a:pt x="161" y="15"/>
                      <a:pt x="140" y="0"/>
                    </a:cubicBezTo>
                    <a:cubicBezTo>
                      <a:pt x="134" y="7"/>
                      <a:pt x="129" y="14"/>
                      <a:pt x="120" y="15"/>
                    </a:cubicBezTo>
                    <a:cubicBezTo>
                      <a:pt x="107" y="13"/>
                      <a:pt x="109" y="22"/>
                      <a:pt x="99" y="23"/>
                    </a:cubicBezTo>
                    <a:cubicBezTo>
                      <a:pt x="88" y="24"/>
                      <a:pt x="76" y="24"/>
                      <a:pt x="65" y="24"/>
                    </a:cubicBezTo>
                    <a:cubicBezTo>
                      <a:pt x="62" y="33"/>
                      <a:pt x="59" y="42"/>
                      <a:pt x="68" y="47"/>
                    </a:cubicBezTo>
                    <a:cubicBezTo>
                      <a:pt x="72" y="52"/>
                      <a:pt x="72" y="56"/>
                      <a:pt x="74" y="62"/>
                    </a:cubicBezTo>
                    <a:cubicBezTo>
                      <a:pt x="76" y="74"/>
                      <a:pt x="83" y="90"/>
                      <a:pt x="71" y="99"/>
                    </a:cubicBezTo>
                    <a:cubicBezTo>
                      <a:pt x="60" y="97"/>
                      <a:pt x="61" y="94"/>
                      <a:pt x="57" y="86"/>
                    </a:cubicBezTo>
                    <a:cubicBezTo>
                      <a:pt x="56" y="62"/>
                      <a:pt x="60" y="68"/>
                      <a:pt x="45" y="63"/>
                    </a:cubicBezTo>
                    <a:cubicBezTo>
                      <a:pt x="41" y="58"/>
                      <a:pt x="38" y="56"/>
                      <a:pt x="32" y="54"/>
                    </a:cubicBezTo>
                    <a:cubicBezTo>
                      <a:pt x="28" y="61"/>
                      <a:pt x="26" y="62"/>
                      <a:pt x="18" y="63"/>
                    </a:cubicBezTo>
                    <a:cubicBezTo>
                      <a:pt x="14" y="70"/>
                      <a:pt x="11" y="68"/>
                      <a:pt x="5" y="72"/>
                    </a:cubicBezTo>
                    <a:cubicBezTo>
                      <a:pt x="1" y="78"/>
                      <a:pt x="0" y="82"/>
                      <a:pt x="8" y="84"/>
                    </a:cubicBezTo>
                    <a:cubicBezTo>
                      <a:pt x="11" y="85"/>
                      <a:pt x="14" y="85"/>
                      <a:pt x="17" y="87"/>
                    </a:cubicBezTo>
                    <a:cubicBezTo>
                      <a:pt x="24" y="92"/>
                      <a:pt x="25" y="97"/>
                      <a:pt x="35" y="99"/>
                    </a:cubicBezTo>
                    <a:cubicBezTo>
                      <a:pt x="38" y="107"/>
                      <a:pt x="36" y="128"/>
                      <a:pt x="35" y="138"/>
                    </a:cubicBezTo>
                    <a:cubicBezTo>
                      <a:pt x="34" y="148"/>
                      <a:pt x="31" y="152"/>
                      <a:pt x="30" y="158"/>
                    </a:cubicBezTo>
                    <a:cubicBezTo>
                      <a:pt x="29" y="165"/>
                      <a:pt x="33" y="170"/>
                      <a:pt x="27" y="174"/>
                    </a:cubicBezTo>
                    <a:cubicBezTo>
                      <a:pt x="24" y="182"/>
                      <a:pt x="13" y="185"/>
                      <a:pt x="6" y="189"/>
                    </a:cubicBezTo>
                    <a:cubicBezTo>
                      <a:pt x="8" y="194"/>
                      <a:pt x="15" y="201"/>
                      <a:pt x="17" y="206"/>
                    </a:cubicBezTo>
                    <a:cubicBezTo>
                      <a:pt x="18" y="222"/>
                      <a:pt x="16" y="220"/>
                      <a:pt x="24" y="230"/>
                    </a:cubicBezTo>
                    <a:cubicBezTo>
                      <a:pt x="26" y="243"/>
                      <a:pt x="18" y="247"/>
                      <a:pt x="29" y="249"/>
                    </a:cubicBezTo>
                    <a:cubicBezTo>
                      <a:pt x="31" y="250"/>
                      <a:pt x="32" y="242"/>
                      <a:pt x="38" y="23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89" name="Freeform 92">
                <a:extLst>
                  <a:ext uri="{FF2B5EF4-FFF2-40B4-BE49-F238E27FC236}">
                    <a16:creationId xmlns:a16="http://schemas.microsoft.com/office/drawing/2014/main" id="{6AC9BB21-D4DD-4609-8FD8-9EDB5F82D4EC}"/>
                  </a:ext>
                </a:extLst>
              </p:cNvPr>
              <p:cNvSpPr>
                <a:spLocks/>
              </p:cNvSpPr>
              <p:nvPr>
                <p:custDataLst>
                  <p:tags r:id="rId77"/>
                </p:custDataLst>
              </p:nvPr>
            </p:nvSpPr>
            <p:spPr bwMode="gray">
              <a:xfrm>
                <a:off x="5096244" y="4465714"/>
                <a:ext cx="44430" cy="47776"/>
              </a:xfrm>
              <a:custGeom>
                <a:avLst/>
                <a:gdLst>
                  <a:gd name="T0" fmla="*/ 25 w 29"/>
                  <a:gd name="T1" fmla="*/ 0 h 31"/>
                  <a:gd name="T2" fmla="*/ 3 w 29"/>
                  <a:gd name="T3" fmla="*/ 7 h 31"/>
                  <a:gd name="T4" fmla="*/ 4 w 29"/>
                  <a:gd name="T5" fmla="*/ 28 h 31"/>
                  <a:gd name="T6" fmla="*/ 18 w 29"/>
                  <a:gd name="T7" fmla="*/ 25 h 31"/>
                  <a:gd name="T8" fmla="*/ 27 w 29"/>
                  <a:gd name="T9" fmla="*/ 18 h 31"/>
                  <a:gd name="T10" fmla="*/ 25 w 29"/>
                  <a:gd name="T11" fmla="*/ 7 h 31"/>
                  <a:gd name="T12" fmla="*/ 25 w 29"/>
                  <a:gd name="T13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9" h="31">
                    <a:moveTo>
                      <a:pt x="25" y="0"/>
                    </a:moveTo>
                    <a:cubicBezTo>
                      <a:pt x="16" y="1"/>
                      <a:pt x="9" y="0"/>
                      <a:pt x="3" y="7"/>
                    </a:cubicBezTo>
                    <a:cubicBezTo>
                      <a:pt x="0" y="11"/>
                      <a:pt x="2" y="25"/>
                      <a:pt x="4" y="28"/>
                    </a:cubicBezTo>
                    <a:cubicBezTo>
                      <a:pt x="6" y="31"/>
                      <a:pt x="14" y="27"/>
                      <a:pt x="18" y="25"/>
                    </a:cubicBezTo>
                    <a:cubicBezTo>
                      <a:pt x="21" y="23"/>
                      <a:pt x="26" y="21"/>
                      <a:pt x="27" y="18"/>
                    </a:cubicBezTo>
                    <a:cubicBezTo>
                      <a:pt x="28" y="15"/>
                      <a:pt x="25" y="10"/>
                      <a:pt x="25" y="7"/>
                    </a:cubicBezTo>
                    <a:cubicBezTo>
                      <a:pt x="25" y="4"/>
                      <a:pt x="29" y="0"/>
                      <a:pt x="25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0" name="Freeform 93">
                <a:extLst>
                  <a:ext uri="{FF2B5EF4-FFF2-40B4-BE49-F238E27FC236}">
                    <a16:creationId xmlns:a16="http://schemas.microsoft.com/office/drawing/2014/main" id="{4D7ADCAB-012D-44D6-9304-89FA386564AA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gray">
              <a:xfrm>
                <a:off x="5099206" y="4431809"/>
                <a:ext cx="254732" cy="257369"/>
              </a:xfrm>
              <a:custGeom>
                <a:avLst/>
                <a:gdLst>
                  <a:gd name="T0" fmla="*/ 10 w 169"/>
                  <a:gd name="T1" fmla="*/ 2 h 167"/>
                  <a:gd name="T2" fmla="*/ 53 w 169"/>
                  <a:gd name="T3" fmla="*/ 2 h 167"/>
                  <a:gd name="T4" fmla="*/ 77 w 169"/>
                  <a:gd name="T5" fmla="*/ 5 h 167"/>
                  <a:gd name="T6" fmla="*/ 103 w 169"/>
                  <a:gd name="T7" fmla="*/ 13 h 167"/>
                  <a:gd name="T8" fmla="*/ 128 w 169"/>
                  <a:gd name="T9" fmla="*/ 37 h 167"/>
                  <a:gd name="T10" fmla="*/ 149 w 169"/>
                  <a:gd name="T11" fmla="*/ 49 h 167"/>
                  <a:gd name="T12" fmla="*/ 154 w 169"/>
                  <a:gd name="T13" fmla="*/ 106 h 167"/>
                  <a:gd name="T14" fmla="*/ 157 w 169"/>
                  <a:gd name="T15" fmla="*/ 122 h 167"/>
                  <a:gd name="T16" fmla="*/ 155 w 169"/>
                  <a:gd name="T17" fmla="*/ 151 h 167"/>
                  <a:gd name="T18" fmla="*/ 136 w 169"/>
                  <a:gd name="T19" fmla="*/ 155 h 167"/>
                  <a:gd name="T20" fmla="*/ 124 w 169"/>
                  <a:gd name="T21" fmla="*/ 163 h 167"/>
                  <a:gd name="T22" fmla="*/ 106 w 169"/>
                  <a:gd name="T23" fmla="*/ 164 h 167"/>
                  <a:gd name="T24" fmla="*/ 89 w 169"/>
                  <a:gd name="T25" fmla="*/ 160 h 167"/>
                  <a:gd name="T26" fmla="*/ 38 w 169"/>
                  <a:gd name="T27" fmla="*/ 121 h 167"/>
                  <a:gd name="T28" fmla="*/ 20 w 169"/>
                  <a:gd name="T29" fmla="*/ 109 h 167"/>
                  <a:gd name="T30" fmla="*/ 23 w 169"/>
                  <a:gd name="T31" fmla="*/ 92 h 167"/>
                  <a:gd name="T32" fmla="*/ 10 w 169"/>
                  <a:gd name="T33" fmla="*/ 85 h 167"/>
                  <a:gd name="T34" fmla="*/ 1 w 169"/>
                  <a:gd name="T35" fmla="*/ 73 h 167"/>
                  <a:gd name="T36" fmla="*/ 2 w 169"/>
                  <a:gd name="T37" fmla="*/ 53 h 167"/>
                  <a:gd name="T38" fmla="*/ 12 w 169"/>
                  <a:gd name="T39" fmla="*/ 52 h 167"/>
                  <a:gd name="T40" fmla="*/ 26 w 169"/>
                  <a:gd name="T41" fmla="*/ 38 h 167"/>
                  <a:gd name="T42" fmla="*/ 23 w 169"/>
                  <a:gd name="T43" fmla="*/ 23 h 167"/>
                  <a:gd name="T44" fmla="*/ 25 w 169"/>
                  <a:gd name="T45" fmla="*/ 13 h 167"/>
                  <a:gd name="T46" fmla="*/ 10 w 169"/>
                  <a:gd name="T47" fmla="*/ 2 h 1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69" h="167">
                    <a:moveTo>
                      <a:pt x="10" y="2"/>
                    </a:moveTo>
                    <a:cubicBezTo>
                      <a:pt x="15" y="0"/>
                      <a:pt x="38" y="0"/>
                      <a:pt x="53" y="2"/>
                    </a:cubicBezTo>
                    <a:cubicBezTo>
                      <a:pt x="64" y="2"/>
                      <a:pt x="69" y="3"/>
                      <a:pt x="77" y="5"/>
                    </a:cubicBezTo>
                    <a:cubicBezTo>
                      <a:pt x="85" y="7"/>
                      <a:pt x="95" y="8"/>
                      <a:pt x="103" y="13"/>
                    </a:cubicBezTo>
                    <a:cubicBezTo>
                      <a:pt x="113" y="20"/>
                      <a:pt x="117" y="32"/>
                      <a:pt x="128" y="37"/>
                    </a:cubicBezTo>
                    <a:cubicBezTo>
                      <a:pt x="136" y="48"/>
                      <a:pt x="136" y="45"/>
                      <a:pt x="149" y="49"/>
                    </a:cubicBezTo>
                    <a:cubicBezTo>
                      <a:pt x="138" y="64"/>
                      <a:pt x="147" y="89"/>
                      <a:pt x="154" y="106"/>
                    </a:cubicBezTo>
                    <a:cubicBezTo>
                      <a:pt x="155" y="113"/>
                      <a:pt x="153" y="117"/>
                      <a:pt x="157" y="122"/>
                    </a:cubicBezTo>
                    <a:cubicBezTo>
                      <a:pt x="159" y="134"/>
                      <a:pt x="169" y="149"/>
                      <a:pt x="155" y="151"/>
                    </a:cubicBezTo>
                    <a:cubicBezTo>
                      <a:pt x="152" y="157"/>
                      <a:pt x="141" y="153"/>
                      <a:pt x="136" y="155"/>
                    </a:cubicBezTo>
                    <a:cubicBezTo>
                      <a:pt x="131" y="157"/>
                      <a:pt x="129" y="162"/>
                      <a:pt x="124" y="163"/>
                    </a:cubicBezTo>
                    <a:cubicBezTo>
                      <a:pt x="119" y="164"/>
                      <a:pt x="112" y="164"/>
                      <a:pt x="106" y="164"/>
                    </a:cubicBezTo>
                    <a:cubicBezTo>
                      <a:pt x="100" y="167"/>
                      <a:pt x="95" y="161"/>
                      <a:pt x="89" y="160"/>
                    </a:cubicBezTo>
                    <a:cubicBezTo>
                      <a:pt x="87" y="131"/>
                      <a:pt x="64" y="122"/>
                      <a:pt x="38" y="121"/>
                    </a:cubicBezTo>
                    <a:cubicBezTo>
                      <a:pt x="32" y="117"/>
                      <a:pt x="26" y="113"/>
                      <a:pt x="20" y="109"/>
                    </a:cubicBezTo>
                    <a:cubicBezTo>
                      <a:pt x="17" y="105"/>
                      <a:pt x="25" y="96"/>
                      <a:pt x="23" y="92"/>
                    </a:cubicBezTo>
                    <a:cubicBezTo>
                      <a:pt x="21" y="88"/>
                      <a:pt x="14" y="88"/>
                      <a:pt x="10" y="85"/>
                    </a:cubicBezTo>
                    <a:cubicBezTo>
                      <a:pt x="8" y="78"/>
                      <a:pt x="2" y="78"/>
                      <a:pt x="1" y="73"/>
                    </a:cubicBezTo>
                    <a:cubicBezTo>
                      <a:pt x="0" y="68"/>
                      <a:pt x="0" y="56"/>
                      <a:pt x="2" y="53"/>
                    </a:cubicBezTo>
                    <a:cubicBezTo>
                      <a:pt x="4" y="50"/>
                      <a:pt x="8" y="54"/>
                      <a:pt x="12" y="52"/>
                    </a:cubicBezTo>
                    <a:cubicBezTo>
                      <a:pt x="16" y="50"/>
                      <a:pt x="24" y="43"/>
                      <a:pt x="26" y="38"/>
                    </a:cubicBezTo>
                    <a:cubicBezTo>
                      <a:pt x="25" y="32"/>
                      <a:pt x="26" y="29"/>
                      <a:pt x="23" y="23"/>
                    </a:cubicBezTo>
                    <a:cubicBezTo>
                      <a:pt x="25" y="20"/>
                      <a:pt x="24" y="16"/>
                      <a:pt x="25" y="13"/>
                    </a:cubicBezTo>
                    <a:cubicBezTo>
                      <a:pt x="29" y="2"/>
                      <a:pt x="15" y="3"/>
                      <a:pt x="10" y="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1" name="Freeform 94">
                <a:extLst>
                  <a:ext uri="{FF2B5EF4-FFF2-40B4-BE49-F238E27FC236}">
                    <a16:creationId xmlns:a16="http://schemas.microsoft.com/office/drawing/2014/main" id="{F023B4A0-7E5C-431E-9C02-F9C4EF37B7F4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gray">
              <a:xfrm>
                <a:off x="5102168" y="4434891"/>
                <a:ext cx="48873" cy="38529"/>
              </a:xfrm>
              <a:custGeom>
                <a:avLst/>
                <a:gdLst>
                  <a:gd name="T0" fmla="*/ 11 w 32"/>
                  <a:gd name="T1" fmla="*/ 2 h 25"/>
                  <a:gd name="T2" fmla="*/ 21 w 32"/>
                  <a:gd name="T3" fmla="*/ 14 h 25"/>
                  <a:gd name="T4" fmla="*/ 0 w 32"/>
                  <a:gd name="T5" fmla="*/ 24 h 25"/>
                  <a:gd name="T6" fmla="*/ 6 w 32"/>
                  <a:gd name="T7" fmla="*/ 8 h 25"/>
                  <a:gd name="T8" fmla="*/ 11 w 32"/>
                  <a:gd name="T9" fmla="*/ 2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2" h="25">
                    <a:moveTo>
                      <a:pt x="11" y="2"/>
                    </a:moveTo>
                    <a:cubicBezTo>
                      <a:pt x="23" y="0"/>
                      <a:pt x="32" y="10"/>
                      <a:pt x="21" y="14"/>
                    </a:cubicBezTo>
                    <a:cubicBezTo>
                      <a:pt x="16" y="21"/>
                      <a:pt x="8" y="25"/>
                      <a:pt x="0" y="24"/>
                    </a:cubicBezTo>
                    <a:cubicBezTo>
                      <a:pt x="1" y="16"/>
                      <a:pt x="0" y="13"/>
                      <a:pt x="6" y="8"/>
                    </a:cubicBezTo>
                    <a:cubicBezTo>
                      <a:pt x="9" y="2"/>
                      <a:pt x="7" y="2"/>
                      <a:pt x="11" y="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2" name="Freeform 95">
                <a:extLst>
                  <a:ext uri="{FF2B5EF4-FFF2-40B4-BE49-F238E27FC236}">
                    <a16:creationId xmlns:a16="http://schemas.microsoft.com/office/drawing/2014/main" id="{BE653CC3-FFC2-4625-9F50-C9190ACAF544}"/>
                  </a:ext>
                </a:extLst>
              </p:cNvPr>
              <p:cNvSpPr>
                <a:spLocks/>
              </p:cNvSpPr>
              <p:nvPr>
                <p:custDataLst>
                  <p:tags r:id="rId80"/>
                </p:custDataLst>
              </p:nvPr>
            </p:nvSpPr>
            <p:spPr bwMode="gray">
              <a:xfrm>
                <a:off x="5182142" y="4629074"/>
                <a:ext cx="71088" cy="171066"/>
              </a:xfrm>
              <a:custGeom>
                <a:avLst/>
                <a:gdLst>
                  <a:gd name="T0" fmla="*/ 7 w 47"/>
                  <a:gd name="T1" fmla="*/ 0 h 111"/>
                  <a:gd name="T2" fmla="*/ 33 w 47"/>
                  <a:gd name="T3" fmla="*/ 20 h 111"/>
                  <a:gd name="T4" fmla="*/ 34 w 47"/>
                  <a:gd name="T5" fmla="*/ 33 h 111"/>
                  <a:gd name="T6" fmla="*/ 31 w 47"/>
                  <a:gd name="T7" fmla="*/ 54 h 111"/>
                  <a:gd name="T8" fmla="*/ 45 w 47"/>
                  <a:gd name="T9" fmla="*/ 78 h 111"/>
                  <a:gd name="T10" fmla="*/ 45 w 47"/>
                  <a:gd name="T11" fmla="*/ 101 h 111"/>
                  <a:gd name="T12" fmla="*/ 30 w 47"/>
                  <a:gd name="T13" fmla="*/ 108 h 111"/>
                  <a:gd name="T14" fmla="*/ 24 w 47"/>
                  <a:gd name="T15" fmla="*/ 80 h 111"/>
                  <a:gd name="T16" fmla="*/ 9 w 47"/>
                  <a:gd name="T17" fmla="*/ 68 h 111"/>
                  <a:gd name="T18" fmla="*/ 1 w 47"/>
                  <a:gd name="T19" fmla="*/ 56 h 111"/>
                  <a:gd name="T20" fmla="*/ 12 w 47"/>
                  <a:gd name="T21" fmla="*/ 35 h 111"/>
                  <a:gd name="T22" fmla="*/ 7 w 47"/>
                  <a:gd name="T23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47" h="111">
                    <a:moveTo>
                      <a:pt x="7" y="0"/>
                    </a:moveTo>
                    <a:cubicBezTo>
                      <a:pt x="21" y="2"/>
                      <a:pt x="28" y="6"/>
                      <a:pt x="33" y="20"/>
                    </a:cubicBezTo>
                    <a:cubicBezTo>
                      <a:pt x="37" y="26"/>
                      <a:pt x="34" y="27"/>
                      <a:pt x="34" y="33"/>
                    </a:cubicBezTo>
                    <a:cubicBezTo>
                      <a:pt x="34" y="39"/>
                      <a:pt x="29" y="47"/>
                      <a:pt x="31" y="54"/>
                    </a:cubicBezTo>
                    <a:cubicBezTo>
                      <a:pt x="35" y="60"/>
                      <a:pt x="43" y="71"/>
                      <a:pt x="45" y="78"/>
                    </a:cubicBezTo>
                    <a:cubicBezTo>
                      <a:pt x="47" y="86"/>
                      <a:pt x="47" y="96"/>
                      <a:pt x="45" y="101"/>
                    </a:cubicBezTo>
                    <a:cubicBezTo>
                      <a:pt x="43" y="106"/>
                      <a:pt x="33" y="111"/>
                      <a:pt x="30" y="108"/>
                    </a:cubicBezTo>
                    <a:cubicBezTo>
                      <a:pt x="26" y="100"/>
                      <a:pt x="26" y="88"/>
                      <a:pt x="24" y="80"/>
                    </a:cubicBezTo>
                    <a:cubicBezTo>
                      <a:pt x="22" y="73"/>
                      <a:pt x="14" y="72"/>
                      <a:pt x="9" y="68"/>
                    </a:cubicBezTo>
                    <a:cubicBezTo>
                      <a:pt x="6" y="63"/>
                      <a:pt x="2" y="62"/>
                      <a:pt x="1" y="56"/>
                    </a:cubicBezTo>
                    <a:cubicBezTo>
                      <a:pt x="0" y="50"/>
                      <a:pt x="11" y="44"/>
                      <a:pt x="12" y="35"/>
                    </a:cubicBezTo>
                    <a:cubicBezTo>
                      <a:pt x="13" y="26"/>
                      <a:pt x="8" y="7"/>
                      <a:pt x="7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3" name="Freeform 96">
                <a:extLst>
                  <a:ext uri="{FF2B5EF4-FFF2-40B4-BE49-F238E27FC236}">
                    <a16:creationId xmlns:a16="http://schemas.microsoft.com/office/drawing/2014/main" id="{A8F3642A-C97C-4865-9DB2-8EEAA88A99DC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gray">
              <a:xfrm>
                <a:off x="4626768" y="3490177"/>
                <a:ext cx="90341" cy="172607"/>
              </a:xfrm>
              <a:custGeom>
                <a:avLst/>
                <a:gdLst>
                  <a:gd name="T0" fmla="*/ 19 w 60"/>
                  <a:gd name="T1" fmla="*/ 9 h 112"/>
                  <a:gd name="T2" fmla="*/ 39 w 60"/>
                  <a:gd name="T3" fmla="*/ 4 h 112"/>
                  <a:gd name="T4" fmla="*/ 48 w 60"/>
                  <a:gd name="T5" fmla="*/ 34 h 112"/>
                  <a:gd name="T6" fmla="*/ 37 w 60"/>
                  <a:gd name="T7" fmla="*/ 51 h 112"/>
                  <a:gd name="T8" fmla="*/ 51 w 60"/>
                  <a:gd name="T9" fmla="*/ 73 h 112"/>
                  <a:gd name="T10" fmla="*/ 54 w 60"/>
                  <a:gd name="T11" fmla="*/ 90 h 112"/>
                  <a:gd name="T12" fmla="*/ 41 w 60"/>
                  <a:gd name="T13" fmla="*/ 99 h 112"/>
                  <a:gd name="T14" fmla="*/ 34 w 60"/>
                  <a:gd name="T15" fmla="*/ 103 h 112"/>
                  <a:gd name="T16" fmla="*/ 27 w 60"/>
                  <a:gd name="T17" fmla="*/ 109 h 112"/>
                  <a:gd name="T18" fmla="*/ 7 w 60"/>
                  <a:gd name="T19" fmla="*/ 87 h 112"/>
                  <a:gd name="T20" fmla="*/ 0 w 60"/>
                  <a:gd name="T21" fmla="*/ 73 h 112"/>
                  <a:gd name="T22" fmla="*/ 9 w 60"/>
                  <a:gd name="T23" fmla="*/ 34 h 112"/>
                  <a:gd name="T24" fmla="*/ 19 w 60"/>
                  <a:gd name="T25" fmla="*/ 9 h 1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60" h="112">
                    <a:moveTo>
                      <a:pt x="19" y="9"/>
                    </a:moveTo>
                    <a:cubicBezTo>
                      <a:pt x="24" y="0"/>
                      <a:pt x="29" y="3"/>
                      <a:pt x="39" y="4"/>
                    </a:cubicBezTo>
                    <a:cubicBezTo>
                      <a:pt x="49" y="12"/>
                      <a:pt x="43" y="23"/>
                      <a:pt x="48" y="34"/>
                    </a:cubicBezTo>
                    <a:cubicBezTo>
                      <a:pt x="50" y="44"/>
                      <a:pt x="47" y="48"/>
                      <a:pt x="37" y="51"/>
                    </a:cubicBezTo>
                    <a:cubicBezTo>
                      <a:pt x="35" y="64"/>
                      <a:pt x="38" y="70"/>
                      <a:pt x="51" y="73"/>
                    </a:cubicBezTo>
                    <a:cubicBezTo>
                      <a:pt x="55" y="80"/>
                      <a:pt x="60" y="86"/>
                      <a:pt x="54" y="90"/>
                    </a:cubicBezTo>
                    <a:cubicBezTo>
                      <a:pt x="52" y="94"/>
                      <a:pt x="44" y="97"/>
                      <a:pt x="41" y="99"/>
                    </a:cubicBezTo>
                    <a:cubicBezTo>
                      <a:pt x="38" y="101"/>
                      <a:pt x="36" y="101"/>
                      <a:pt x="34" y="103"/>
                    </a:cubicBezTo>
                    <a:cubicBezTo>
                      <a:pt x="32" y="105"/>
                      <a:pt x="32" y="112"/>
                      <a:pt x="27" y="109"/>
                    </a:cubicBezTo>
                    <a:cubicBezTo>
                      <a:pt x="25" y="100"/>
                      <a:pt x="15" y="92"/>
                      <a:pt x="7" y="87"/>
                    </a:cubicBezTo>
                    <a:cubicBezTo>
                      <a:pt x="4" y="82"/>
                      <a:pt x="1" y="79"/>
                      <a:pt x="0" y="73"/>
                    </a:cubicBezTo>
                    <a:cubicBezTo>
                      <a:pt x="1" y="61"/>
                      <a:pt x="3" y="45"/>
                      <a:pt x="9" y="34"/>
                    </a:cubicBezTo>
                    <a:cubicBezTo>
                      <a:pt x="9" y="28"/>
                      <a:pt x="8" y="9"/>
                      <a:pt x="19" y="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4" name="Freeform 100">
                <a:extLst>
                  <a:ext uri="{FF2B5EF4-FFF2-40B4-BE49-F238E27FC236}">
                    <a16:creationId xmlns:a16="http://schemas.microsoft.com/office/drawing/2014/main" id="{02C1AFCF-D576-4C68-A16B-FCE91CB47B57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gray">
              <a:xfrm>
                <a:off x="4757096" y="2912253"/>
                <a:ext cx="233998" cy="197265"/>
              </a:xfrm>
              <a:custGeom>
                <a:avLst/>
                <a:gdLst>
                  <a:gd name="T0" fmla="*/ 0 w 155"/>
                  <a:gd name="T1" fmla="*/ 18 h 128"/>
                  <a:gd name="T2" fmla="*/ 33 w 155"/>
                  <a:gd name="T3" fmla="*/ 15 h 128"/>
                  <a:gd name="T4" fmla="*/ 54 w 155"/>
                  <a:gd name="T5" fmla="*/ 0 h 128"/>
                  <a:gd name="T6" fmla="*/ 87 w 155"/>
                  <a:gd name="T7" fmla="*/ 4 h 128"/>
                  <a:gd name="T8" fmla="*/ 96 w 155"/>
                  <a:gd name="T9" fmla="*/ 16 h 128"/>
                  <a:gd name="T10" fmla="*/ 120 w 155"/>
                  <a:gd name="T11" fmla="*/ 15 h 128"/>
                  <a:gd name="T12" fmla="*/ 147 w 155"/>
                  <a:gd name="T13" fmla="*/ 19 h 128"/>
                  <a:gd name="T14" fmla="*/ 153 w 155"/>
                  <a:gd name="T15" fmla="*/ 39 h 128"/>
                  <a:gd name="T16" fmla="*/ 145 w 155"/>
                  <a:gd name="T17" fmla="*/ 57 h 128"/>
                  <a:gd name="T18" fmla="*/ 150 w 155"/>
                  <a:gd name="T19" fmla="*/ 76 h 128"/>
                  <a:gd name="T20" fmla="*/ 153 w 155"/>
                  <a:gd name="T21" fmla="*/ 99 h 128"/>
                  <a:gd name="T22" fmla="*/ 136 w 155"/>
                  <a:gd name="T23" fmla="*/ 118 h 128"/>
                  <a:gd name="T24" fmla="*/ 123 w 155"/>
                  <a:gd name="T25" fmla="*/ 124 h 128"/>
                  <a:gd name="T26" fmla="*/ 94 w 155"/>
                  <a:gd name="T27" fmla="*/ 127 h 128"/>
                  <a:gd name="T28" fmla="*/ 73 w 155"/>
                  <a:gd name="T29" fmla="*/ 121 h 128"/>
                  <a:gd name="T30" fmla="*/ 39 w 155"/>
                  <a:gd name="T31" fmla="*/ 96 h 128"/>
                  <a:gd name="T32" fmla="*/ 12 w 155"/>
                  <a:gd name="T33" fmla="*/ 88 h 128"/>
                  <a:gd name="T34" fmla="*/ 10 w 155"/>
                  <a:gd name="T35" fmla="*/ 52 h 128"/>
                  <a:gd name="T36" fmla="*/ 0 w 155"/>
                  <a:gd name="T37" fmla="*/ 18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155" h="128">
                    <a:moveTo>
                      <a:pt x="0" y="18"/>
                    </a:moveTo>
                    <a:cubicBezTo>
                      <a:pt x="5" y="17"/>
                      <a:pt x="33" y="15"/>
                      <a:pt x="33" y="15"/>
                    </a:cubicBezTo>
                    <a:cubicBezTo>
                      <a:pt x="42" y="10"/>
                      <a:pt x="42" y="2"/>
                      <a:pt x="54" y="0"/>
                    </a:cubicBezTo>
                    <a:cubicBezTo>
                      <a:pt x="78" y="1"/>
                      <a:pt x="63" y="0"/>
                      <a:pt x="87" y="4"/>
                    </a:cubicBezTo>
                    <a:cubicBezTo>
                      <a:pt x="91" y="5"/>
                      <a:pt x="96" y="16"/>
                      <a:pt x="96" y="16"/>
                    </a:cubicBezTo>
                    <a:cubicBezTo>
                      <a:pt x="100" y="18"/>
                      <a:pt x="112" y="15"/>
                      <a:pt x="120" y="15"/>
                    </a:cubicBezTo>
                    <a:cubicBezTo>
                      <a:pt x="128" y="15"/>
                      <a:pt x="142" y="15"/>
                      <a:pt x="147" y="19"/>
                    </a:cubicBezTo>
                    <a:cubicBezTo>
                      <a:pt x="153" y="23"/>
                      <a:pt x="153" y="33"/>
                      <a:pt x="153" y="39"/>
                    </a:cubicBezTo>
                    <a:cubicBezTo>
                      <a:pt x="153" y="45"/>
                      <a:pt x="145" y="51"/>
                      <a:pt x="145" y="57"/>
                    </a:cubicBezTo>
                    <a:cubicBezTo>
                      <a:pt x="148" y="73"/>
                      <a:pt x="146" y="67"/>
                      <a:pt x="150" y="76"/>
                    </a:cubicBezTo>
                    <a:cubicBezTo>
                      <a:pt x="151" y="83"/>
                      <a:pt x="155" y="92"/>
                      <a:pt x="153" y="99"/>
                    </a:cubicBezTo>
                    <a:cubicBezTo>
                      <a:pt x="151" y="106"/>
                      <a:pt x="141" y="114"/>
                      <a:pt x="136" y="118"/>
                    </a:cubicBezTo>
                    <a:cubicBezTo>
                      <a:pt x="131" y="120"/>
                      <a:pt x="127" y="121"/>
                      <a:pt x="123" y="124"/>
                    </a:cubicBezTo>
                    <a:cubicBezTo>
                      <a:pt x="117" y="125"/>
                      <a:pt x="102" y="128"/>
                      <a:pt x="94" y="127"/>
                    </a:cubicBezTo>
                    <a:cubicBezTo>
                      <a:pt x="86" y="126"/>
                      <a:pt x="82" y="126"/>
                      <a:pt x="73" y="121"/>
                    </a:cubicBezTo>
                    <a:cubicBezTo>
                      <a:pt x="61" y="120"/>
                      <a:pt x="52" y="99"/>
                      <a:pt x="39" y="96"/>
                    </a:cubicBezTo>
                    <a:cubicBezTo>
                      <a:pt x="28" y="88"/>
                      <a:pt x="25" y="92"/>
                      <a:pt x="12" y="88"/>
                    </a:cubicBezTo>
                    <a:cubicBezTo>
                      <a:pt x="6" y="80"/>
                      <a:pt x="11" y="64"/>
                      <a:pt x="10" y="52"/>
                    </a:cubicBezTo>
                    <a:cubicBezTo>
                      <a:pt x="8" y="40"/>
                      <a:pt x="1" y="25"/>
                      <a:pt x="0" y="1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5" name="Freeform 102">
                <a:extLst>
                  <a:ext uri="{FF2B5EF4-FFF2-40B4-BE49-F238E27FC236}">
                    <a16:creationId xmlns:a16="http://schemas.microsoft.com/office/drawing/2014/main" id="{6EE9EC13-42B8-40A0-84BE-D445F8E329C4}"/>
                  </a:ext>
                </a:extLst>
              </p:cNvPr>
              <p:cNvSpPr>
                <a:spLocks/>
              </p:cNvSpPr>
              <p:nvPr>
                <p:custDataLst>
                  <p:tags r:id="rId83"/>
                </p:custDataLst>
              </p:nvPr>
            </p:nvSpPr>
            <p:spPr bwMode="gray">
              <a:xfrm>
                <a:off x="4629813" y="2788961"/>
                <a:ext cx="161800" cy="154212"/>
              </a:xfrm>
              <a:custGeom>
                <a:avLst/>
                <a:gdLst/>
                <a:ahLst/>
                <a:cxnLst/>
                <a:rect l="l" t="t" r="r" b="b"/>
                <a:pathLst>
                  <a:path w="173435" h="158852">
                    <a:moveTo>
                      <a:pt x="161866" y="104174"/>
                    </a:moveTo>
                    <a:cubicBezTo>
                      <a:pt x="177799" y="106608"/>
                      <a:pt x="177890" y="118745"/>
                      <a:pt x="158299" y="114301"/>
                    </a:cubicBezTo>
                    <a:close/>
                    <a:moveTo>
                      <a:pt x="158299" y="103189"/>
                    </a:moveTo>
                    <a:cubicBezTo>
                      <a:pt x="161692" y="103189"/>
                      <a:pt x="162413" y="102751"/>
                      <a:pt x="161866" y="104174"/>
                    </a:cubicBezTo>
                    <a:close/>
                    <a:moveTo>
                      <a:pt x="51691" y="0"/>
                    </a:moveTo>
                    <a:cubicBezTo>
                      <a:pt x="61383" y="3175"/>
                      <a:pt x="74297" y="22223"/>
                      <a:pt x="74297" y="22223"/>
                    </a:cubicBezTo>
                    <a:cubicBezTo>
                      <a:pt x="71074" y="39684"/>
                      <a:pt x="59766" y="44446"/>
                      <a:pt x="64606" y="57145"/>
                    </a:cubicBezTo>
                    <a:cubicBezTo>
                      <a:pt x="56531" y="79368"/>
                      <a:pt x="51691" y="74605"/>
                      <a:pt x="67840" y="79368"/>
                    </a:cubicBezTo>
                    <a:lnTo>
                      <a:pt x="78619" y="73638"/>
                    </a:lnTo>
                    <a:cubicBezTo>
                      <a:pt x="82783" y="68355"/>
                      <a:pt x="73087" y="65081"/>
                      <a:pt x="103383" y="69843"/>
                    </a:cubicBezTo>
                    <a:cubicBezTo>
                      <a:pt x="109840" y="87320"/>
                      <a:pt x="100148" y="109543"/>
                      <a:pt x="96914" y="127004"/>
                    </a:cubicBezTo>
                    <a:cubicBezTo>
                      <a:pt x="72691" y="119067"/>
                      <a:pt x="82383" y="125417"/>
                      <a:pt x="67840" y="111131"/>
                    </a:cubicBezTo>
                    <a:cubicBezTo>
                      <a:pt x="59766" y="134941"/>
                      <a:pt x="67840" y="128591"/>
                      <a:pt x="45223" y="133353"/>
                    </a:cubicBezTo>
                    <a:cubicBezTo>
                      <a:pt x="42000" y="136528"/>
                      <a:pt x="32297" y="133353"/>
                      <a:pt x="30692" y="138115"/>
                    </a:cubicBezTo>
                    <a:cubicBezTo>
                      <a:pt x="27457" y="142877"/>
                      <a:pt x="37149" y="160338"/>
                      <a:pt x="32297" y="158751"/>
                    </a:cubicBezTo>
                    <a:cubicBezTo>
                      <a:pt x="12914" y="155576"/>
                      <a:pt x="9692" y="109543"/>
                      <a:pt x="9692" y="98432"/>
                    </a:cubicBezTo>
                    <a:lnTo>
                      <a:pt x="9692" y="123829"/>
                    </a:lnTo>
                    <a:cubicBezTo>
                      <a:pt x="8074" y="115893"/>
                      <a:pt x="8074" y="106368"/>
                      <a:pt x="6457" y="98432"/>
                    </a:cubicBezTo>
                    <a:cubicBezTo>
                      <a:pt x="4840" y="92082"/>
                      <a:pt x="0" y="79368"/>
                      <a:pt x="0" y="79368"/>
                    </a:cubicBezTo>
                    <a:cubicBezTo>
                      <a:pt x="3223" y="44446"/>
                      <a:pt x="-4852" y="36509"/>
                      <a:pt x="32297" y="31747"/>
                    </a:cubicBezTo>
                    <a:cubicBezTo>
                      <a:pt x="43606" y="20636"/>
                      <a:pt x="48457" y="14286"/>
                      <a:pt x="51691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6" name="Freeform 105">
                <a:extLst>
                  <a:ext uri="{FF2B5EF4-FFF2-40B4-BE49-F238E27FC236}">
                    <a16:creationId xmlns:a16="http://schemas.microsoft.com/office/drawing/2014/main" id="{D2E2915D-381B-4637-B7C0-FBE7474900C8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gray">
              <a:xfrm>
                <a:off x="5804161" y="3447025"/>
                <a:ext cx="247327" cy="258910"/>
              </a:xfrm>
              <a:custGeom>
                <a:avLst/>
                <a:gdLst>
                  <a:gd name="T0" fmla="*/ 165 w 165"/>
                  <a:gd name="T1" fmla="*/ 37 h 168"/>
                  <a:gd name="T2" fmla="*/ 159 w 165"/>
                  <a:gd name="T3" fmla="*/ 45 h 168"/>
                  <a:gd name="T4" fmla="*/ 159 w 165"/>
                  <a:gd name="T5" fmla="*/ 70 h 168"/>
                  <a:gd name="T6" fmla="*/ 159 w 165"/>
                  <a:gd name="T7" fmla="*/ 81 h 168"/>
                  <a:gd name="T8" fmla="*/ 147 w 165"/>
                  <a:gd name="T9" fmla="*/ 85 h 168"/>
                  <a:gd name="T10" fmla="*/ 133 w 165"/>
                  <a:gd name="T11" fmla="*/ 85 h 168"/>
                  <a:gd name="T12" fmla="*/ 144 w 165"/>
                  <a:gd name="T13" fmla="*/ 96 h 168"/>
                  <a:gd name="T14" fmla="*/ 132 w 165"/>
                  <a:gd name="T15" fmla="*/ 103 h 168"/>
                  <a:gd name="T16" fmla="*/ 130 w 165"/>
                  <a:gd name="T17" fmla="*/ 123 h 168"/>
                  <a:gd name="T18" fmla="*/ 112 w 165"/>
                  <a:gd name="T19" fmla="*/ 127 h 168"/>
                  <a:gd name="T20" fmla="*/ 84 w 165"/>
                  <a:gd name="T21" fmla="*/ 138 h 168"/>
                  <a:gd name="T22" fmla="*/ 84 w 165"/>
                  <a:gd name="T23" fmla="*/ 157 h 168"/>
                  <a:gd name="T24" fmla="*/ 70 w 165"/>
                  <a:gd name="T25" fmla="*/ 163 h 168"/>
                  <a:gd name="T26" fmla="*/ 58 w 165"/>
                  <a:gd name="T27" fmla="*/ 160 h 168"/>
                  <a:gd name="T28" fmla="*/ 48 w 165"/>
                  <a:gd name="T29" fmla="*/ 166 h 168"/>
                  <a:gd name="T30" fmla="*/ 7 w 165"/>
                  <a:gd name="T31" fmla="*/ 165 h 168"/>
                  <a:gd name="T32" fmla="*/ 14 w 165"/>
                  <a:gd name="T33" fmla="*/ 149 h 168"/>
                  <a:gd name="T34" fmla="*/ 10 w 165"/>
                  <a:gd name="T35" fmla="*/ 134 h 168"/>
                  <a:gd name="T36" fmla="*/ 10 w 165"/>
                  <a:gd name="T37" fmla="*/ 127 h 168"/>
                  <a:gd name="T38" fmla="*/ 0 w 165"/>
                  <a:gd name="T39" fmla="*/ 120 h 168"/>
                  <a:gd name="T40" fmla="*/ 7 w 165"/>
                  <a:gd name="T41" fmla="*/ 88 h 168"/>
                  <a:gd name="T42" fmla="*/ 10 w 165"/>
                  <a:gd name="T43" fmla="*/ 79 h 168"/>
                  <a:gd name="T44" fmla="*/ 10 w 165"/>
                  <a:gd name="T45" fmla="*/ 73 h 168"/>
                  <a:gd name="T46" fmla="*/ 9 w 165"/>
                  <a:gd name="T47" fmla="*/ 58 h 168"/>
                  <a:gd name="T48" fmla="*/ 25 w 165"/>
                  <a:gd name="T49" fmla="*/ 61 h 168"/>
                  <a:gd name="T50" fmla="*/ 35 w 165"/>
                  <a:gd name="T51" fmla="*/ 67 h 168"/>
                  <a:gd name="T52" fmla="*/ 46 w 165"/>
                  <a:gd name="T53" fmla="*/ 55 h 168"/>
                  <a:gd name="T54" fmla="*/ 58 w 165"/>
                  <a:gd name="T55" fmla="*/ 50 h 168"/>
                  <a:gd name="T56" fmla="*/ 67 w 165"/>
                  <a:gd name="T57" fmla="*/ 28 h 168"/>
                  <a:gd name="T58" fmla="*/ 79 w 165"/>
                  <a:gd name="T59" fmla="*/ 21 h 168"/>
                  <a:gd name="T60" fmla="*/ 94 w 165"/>
                  <a:gd name="T61" fmla="*/ 32 h 168"/>
                  <a:gd name="T62" fmla="*/ 112 w 165"/>
                  <a:gd name="T63" fmla="*/ 28 h 168"/>
                  <a:gd name="T64" fmla="*/ 136 w 165"/>
                  <a:gd name="T65" fmla="*/ 28 h 168"/>
                  <a:gd name="T66" fmla="*/ 149 w 165"/>
                  <a:gd name="T67" fmla="*/ 16 h 168"/>
                  <a:gd name="T68" fmla="*/ 153 w 165"/>
                  <a:gd name="T69" fmla="*/ 1 h 168"/>
                  <a:gd name="T70" fmla="*/ 162 w 165"/>
                  <a:gd name="T71" fmla="*/ 9 h 168"/>
                  <a:gd name="T72" fmla="*/ 165 w 165"/>
                  <a:gd name="T73" fmla="*/ 37 h 1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65" h="168">
                    <a:moveTo>
                      <a:pt x="165" y="37"/>
                    </a:moveTo>
                    <a:cubicBezTo>
                      <a:pt x="165" y="43"/>
                      <a:pt x="160" y="40"/>
                      <a:pt x="159" y="45"/>
                    </a:cubicBezTo>
                    <a:cubicBezTo>
                      <a:pt x="158" y="50"/>
                      <a:pt x="159" y="64"/>
                      <a:pt x="159" y="70"/>
                    </a:cubicBezTo>
                    <a:cubicBezTo>
                      <a:pt x="159" y="76"/>
                      <a:pt x="161" y="78"/>
                      <a:pt x="159" y="81"/>
                    </a:cubicBezTo>
                    <a:cubicBezTo>
                      <a:pt x="157" y="84"/>
                      <a:pt x="151" y="84"/>
                      <a:pt x="147" y="85"/>
                    </a:cubicBezTo>
                    <a:cubicBezTo>
                      <a:pt x="143" y="86"/>
                      <a:pt x="133" y="83"/>
                      <a:pt x="133" y="85"/>
                    </a:cubicBezTo>
                    <a:cubicBezTo>
                      <a:pt x="133" y="87"/>
                      <a:pt x="144" y="93"/>
                      <a:pt x="144" y="96"/>
                    </a:cubicBezTo>
                    <a:cubicBezTo>
                      <a:pt x="144" y="99"/>
                      <a:pt x="134" y="99"/>
                      <a:pt x="132" y="103"/>
                    </a:cubicBezTo>
                    <a:cubicBezTo>
                      <a:pt x="130" y="107"/>
                      <a:pt x="133" y="119"/>
                      <a:pt x="130" y="123"/>
                    </a:cubicBezTo>
                    <a:cubicBezTo>
                      <a:pt x="127" y="127"/>
                      <a:pt x="120" y="124"/>
                      <a:pt x="112" y="127"/>
                    </a:cubicBezTo>
                    <a:cubicBezTo>
                      <a:pt x="104" y="130"/>
                      <a:pt x="89" y="133"/>
                      <a:pt x="84" y="138"/>
                    </a:cubicBezTo>
                    <a:cubicBezTo>
                      <a:pt x="79" y="143"/>
                      <a:pt x="86" y="153"/>
                      <a:pt x="84" y="157"/>
                    </a:cubicBezTo>
                    <a:cubicBezTo>
                      <a:pt x="82" y="161"/>
                      <a:pt x="74" y="163"/>
                      <a:pt x="70" y="163"/>
                    </a:cubicBezTo>
                    <a:cubicBezTo>
                      <a:pt x="66" y="163"/>
                      <a:pt x="62" y="159"/>
                      <a:pt x="58" y="160"/>
                    </a:cubicBezTo>
                    <a:cubicBezTo>
                      <a:pt x="54" y="161"/>
                      <a:pt x="56" y="165"/>
                      <a:pt x="48" y="166"/>
                    </a:cubicBezTo>
                    <a:cubicBezTo>
                      <a:pt x="40" y="167"/>
                      <a:pt x="13" y="168"/>
                      <a:pt x="7" y="165"/>
                    </a:cubicBezTo>
                    <a:cubicBezTo>
                      <a:pt x="1" y="162"/>
                      <a:pt x="14" y="154"/>
                      <a:pt x="14" y="149"/>
                    </a:cubicBezTo>
                    <a:cubicBezTo>
                      <a:pt x="14" y="144"/>
                      <a:pt x="11" y="138"/>
                      <a:pt x="10" y="134"/>
                    </a:cubicBezTo>
                    <a:cubicBezTo>
                      <a:pt x="9" y="130"/>
                      <a:pt x="12" y="129"/>
                      <a:pt x="10" y="127"/>
                    </a:cubicBezTo>
                    <a:cubicBezTo>
                      <a:pt x="8" y="125"/>
                      <a:pt x="0" y="126"/>
                      <a:pt x="0" y="120"/>
                    </a:cubicBezTo>
                    <a:cubicBezTo>
                      <a:pt x="0" y="114"/>
                      <a:pt x="5" y="95"/>
                      <a:pt x="7" y="88"/>
                    </a:cubicBezTo>
                    <a:cubicBezTo>
                      <a:pt x="9" y="81"/>
                      <a:pt x="10" y="81"/>
                      <a:pt x="10" y="79"/>
                    </a:cubicBezTo>
                    <a:cubicBezTo>
                      <a:pt x="10" y="77"/>
                      <a:pt x="10" y="76"/>
                      <a:pt x="10" y="73"/>
                    </a:cubicBezTo>
                    <a:cubicBezTo>
                      <a:pt x="10" y="70"/>
                      <a:pt x="6" y="60"/>
                      <a:pt x="9" y="58"/>
                    </a:cubicBezTo>
                    <a:cubicBezTo>
                      <a:pt x="12" y="56"/>
                      <a:pt x="21" y="60"/>
                      <a:pt x="25" y="61"/>
                    </a:cubicBezTo>
                    <a:cubicBezTo>
                      <a:pt x="29" y="62"/>
                      <a:pt x="32" y="68"/>
                      <a:pt x="35" y="67"/>
                    </a:cubicBezTo>
                    <a:cubicBezTo>
                      <a:pt x="38" y="66"/>
                      <a:pt x="42" y="58"/>
                      <a:pt x="46" y="55"/>
                    </a:cubicBezTo>
                    <a:cubicBezTo>
                      <a:pt x="50" y="52"/>
                      <a:pt x="55" y="54"/>
                      <a:pt x="58" y="50"/>
                    </a:cubicBezTo>
                    <a:cubicBezTo>
                      <a:pt x="61" y="46"/>
                      <a:pt x="64" y="33"/>
                      <a:pt x="67" y="28"/>
                    </a:cubicBezTo>
                    <a:cubicBezTo>
                      <a:pt x="70" y="23"/>
                      <a:pt x="75" y="20"/>
                      <a:pt x="79" y="21"/>
                    </a:cubicBezTo>
                    <a:cubicBezTo>
                      <a:pt x="83" y="22"/>
                      <a:pt x="89" y="31"/>
                      <a:pt x="94" y="32"/>
                    </a:cubicBezTo>
                    <a:cubicBezTo>
                      <a:pt x="99" y="33"/>
                      <a:pt x="105" y="29"/>
                      <a:pt x="112" y="28"/>
                    </a:cubicBezTo>
                    <a:cubicBezTo>
                      <a:pt x="119" y="27"/>
                      <a:pt x="130" y="30"/>
                      <a:pt x="136" y="28"/>
                    </a:cubicBezTo>
                    <a:cubicBezTo>
                      <a:pt x="142" y="26"/>
                      <a:pt x="146" y="20"/>
                      <a:pt x="149" y="16"/>
                    </a:cubicBezTo>
                    <a:cubicBezTo>
                      <a:pt x="152" y="12"/>
                      <a:pt x="151" y="2"/>
                      <a:pt x="153" y="1"/>
                    </a:cubicBezTo>
                    <a:cubicBezTo>
                      <a:pt x="155" y="0"/>
                      <a:pt x="161" y="3"/>
                      <a:pt x="162" y="9"/>
                    </a:cubicBezTo>
                    <a:cubicBezTo>
                      <a:pt x="163" y="15"/>
                      <a:pt x="165" y="31"/>
                      <a:pt x="165" y="3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7" name="Freeform 106">
                <a:extLst>
                  <a:ext uri="{FF2B5EF4-FFF2-40B4-BE49-F238E27FC236}">
                    <a16:creationId xmlns:a16="http://schemas.microsoft.com/office/drawing/2014/main" id="{06F3B93F-3F24-4483-BFED-AB16ADA65D54}"/>
                  </a:ext>
                </a:extLst>
              </p:cNvPr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gray">
              <a:xfrm>
                <a:off x="5821933" y="3497883"/>
                <a:ext cx="309529" cy="345213"/>
              </a:xfrm>
              <a:custGeom>
                <a:avLst/>
                <a:gdLst>
                  <a:gd name="T0" fmla="*/ 3 w 206"/>
                  <a:gd name="T1" fmla="*/ 133 h 224"/>
                  <a:gd name="T2" fmla="*/ 6 w 206"/>
                  <a:gd name="T3" fmla="*/ 145 h 224"/>
                  <a:gd name="T4" fmla="*/ 19 w 206"/>
                  <a:gd name="T5" fmla="*/ 150 h 224"/>
                  <a:gd name="T6" fmla="*/ 25 w 206"/>
                  <a:gd name="T7" fmla="*/ 165 h 224"/>
                  <a:gd name="T8" fmla="*/ 28 w 206"/>
                  <a:gd name="T9" fmla="*/ 177 h 224"/>
                  <a:gd name="T10" fmla="*/ 16 w 206"/>
                  <a:gd name="T11" fmla="*/ 178 h 224"/>
                  <a:gd name="T12" fmla="*/ 7 w 206"/>
                  <a:gd name="T13" fmla="*/ 188 h 224"/>
                  <a:gd name="T14" fmla="*/ 7 w 206"/>
                  <a:gd name="T15" fmla="*/ 202 h 224"/>
                  <a:gd name="T16" fmla="*/ 25 w 206"/>
                  <a:gd name="T17" fmla="*/ 199 h 224"/>
                  <a:gd name="T18" fmla="*/ 37 w 206"/>
                  <a:gd name="T19" fmla="*/ 196 h 224"/>
                  <a:gd name="T20" fmla="*/ 55 w 206"/>
                  <a:gd name="T21" fmla="*/ 201 h 224"/>
                  <a:gd name="T22" fmla="*/ 64 w 206"/>
                  <a:gd name="T23" fmla="*/ 190 h 224"/>
                  <a:gd name="T24" fmla="*/ 75 w 206"/>
                  <a:gd name="T25" fmla="*/ 199 h 224"/>
                  <a:gd name="T26" fmla="*/ 88 w 206"/>
                  <a:gd name="T27" fmla="*/ 208 h 224"/>
                  <a:gd name="T28" fmla="*/ 94 w 206"/>
                  <a:gd name="T29" fmla="*/ 222 h 224"/>
                  <a:gd name="T30" fmla="*/ 108 w 206"/>
                  <a:gd name="T31" fmla="*/ 219 h 224"/>
                  <a:gd name="T32" fmla="*/ 143 w 206"/>
                  <a:gd name="T33" fmla="*/ 218 h 224"/>
                  <a:gd name="T34" fmla="*/ 149 w 206"/>
                  <a:gd name="T35" fmla="*/ 206 h 224"/>
                  <a:gd name="T36" fmla="*/ 130 w 206"/>
                  <a:gd name="T37" fmla="*/ 180 h 224"/>
                  <a:gd name="T38" fmla="*/ 123 w 206"/>
                  <a:gd name="T39" fmla="*/ 166 h 224"/>
                  <a:gd name="T40" fmla="*/ 135 w 206"/>
                  <a:gd name="T41" fmla="*/ 161 h 224"/>
                  <a:gd name="T42" fmla="*/ 165 w 206"/>
                  <a:gd name="T43" fmla="*/ 164 h 224"/>
                  <a:gd name="T44" fmla="*/ 165 w 206"/>
                  <a:gd name="T45" fmla="*/ 143 h 224"/>
                  <a:gd name="T46" fmla="*/ 180 w 206"/>
                  <a:gd name="T47" fmla="*/ 130 h 224"/>
                  <a:gd name="T48" fmla="*/ 202 w 206"/>
                  <a:gd name="T49" fmla="*/ 100 h 224"/>
                  <a:gd name="T50" fmla="*/ 204 w 206"/>
                  <a:gd name="T51" fmla="*/ 78 h 224"/>
                  <a:gd name="T52" fmla="*/ 187 w 206"/>
                  <a:gd name="T53" fmla="*/ 66 h 224"/>
                  <a:gd name="T54" fmla="*/ 181 w 206"/>
                  <a:gd name="T55" fmla="*/ 57 h 224"/>
                  <a:gd name="T56" fmla="*/ 180 w 206"/>
                  <a:gd name="T57" fmla="*/ 45 h 224"/>
                  <a:gd name="T58" fmla="*/ 186 w 206"/>
                  <a:gd name="T59" fmla="*/ 30 h 224"/>
                  <a:gd name="T60" fmla="*/ 168 w 206"/>
                  <a:gd name="T61" fmla="*/ 15 h 224"/>
                  <a:gd name="T62" fmla="*/ 165 w 206"/>
                  <a:gd name="T63" fmla="*/ 0 h 224"/>
                  <a:gd name="T64" fmla="*/ 145 w 206"/>
                  <a:gd name="T65" fmla="*/ 16 h 224"/>
                  <a:gd name="T66" fmla="*/ 147 w 206"/>
                  <a:gd name="T67" fmla="*/ 30 h 224"/>
                  <a:gd name="T68" fmla="*/ 147 w 206"/>
                  <a:gd name="T69" fmla="*/ 49 h 224"/>
                  <a:gd name="T70" fmla="*/ 135 w 206"/>
                  <a:gd name="T71" fmla="*/ 51 h 224"/>
                  <a:gd name="T72" fmla="*/ 131 w 206"/>
                  <a:gd name="T73" fmla="*/ 58 h 224"/>
                  <a:gd name="T74" fmla="*/ 121 w 206"/>
                  <a:gd name="T75" fmla="*/ 67 h 224"/>
                  <a:gd name="T76" fmla="*/ 117 w 206"/>
                  <a:gd name="T77" fmla="*/ 88 h 224"/>
                  <a:gd name="T78" fmla="*/ 97 w 206"/>
                  <a:gd name="T79" fmla="*/ 96 h 224"/>
                  <a:gd name="T80" fmla="*/ 76 w 206"/>
                  <a:gd name="T81" fmla="*/ 100 h 224"/>
                  <a:gd name="T82" fmla="*/ 72 w 206"/>
                  <a:gd name="T83" fmla="*/ 117 h 224"/>
                  <a:gd name="T84" fmla="*/ 69 w 206"/>
                  <a:gd name="T85" fmla="*/ 129 h 224"/>
                  <a:gd name="T86" fmla="*/ 58 w 206"/>
                  <a:gd name="T87" fmla="*/ 130 h 224"/>
                  <a:gd name="T88" fmla="*/ 48 w 206"/>
                  <a:gd name="T89" fmla="*/ 129 h 224"/>
                  <a:gd name="T90" fmla="*/ 27 w 206"/>
                  <a:gd name="T91" fmla="*/ 133 h 224"/>
                  <a:gd name="T92" fmla="*/ 3 w 206"/>
                  <a:gd name="T93" fmla="*/ 133 h 2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06" h="224">
                    <a:moveTo>
                      <a:pt x="3" y="133"/>
                    </a:moveTo>
                    <a:cubicBezTo>
                      <a:pt x="0" y="135"/>
                      <a:pt x="3" y="142"/>
                      <a:pt x="6" y="145"/>
                    </a:cubicBezTo>
                    <a:cubicBezTo>
                      <a:pt x="9" y="148"/>
                      <a:pt x="16" y="147"/>
                      <a:pt x="19" y="150"/>
                    </a:cubicBezTo>
                    <a:cubicBezTo>
                      <a:pt x="22" y="153"/>
                      <a:pt x="24" y="161"/>
                      <a:pt x="25" y="165"/>
                    </a:cubicBezTo>
                    <a:cubicBezTo>
                      <a:pt x="26" y="169"/>
                      <a:pt x="29" y="175"/>
                      <a:pt x="28" y="177"/>
                    </a:cubicBezTo>
                    <a:cubicBezTo>
                      <a:pt x="27" y="179"/>
                      <a:pt x="19" y="176"/>
                      <a:pt x="16" y="178"/>
                    </a:cubicBezTo>
                    <a:cubicBezTo>
                      <a:pt x="13" y="180"/>
                      <a:pt x="8" y="184"/>
                      <a:pt x="7" y="188"/>
                    </a:cubicBezTo>
                    <a:cubicBezTo>
                      <a:pt x="6" y="192"/>
                      <a:pt x="4" y="200"/>
                      <a:pt x="7" y="202"/>
                    </a:cubicBezTo>
                    <a:cubicBezTo>
                      <a:pt x="10" y="204"/>
                      <a:pt x="20" y="200"/>
                      <a:pt x="25" y="199"/>
                    </a:cubicBezTo>
                    <a:cubicBezTo>
                      <a:pt x="30" y="198"/>
                      <a:pt x="32" y="196"/>
                      <a:pt x="37" y="196"/>
                    </a:cubicBezTo>
                    <a:cubicBezTo>
                      <a:pt x="42" y="196"/>
                      <a:pt x="51" y="202"/>
                      <a:pt x="55" y="201"/>
                    </a:cubicBezTo>
                    <a:cubicBezTo>
                      <a:pt x="59" y="200"/>
                      <a:pt x="61" y="190"/>
                      <a:pt x="64" y="190"/>
                    </a:cubicBezTo>
                    <a:cubicBezTo>
                      <a:pt x="67" y="190"/>
                      <a:pt x="71" y="196"/>
                      <a:pt x="75" y="199"/>
                    </a:cubicBezTo>
                    <a:cubicBezTo>
                      <a:pt x="79" y="202"/>
                      <a:pt x="85" y="204"/>
                      <a:pt x="88" y="208"/>
                    </a:cubicBezTo>
                    <a:cubicBezTo>
                      <a:pt x="91" y="212"/>
                      <a:pt x="91" y="220"/>
                      <a:pt x="94" y="222"/>
                    </a:cubicBezTo>
                    <a:cubicBezTo>
                      <a:pt x="97" y="224"/>
                      <a:pt x="100" y="220"/>
                      <a:pt x="108" y="219"/>
                    </a:cubicBezTo>
                    <a:cubicBezTo>
                      <a:pt x="116" y="218"/>
                      <a:pt x="136" y="220"/>
                      <a:pt x="143" y="218"/>
                    </a:cubicBezTo>
                    <a:cubicBezTo>
                      <a:pt x="150" y="216"/>
                      <a:pt x="151" y="212"/>
                      <a:pt x="149" y="206"/>
                    </a:cubicBezTo>
                    <a:cubicBezTo>
                      <a:pt x="147" y="200"/>
                      <a:pt x="134" y="187"/>
                      <a:pt x="130" y="180"/>
                    </a:cubicBezTo>
                    <a:cubicBezTo>
                      <a:pt x="126" y="173"/>
                      <a:pt x="122" y="169"/>
                      <a:pt x="123" y="166"/>
                    </a:cubicBezTo>
                    <a:cubicBezTo>
                      <a:pt x="124" y="163"/>
                      <a:pt x="128" y="161"/>
                      <a:pt x="135" y="161"/>
                    </a:cubicBezTo>
                    <a:cubicBezTo>
                      <a:pt x="142" y="161"/>
                      <a:pt x="160" y="167"/>
                      <a:pt x="165" y="164"/>
                    </a:cubicBezTo>
                    <a:cubicBezTo>
                      <a:pt x="170" y="161"/>
                      <a:pt x="163" y="149"/>
                      <a:pt x="165" y="143"/>
                    </a:cubicBezTo>
                    <a:cubicBezTo>
                      <a:pt x="167" y="137"/>
                      <a:pt x="174" y="137"/>
                      <a:pt x="180" y="130"/>
                    </a:cubicBezTo>
                    <a:cubicBezTo>
                      <a:pt x="186" y="123"/>
                      <a:pt x="198" y="109"/>
                      <a:pt x="202" y="100"/>
                    </a:cubicBezTo>
                    <a:cubicBezTo>
                      <a:pt x="206" y="91"/>
                      <a:pt x="206" y="84"/>
                      <a:pt x="204" y="78"/>
                    </a:cubicBezTo>
                    <a:cubicBezTo>
                      <a:pt x="202" y="72"/>
                      <a:pt x="191" y="69"/>
                      <a:pt x="187" y="66"/>
                    </a:cubicBezTo>
                    <a:cubicBezTo>
                      <a:pt x="183" y="63"/>
                      <a:pt x="182" y="60"/>
                      <a:pt x="181" y="57"/>
                    </a:cubicBezTo>
                    <a:cubicBezTo>
                      <a:pt x="180" y="54"/>
                      <a:pt x="179" y="49"/>
                      <a:pt x="180" y="45"/>
                    </a:cubicBezTo>
                    <a:cubicBezTo>
                      <a:pt x="181" y="41"/>
                      <a:pt x="188" y="35"/>
                      <a:pt x="186" y="30"/>
                    </a:cubicBezTo>
                    <a:cubicBezTo>
                      <a:pt x="184" y="25"/>
                      <a:pt x="171" y="20"/>
                      <a:pt x="168" y="15"/>
                    </a:cubicBezTo>
                    <a:cubicBezTo>
                      <a:pt x="165" y="10"/>
                      <a:pt x="169" y="0"/>
                      <a:pt x="165" y="0"/>
                    </a:cubicBezTo>
                    <a:cubicBezTo>
                      <a:pt x="161" y="0"/>
                      <a:pt x="148" y="11"/>
                      <a:pt x="145" y="16"/>
                    </a:cubicBezTo>
                    <a:cubicBezTo>
                      <a:pt x="142" y="21"/>
                      <a:pt x="147" y="25"/>
                      <a:pt x="147" y="30"/>
                    </a:cubicBezTo>
                    <a:cubicBezTo>
                      <a:pt x="147" y="35"/>
                      <a:pt x="149" y="46"/>
                      <a:pt x="147" y="49"/>
                    </a:cubicBezTo>
                    <a:cubicBezTo>
                      <a:pt x="145" y="52"/>
                      <a:pt x="138" y="50"/>
                      <a:pt x="135" y="51"/>
                    </a:cubicBezTo>
                    <a:cubicBezTo>
                      <a:pt x="132" y="52"/>
                      <a:pt x="133" y="55"/>
                      <a:pt x="131" y="58"/>
                    </a:cubicBezTo>
                    <a:cubicBezTo>
                      <a:pt x="129" y="61"/>
                      <a:pt x="123" y="62"/>
                      <a:pt x="121" y="67"/>
                    </a:cubicBezTo>
                    <a:cubicBezTo>
                      <a:pt x="119" y="72"/>
                      <a:pt x="121" y="83"/>
                      <a:pt x="117" y="88"/>
                    </a:cubicBezTo>
                    <a:cubicBezTo>
                      <a:pt x="113" y="93"/>
                      <a:pt x="104" y="94"/>
                      <a:pt x="97" y="96"/>
                    </a:cubicBezTo>
                    <a:cubicBezTo>
                      <a:pt x="90" y="98"/>
                      <a:pt x="80" y="97"/>
                      <a:pt x="76" y="100"/>
                    </a:cubicBezTo>
                    <a:cubicBezTo>
                      <a:pt x="72" y="103"/>
                      <a:pt x="73" y="112"/>
                      <a:pt x="72" y="117"/>
                    </a:cubicBezTo>
                    <a:cubicBezTo>
                      <a:pt x="71" y="122"/>
                      <a:pt x="71" y="127"/>
                      <a:pt x="69" y="129"/>
                    </a:cubicBezTo>
                    <a:cubicBezTo>
                      <a:pt x="67" y="131"/>
                      <a:pt x="61" y="130"/>
                      <a:pt x="58" y="130"/>
                    </a:cubicBezTo>
                    <a:cubicBezTo>
                      <a:pt x="55" y="130"/>
                      <a:pt x="53" y="129"/>
                      <a:pt x="48" y="129"/>
                    </a:cubicBezTo>
                    <a:cubicBezTo>
                      <a:pt x="43" y="129"/>
                      <a:pt x="33" y="132"/>
                      <a:pt x="27" y="133"/>
                    </a:cubicBezTo>
                    <a:cubicBezTo>
                      <a:pt x="21" y="134"/>
                      <a:pt x="6" y="131"/>
                      <a:pt x="3" y="13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8" name="Freeform 107">
                <a:extLst>
                  <a:ext uri="{FF2B5EF4-FFF2-40B4-BE49-F238E27FC236}">
                    <a16:creationId xmlns:a16="http://schemas.microsoft.com/office/drawing/2014/main" id="{10DAFB02-4FC4-4BEB-BA76-0BCFB614F6D7}"/>
                  </a:ext>
                </a:extLst>
              </p:cNvPr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gray">
              <a:xfrm>
                <a:off x="4684527" y="3120305"/>
                <a:ext cx="149581" cy="94010"/>
              </a:xfrm>
              <a:custGeom>
                <a:avLst/>
                <a:gdLst>
                  <a:gd name="T0" fmla="*/ 12 w 100"/>
                  <a:gd name="T1" fmla="*/ 37 h 61"/>
                  <a:gd name="T2" fmla="*/ 20 w 100"/>
                  <a:gd name="T3" fmla="*/ 31 h 61"/>
                  <a:gd name="T4" fmla="*/ 30 w 100"/>
                  <a:gd name="T5" fmla="*/ 29 h 61"/>
                  <a:gd name="T6" fmla="*/ 49 w 100"/>
                  <a:gd name="T7" fmla="*/ 7 h 61"/>
                  <a:gd name="T8" fmla="*/ 73 w 100"/>
                  <a:gd name="T9" fmla="*/ 0 h 61"/>
                  <a:gd name="T10" fmla="*/ 92 w 100"/>
                  <a:gd name="T11" fmla="*/ 6 h 61"/>
                  <a:gd name="T12" fmla="*/ 98 w 100"/>
                  <a:gd name="T13" fmla="*/ 21 h 61"/>
                  <a:gd name="T14" fmla="*/ 97 w 100"/>
                  <a:gd name="T15" fmla="*/ 33 h 61"/>
                  <a:gd name="T16" fmla="*/ 91 w 100"/>
                  <a:gd name="T17" fmla="*/ 34 h 61"/>
                  <a:gd name="T18" fmla="*/ 71 w 100"/>
                  <a:gd name="T19" fmla="*/ 52 h 61"/>
                  <a:gd name="T20" fmla="*/ 61 w 100"/>
                  <a:gd name="T21" fmla="*/ 60 h 61"/>
                  <a:gd name="T22" fmla="*/ 34 w 100"/>
                  <a:gd name="T23" fmla="*/ 51 h 61"/>
                  <a:gd name="T24" fmla="*/ 16 w 100"/>
                  <a:gd name="T25" fmla="*/ 51 h 61"/>
                  <a:gd name="T26" fmla="*/ 7 w 100"/>
                  <a:gd name="T27" fmla="*/ 51 h 61"/>
                  <a:gd name="T28" fmla="*/ 2 w 100"/>
                  <a:gd name="T29" fmla="*/ 49 h 61"/>
                  <a:gd name="T30" fmla="*/ 12 w 100"/>
                  <a:gd name="T31" fmla="*/ 37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100" h="61">
                    <a:moveTo>
                      <a:pt x="12" y="37"/>
                    </a:moveTo>
                    <a:cubicBezTo>
                      <a:pt x="10" y="34"/>
                      <a:pt x="17" y="32"/>
                      <a:pt x="20" y="31"/>
                    </a:cubicBezTo>
                    <a:cubicBezTo>
                      <a:pt x="23" y="30"/>
                      <a:pt x="25" y="33"/>
                      <a:pt x="30" y="29"/>
                    </a:cubicBezTo>
                    <a:cubicBezTo>
                      <a:pt x="35" y="25"/>
                      <a:pt x="42" y="12"/>
                      <a:pt x="49" y="7"/>
                    </a:cubicBezTo>
                    <a:cubicBezTo>
                      <a:pt x="55" y="2"/>
                      <a:pt x="65" y="2"/>
                      <a:pt x="73" y="0"/>
                    </a:cubicBezTo>
                    <a:cubicBezTo>
                      <a:pt x="80" y="1"/>
                      <a:pt x="85" y="4"/>
                      <a:pt x="92" y="6"/>
                    </a:cubicBezTo>
                    <a:cubicBezTo>
                      <a:pt x="95" y="11"/>
                      <a:pt x="95" y="16"/>
                      <a:pt x="98" y="21"/>
                    </a:cubicBezTo>
                    <a:cubicBezTo>
                      <a:pt x="98" y="25"/>
                      <a:pt x="99" y="29"/>
                      <a:pt x="97" y="33"/>
                    </a:cubicBezTo>
                    <a:cubicBezTo>
                      <a:pt x="96" y="35"/>
                      <a:pt x="92" y="32"/>
                      <a:pt x="91" y="34"/>
                    </a:cubicBezTo>
                    <a:cubicBezTo>
                      <a:pt x="80" y="50"/>
                      <a:pt x="100" y="49"/>
                      <a:pt x="71" y="52"/>
                    </a:cubicBezTo>
                    <a:cubicBezTo>
                      <a:pt x="70" y="59"/>
                      <a:pt x="67" y="57"/>
                      <a:pt x="61" y="60"/>
                    </a:cubicBezTo>
                    <a:cubicBezTo>
                      <a:pt x="53" y="61"/>
                      <a:pt x="44" y="52"/>
                      <a:pt x="34" y="51"/>
                    </a:cubicBezTo>
                    <a:cubicBezTo>
                      <a:pt x="27" y="50"/>
                      <a:pt x="20" y="51"/>
                      <a:pt x="16" y="51"/>
                    </a:cubicBezTo>
                    <a:cubicBezTo>
                      <a:pt x="12" y="51"/>
                      <a:pt x="9" y="51"/>
                      <a:pt x="7" y="51"/>
                    </a:cubicBezTo>
                    <a:cubicBezTo>
                      <a:pt x="7" y="47"/>
                      <a:pt x="0" y="53"/>
                      <a:pt x="2" y="49"/>
                    </a:cubicBezTo>
                    <a:cubicBezTo>
                      <a:pt x="4" y="45"/>
                      <a:pt x="12" y="44"/>
                      <a:pt x="12" y="3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99" name="Freeform 108">
                <a:extLst>
                  <a:ext uri="{FF2B5EF4-FFF2-40B4-BE49-F238E27FC236}">
                    <a16:creationId xmlns:a16="http://schemas.microsoft.com/office/drawing/2014/main" id="{BEF2CAF8-9003-4D3A-9D88-42A3901D2698}"/>
                  </a:ext>
                </a:extLst>
              </p:cNvPr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gray">
              <a:xfrm>
                <a:off x="4742286" y="3195821"/>
                <a:ext cx="74050" cy="47776"/>
              </a:xfrm>
              <a:custGeom>
                <a:avLst/>
                <a:gdLst>
                  <a:gd name="T0" fmla="*/ 46 w 49"/>
                  <a:gd name="T1" fmla="*/ 2 h 31"/>
                  <a:gd name="T2" fmla="*/ 25 w 49"/>
                  <a:gd name="T3" fmla="*/ 12 h 31"/>
                  <a:gd name="T4" fmla="*/ 2 w 49"/>
                  <a:gd name="T5" fmla="*/ 9 h 31"/>
                  <a:gd name="T6" fmla="*/ 17 w 49"/>
                  <a:gd name="T7" fmla="*/ 27 h 31"/>
                  <a:gd name="T8" fmla="*/ 32 w 49"/>
                  <a:gd name="T9" fmla="*/ 27 h 31"/>
                  <a:gd name="T10" fmla="*/ 44 w 49"/>
                  <a:gd name="T11" fmla="*/ 15 h 31"/>
                  <a:gd name="T12" fmla="*/ 46 w 49"/>
                  <a:gd name="T13" fmla="*/ 2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49" h="31">
                    <a:moveTo>
                      <a:pt x="46" y="2"/>
                    </a:moveTo>
                    <a:cubicBezTo>
                      <a:pt x="43" y="0"/>
                      <a:pt x="32" y="11"/>
                      <a:pt x="25" y="12"/>
                    </a:cubicBezTo>
                    <a:cubicBezTo>
                      <a:pt x="18" y="13"/>
                      <a:pt x="3" y="7"/>
                      <a:pt x="2" y="9"/>
                    </a:cubicBezTo>
                    <a:cubicBezTo>
                      <a:pt x="0" y="19"/>
                      <a:pt x="6" y="26"/>
                      <a:pt x="17" y="27"/>
                    </a:cubicBezTo>
                    <a:cubicBezTo>
                      <a:pt x="22" y="31"/>
                      <a:pt x="25" y="26"/>
                      <a:pt x="32" y="27"/>
                    </a:cubicBezTo>
                    <a:cubicBezTo>
                      <a:pt x="36" y="22"/>
                      <a:pt x="39" y="18"/>
                      <a:pt x="44" y="15"/>
                    </a:cubicBezTo>
                    <a:cubicBezTo>
                      <a:pt x="49" y="8"/>
                      <a:pt x="44" y="16"/>
                      <a:pt x="46" y="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0" name="Freeform 109">
                <a:extLst>
                  <a:ext uri="{FF2B5EF4-FFF2-40B4-BE49-F238E27FC236}">
                    <a16:creationId xmlns:a16="http://schemas.microsoft.com/office/drawing/2014/main" id="{4E90198E-D30E-4CFF-A3F2-2CE127896CF6}"/>
                  </a:ext>
                </a:extLst>
              </p:cNvPr>
              <p:cNvSpPr>
                <a:spLocks/>
              </p:cNvSpPr>
              <p:nvPr>
                <p:custDataLst>
                  <p:tags r:id="rId88"/>
                </p:custDataLst>
              </p:nvPr>
            </p:nvSpPr>
            <p:spPr bwMode="gray">
              <a:xfrm>
                <a:off x="5219167" y="3570316"/>
                <a:ext cx="45911" cy="86303"/>
              </a:xfrm>
              <a:custGeom>
                <a:avLst/>
                <a:gdLst>
                  <a:gd name="T0" fmla="*/ 29 w 30"/>
                  <a:gd name="T1" fmla="*/ 0 h 56"/>
                  <a:gd name="T2" fmla="*/ 15 w 30"/>
                  <a:gd name="T3" fmla="*/ 15 h 56"/>
                  <a:gd name="T4" fmla="*/ 3 w 30"/>
                  <a:gd name="T5" fmla="*/ 35 h 56"/>
                  <a:gd name="T6" fmla="*/ 2 w 30"/>
                  <a:gd name="T7" fmla="*/ 56 h 56"/>
                  <a:gd name="T8" fmla="*/ 20 w 30"/>
                  <a:gd name="T9" fmla="*/ 30 h 56"/>
                  <a:gd name="T10" fmla="*/ 29 w 30"/>
                  <a:gd name="T11" fmla="*/ 17 h 56"/>
                  <a:gd name="T12" fmla="*/ 29 w 30"/>
                  <a:gd name="T13" fmla="*/ 0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30" h="56">
                    <a:moveTo>
                      <a:pt x="29" y="0"/>
                    </a:moveTo>
                    <a:cubicBezTo>
                      <a:pt x="17" y="3"/>
                      <a:pt x="20" y="6"/>
                      <a:pt x="15" y="15"/>
                    </a:cubicBezTo>
                    <a:cubicBezTo>
                      <a:pt x="13" y="24"/>
                      <a:pt x="12" y="32"/>
                      <a:pt x="3" y="35"/>
                    </a:cubicBezTo>
                    <a:cubicBezTo>
                      <a:pt x="1" y="45"/>
                      <a:pt x="0" y="44"/>
                      <a:pt x="2" y="56"/>
                    </a:cubicBezTo>
                    <a:cubicBezTo>
                      <a:pt x="17" y="52"/>
                      <a:pt x="8" y="37"/>
                      <a:pt x="20" y="30"/>
                    </a:cubicBezTo>
                    <a:cubicBezTo>
                      <a:pt x="23" y="26"/>
                      <a:pt x="26" y="21"/>
                      <a:pt x="29" y="17"/>
                    </a:cubicBezTo>
                    <a:cubicBezTo>
                      <a:pt x="30" y="11"/>
                      <a:pt x="29" y="6"/>
                      <a:pt x="29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1" name="Freeform 110">
                <a:extLst>
                  <a:ext uri="{FF2B5EF4-FFF2-40B4-BE49-F238E27FC236}">
                    <a16:creationId xmlns:a16="http://schemas.microsoft.com/office/drawing/2014/main" id="{9055959A-325B-452E-B746-8B2B43E88C37}"/>
                  </a:ext>
                </a:extLst>
              </p:cNvPr>
              <p:cNvSpPr>
                <a:spLocks/>
              </p:cNvSpPr>
              <p:nvPr>
                <p:custDataLst>
                  <p:tags r:id="rId89"/>
                </p:custDataLst>
              </p:nvPr>
            </p:nvSpPr>
            <p:spPr bwMode="gray">
              <a:xfrm>
                <a:off x="5204357" y="3644290"/>
                <a:ext cx="47392" cy="47776"/>
              </a:xfrm>
              <a:custGeom>
                <a:avLst/>
                <a:gdLst>
                  <a:gd name="T0" fmla="*/ 22 w 31"/>
                  <a:gd name="T1" fmla="*/ 0 h 31"/>
                  <a:gd name="T2" fmla="*/ 12 w 31"/>
                  <a:gd name="T3" fmla="*/ 29 h 31"/>
                  <a:gd name="T4" fmla="*/ 15 w 31"/>
                  <a:gd name="T5" fmla="*/ 2 h 31"/>
                  <a:gd name="T6" fmla="*/ 22 w 31"/>
                  <a:gd name="T7" fmla="*/ 0 h 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1" h="31">
                    <a:moveTo>
                      <a:pt x="22" y="0"/>
                    </a:moveTo>
                    <a:cubicBezTo>
                      <a:pt x="24" y="18"/>
                      <a:pt x="31" y="31"/>
                      <a:pt x="12" y="29"/>
                    </a:cubicBezTo>
                    <a:cubicBezTo>
                      <a:pt x="7" y="20"/>
                      <a:pt x="0" y="4"/>
                      <a:pt x="15" y="2"/>
                    </a:cubicBezTo>
                    <a:cubicBezTo>
                      <a:pt x="23" y="3"/>
                      <a:pt x="22" y="5"/>
                      <a:pt x="22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2" name="Freeform 111">
                <a:extLst>
                  <a:ext uri="{FF2B5EF4-FFF2-40B4-BE49-F238E27FC236}">
                    <a16:creationId xmlns:a16="http://schemas.microsoft.com/office/drawing/2014/main" id="{8304C152-0283-4983-B928-463C15E18DF2}"/>
                  </a:ext>
                </a:extLst>
              </p:cNvPr>
              <p:cNvSpPr>
                <a:spLocks/>
              </p:cNvSpPr>
              <p:nvPr>
                <p:custDataLst>
                  <p:tags r:id="rId90"/>
                </p:custDataLst>
              </p:nvPr>
            </p:nvSpPr>
            <p:spPr bwMode="gray">
              <a:xfrm>
                <a:off x="4656388" y="4362457"/>
                <a:ext cx="60721" cy="33905"/>
              </a:xfrm>
              <a:custGeom>
                <a:avLst/>
                <a:gdLst>
                  <a:gd name="T0" fmla="*/ 10 w 40"/>
                  <a:gd name="T1" fmla="*/ 5 h 22"/>
                  <a:gd name="T2" fmla="*/ 2 w 40"/>
                  <a:gd name="T3" fmla="*/ 22 h 22"/>
                  <a:gd name="T4" fmla="*/ 35 w 40"/>
                  <a:gd name="T5" fmla="*/ 14 h 22"/>
                  <a:gd name="T6" fmla="*/ 29 w 40"/>
                  <a:gd name="T7" fmla="*/ 1 h 22"/>
                  <a:gd name="T8" fmla="*/ 10 w 40"/>
                  <a:gd name="T9" fmla="*/ 5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40" h="22">
                    <a:moveTo>
                      <a:pt x="10" y="5"/>
                    </a:moveTo>
                    <a:cubicBezTo>
                      <a:pt x="6" y="12"/>
                      <a:pt x="0" y="13"/>
                      <a:pt x="2" y="22"/>
                    </a:cubicBezTo>
                    <a:cubicBezTo>
                      <a:pt x="11" y="21"/>
                      <a:pt x="28" y="19"/>
                      <a:pt x="35" y="14"/>
                    </a:cubicBezTo>
                    <a:cubicBezTo>
                      <a:pt x="40" y="11"/>
                      <a:pt x="33" y="2"/>
                      <a:pt x="29" y="1"/>
                    </a:cubicBezTo>
                    <a:cubicBezTo>
                      <a:pt x="25" y="0"/>
                      <a:pt x="14" y="4"/>
                      <a:pt x="10" y="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3" name="Freeform 112">
                <a:extLst>
                  <a:ext uri="{FF2B5EF4-FFF2-40B4-BE49-F238E27FC236}">
                    <a16:creationId xmlns:a16="http://schemas.microsoft.com/office/drawing/2014/main" id="{EBACAE63-68B0-47A8-9A9B-D1CAA92C33D9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gray">
              <a:xfrm>
                <a:off x="4917044" y="2133981"/>
                <a:ext cx="238441" cy="551725"/>
              </a:xfrm>
              <a:custGeom>
                <a:avLst/>
                <a:gdLst>
                  <a:gd name="T0" fmla="*/ 123 w 158"/>
                  <a:gd name="T1" fmla="*/ 16 h 358"/>
                  <a:gd name="T2" fmla="*/ 117 w 158"/>
                  <a:gd name="T3" fmla="*/ 41 h 358"/>
                  <a:gd name="T4" fmla="*/ 111 w 158"/>
                  <a:gd name="T5" fmla="*/ 49 h 358"/>
                  <a:gd name="T6" fmla="*/ 129 w 158"/>
                  <a:gd name="T7" fmla="*/ 92 h 358"/>
                  <a:gd name="T8" fmla="*/ 129 w 158"/>
                  <a:gd name="T9" fmla="*/ 131 h 358"/>
                  <a:gd name="T10" fmla="*/ 132 w 158"/>
                  <a:gd name="T11" fmla="*/ 154 h 358"/>
                  <a:gd name="T12" fmla="*/ 141 w 158"/>
                  <a:gd name="T13" fmla="*/ 188 h 358"/>
                  <a:gd name="T14" fmla="*/ 143 w 158"/>
                  <a:gd name="T15" fmla="*/ 256 h 358"/>
                  <a:gd name="T16" fmla="*/ 152 w 158"/>
                  <a:gd name="T17" fmla="*/ 271 h 358"/>
                  <a:gd name="T18" fmla="*/ 153 w 158"/>
                  <a:gd name="T19" fmla="*/ 298 h 358"/>
                  <a:gd name="T20" fmla="*/ 140 w 158"/>
                  <a:gd name="T21" fmla="*/ 308 h 358"/>
                  <a:gd name="T22" fmla="*/ 140 w 158"/>
                  <a:gd name="T23" fmla="*/ 323 h 358"/>
                  <a:gd name="T24" fmla="*/ 129 w 158"/>
                  <a:gd name="T25" fmla="*/ 331 h 358"/>
                  <a:gd name="T26" fmla="*/ 111 w 158"/>
                  <a:gd name="T27" fmla="*/ 329 h 358"/>
                  <a:gd name="T28" fmla="*/ 104 w 158"/>
                  <a:gd name="T29" fmla="*/ 346 h 358"/>
                  <a:gd name="T30" fmla="*/ 71 w 158"/>
                  <a:gd name="T31" fmla="*/ 349 h 358"/>
                  <a:gd name="T32" fmla="*/ 54 w 158"/>
                  <a:gd name="T33" fmla="*/ 353 h 358"/>
                  <a:gd name="T34" fmla="*/ 41 w 158"/>
                  <a:gd name="T35" fmla="*/ 358 h 358"/>
                  <a:gd name="T36" fmla="*/ 12 w 158"/>
                  <a:gd name="T37" fmla="*/ 334 h 358"/>
                  <a:gd name="T38" fmla="*/ 5 w 158"/>
                  <a:gd name="T39" fmla="*/ 265 h 358"/>
                  <a:gd name="T40" fmla="*/ 27 w 158"/>
                  <a:gd name="T41" fmla="*/ 247 h 358"/>
                  <a:gd name="T42" fmla="*/ 39 w 158"/>
                  <a:gd name="T43" fmla="*/ 221 h 358"/>
                  <a:gd name="T44" fmla="*/ 53 w 158"/>
                  <a:gd name="T45" fmla="*/ 211 h 358"/>
                  <a:gd name="T46" fmla="*/ 47 w 158"/>
                  <a:gd name="T47" fmla="*/ 175 h 358"/>
                  <a:gd name="T48" fmla="*/ 50 w 158"/>
                  <a:gd name="T49" fmla="*/ 116 h 358"/>
                  <a:gd name="T50" fmla="*/ 42 w 158"/>
                  <a:gd name="T51" fmla="*/ 88 h 358"/>
                  <a:gd name="T52" fmla="*/ 36 w 158"/>
                  <a:gd name="T53" fmla="*/ 76 h 358"/>
                  <a:gd name="T54" fmla="*/ 33 w 158"/>
                  <a:gd name="T55" fmla="*/ 71 h 358"/>
                  <a:gd name="T56" fmla="*/ 24 w 158"/>
                  <a:gd name="T57" fmla="*/ 62 h 358"/>
                  <a:gd name="T58" fmla="*/ 35 w 158"/>
                  <a:gd name="T59" fmla="*/ 55 h 358"/>
                  <a:gd name="T60" fmla="*/ 51 w 158"/>
                  <a:gd name="T61" fmla="*/ 55 h 358"/>
                  <a:gd name="T62" fmla="*/ 66 w 158"/>
                  <a:gd name="T63" fmla="*/ 64 h 358"/>
                  <a:gd name="T64" fmla="*/ 75 w 158"/>
                  <a:gd name="T65" fmla="*/ 38 h 358"/>
                  <a:gd name="T66" fmla="*/ 74 w 158"/>
                  <a:gd name="T67" fmla="*/ 25 h 358"/>
                  <a:gd name="T68" fmla="*/ 77 w 158"/>
                  <a:gd name="T69" fmla="*/ 13 h 358"/>
                  <a:gd name="T70" fmla="*/ 98 w 158"/>
                  <a:gd name="T71" fmla="*/ 10 h 358"/>
                  <a:gd name="T72" fmla="*/ 123 w 158"/>
                  <a:gd name="T73" fmla="*/ 16 h 3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58" h="358">
                    <a:moveTo>
                      <a:pt x="123" y="16"/>
                    </a:moveTo>
                    <a:cubicBezTo>
                      <a:pt x="122" y="24"/>
                      <a:pt x="121" y="33"/>
                      <a:pt x="117" y="41"/>
                    </a:cubicBezTo>
                    <a:cubicBezTo>
                      <a:pt x="116" y="44"/>
                      <a:pt x="111" y="46"/>
                      <a:pt x="111" y="49"/>
                    </a:cubicBezTo>
                    <a:cubicBezTo>
                      <a:pt x="109" y="74"/>
                      <a:pt x="119" y="75"/>
                      <a:pt x="129" y="92"/>
                    </a:cubicBezTo>
                    <a:cubicBezTo>
                      <a:pt x="131" y="105"/>
                      <a:pt x="135" y="119"/>
                      <a:pt x="129" y="131"/>
                    </a:cubicBezTo>
                    <a:cubicBezTo>
                      <a:pt x="131" y="138"/>
                      <a:pt x="130" y="147"/>
                      <a:pt x="132" y="154"/>
                    </a:cubicBezTo>
                    <a:cubicBezTo>
                      <a:pt x="133" y="167"/>
                      <a:pt x="140" y="175"/>
                      <a:pt x="141" y="188"/>
                    </a:cubicBezTo>
                    <a:cubicBezTo>
                      <a:pt x="141" y="211"/>
                      <a:pt x="134" y="229"/>
                      <a:pt x="143" y="256"/>
                    </a:cubicBezTo>
                    <a:cubicBezTo>
                      <a:pt x="146" y="262"/>
                      <a:pt x="149" y="263"/>
                      <a:pt x="152" y="271"/>
                    </a:cubicBezTo>
                    <a:cubicBezTo>
                      <a:pt x="153" y="280"/>
                      <a:pt x="158" y="290"/>
                      <a:pt x="153" y="298"/>
                    </a:cubicBezTo>
                    <a:cubicBezTo>
                      <a:pt x="152" y="305"/>
                      <a:pt x="145" y="304"/>
                      <a:pt x="140" y="308"/>
                    </a:cubicBezTo>
                    <a:cubicBezTo>
                      <a:pt x="137" y="311"/>
                      <a:pt x="142" y="319"/>
                      <a:pt x="140" y="323"/>
                    </a:cubicBezTo>
                    <a:cubicBezTo>
                      <a:pt x="138" y="327"/>
                      <a:pt x="134" y="330"/>
                      <a:pt x="129" y="331"/>
                    </a:cubicBezTo>
                    <a:cubicBezTo>
                      <a:pt x="126" y="334"/>
                      <a:pt x="111" y="329"/>
                      <a:pt x="111" y="329"/>
                    </a:cubicBezTo>
                    <a:cubicBezTo>
                      <a:pt x="109" y="337"/>
                      <a:pt x="113" y="345"/>
                      <a:pt x="104" y="346"/>
                    </a:cubicBezTo>
                    <a:cubicBezTo>
                      <a:pt x="93" y="347"/>
                      <a:pt x="71" y="349"/>
                      <a:pt x="71" y="349"/>
                    </a:cubicBezTo>
                    <a:cubicBezTo>
                      <a:pt x="65" y="350"/>
                      <a:pt x="60" y="352"/>
                      <a:pt x="54" y="353"/>
                    </a:cubicBezTo>
                    <a:cubicBezTo>
                      <a:pt x="50" y="355"/>
                      <a:pt x="45" y="356"/>
                      <a:pt x="41" y="358"/>
                    </a:cubicBezTo>
                    <a:cubicBezTo>
                      <a:pt x="29" y="353"/>
                      <a:pt x="22" y="342"/>
                      <a:pt x="12" y="334"/>
                    </a:cubicBezTo>
                    <a:cubicBezTo>
                      <a:pt x="0" y="311"/>
                      <a:pt x="18" y="287"/>
                      <a:pt x="5" y="265"/>
                    </a:cubicBezTo>
                    <a:cubicBezTo>
                      <a:pt x="7" y="254"/>
                      <a:pt x="20" y="254"/>
                      <a:pt x="27" y="247"/>
                    </a:cubicBezTo>
                    <a:cubicBezTo>
                      <a:pt x="32" y="235"/>
                      <a:pt x="29" y="228"/>
                      <a:pt x="39" y="221"/>
                    </a:cubicBezTo>
                    <a:cubicBezTo>
                      <a:pt x="44" y="212"/>
                      <a:pt x="41" y="213"/>
                      <a:pt x="53" y="211"/>
                    </a:cubicBezTo>
                    <a:cubicBezTo>
                      <a:pt x="59" y="201"/>
                      <a:pt x="56" y="182"/>
                      <a:pt x="47" y="175"/>
                    </a:cubicBezTo>
                    <a:cubicBezTo>
                      <a:pt x="46" y="159"/>
                      <a:pt x="51" y="130"/>
                      <a:pt x="50" y="116"/>
                    </a:cubicBezTo>
                    <a:cubicBezTo>
                      <a:pt x="49" y="102"/>
                      <a:pt x="44" y="95"/>
                      <a:pt x="42" y="88"/>
                    </a:cubicBezTo>
                    <a:cubicBezTo>
                      <a:pt x="40" y="81"/>
                      <a:pt x="37" y="79"/>
                      <a:pt x="36" y="76"/>
                    </a:cubicBezTo>
                    <a:cubicBezTo>
                      <a:pt x="35" y="73"/>
                      <a:pt x="35" y="73"/>
                      <a:pt x="33" y="71"/>
                    </a:cubicBezTo>
                    <a:cubicBezTo>
                      <a:pt x="31" y="69"/>
                      <a:pt x="24" y="65"/>
                      <a:pt x="24" y="62"/>
                    </a:cubicBezTo>
                    <a:cubicBezTo>
                      <a:pt x="24" y="59"/>
                      <a:pt x="31" y="56"/>
                      <a:pt x="35" y="55"/>
                    </a:cubicBezTo>
                    <a:cubicBezTo>
                      <a:pt x="39" y="54"/>
                      <a:pt x="46" y="54"/>
                      <a:pt x="51" y="55"/>
                    </a:cubicBezTo>
                    <a:cubicBezTo>
                      <a:pt x="58" y="52"/>
                      <a:pt x="62" y="67"/>
                      <a:pt x="66" y="64"/>
                    </a:cubicBezTo>
                    <a:cubicBezTo>
                      <a:pt x="70" y="61"/>
                      <a:pt x="74" y="45"/>
                      <a:pt x="75" y="38"/>
                    </a:cubicBezTo>
                    <a:cubicBezTo>
                      <a:pt x="76" y="31"/>
                      <a:pt x="74" y="29"/>
                      <a:pt x="74" y="25"/>
                    </a:cubicBezTo>
                    <a:cubicBezTo>
                      <a:pt x="74" y="21"/>
                      <a:pt x="73" y="15"/>
                      <a:pt x="77" y="13"/>
                    </a:cubicBezTo>
                    <a:cubicBezTo>
                      <a:pt x="84" y="11"/>
                      <a:pt x="91" y="11"/>
                      <a:pt x="98" y="10"/>
                    </a:cubicBezTo>
                    <a:cubicBezTo>
                      <a:pt x="112" y="0"/>
                      <a:pt x="112" y="16"/>
                      <a:pt x="123" y="1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4" name="Freeform 115">
                <a:extLst>
                  <a:ext uri="{FF2B5EF4-FFF2-40B4-BE49-F238E27FC236}">
                    <a16:creationId xmlns:a16="http://schemas.microsoft.com/office/drawing/2014/main" id="{8D89F86D-B8A0-4D02-8C0D-3CA6E4C270B1}"/>
                  </a:ext>
                </a:extLst>
              </p:cNvPr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gray">
              <a:xfrm>
                <a:off x="4712285" y="2209500"/>
                <a:ext cx="281771" cy="660419"/>
              </a:xfrm>
              <a:custGeom>
                <a:avLst/>
                <a:gdLst/>
                <a:ahLst/>
                <a:cxnLst/>
                <a:rect l="l" t="t" r="r" b="b"/>
                <a:pathLst>
                  <a:path w="302034" h="680289">
                    <a:moveTo>
                      <a:pt x="184297" y="582611"/>
                    </a:moveTo>
                    <a:lnTo>
                      <a:pt x="189135" y="586183"/>
                    </a:lnTo>
                    <a:lnTo>
                      <a:pt x="184297" y="592136"/>
                    </a:lnTo>
                    <a:cubicBezTo>
                      <a:pt x="174620" y="598486"/>
                      <a:pt x="171394" y="608011"/>
                      <a:pt x="169782" y="619124"/>
                    </a:cubicBezTo>
                    <a:cubicBezTo>
                      <a:pt x="158492" y="642936"/>
                      <a:pt x="156879" y="652461"/>
                      <a:pt x="155266" y="606424"/>
                    </a:cubicBezTo>
                    <a:cubicBezTo>
                      <a:pt x="158492" y="584199"/>
                      <a:pt x="160105" y="585786"/>
                      <a:pt x="184297" y="582611"/>
                    </a:cubicBezTo>
                    <a:close/>
                    <a:moveTo>
                      <a:pt x="184559" y="558798"/>
                    </a:moveTo>
                    <a:cubicBezTo>
                      <a:pt x="182972" y="563561"/>
                      <a:pt x="184559" y="569911"/>
                      <a:pt x="181384" y="573086"/>
                    </a:cubicBezTo>
                    <a:cubicBezTo>
                      <a:pt x="176621" y="577848"/>
                      <a:pt x="173446" y="558798"/>
                      <a:pt x="184559" y="558798"/>
                    </a:cubicBezTo>
                    <a:close/>
                    <a:moveTo>
                      <a:pt x="242362" y="0"/>
                    </a:moveTo>
                    <a:cubicBezTo>
                      <a:pt x="242121" y="2178"/>
                      <a:pt x="239917" y="9529"/>
                      <a:pt x="242362" y="9529"/>
                    </a:cubicBezTo>
                    <a:lnTo>
                      <a:pt x="248820" y="19059"/>
                    </a:lnTo>
                    <a:cubicBezTo>
                      <a:pt x="253641" y="28589"/>
                      <a:pt x="255248" y="27001"/>
                      <a:pt x="266558" y="28589"/>
                    </a:cubicBezTo>
                    <a:cubicBezTo>
                      <a:pt x="277838" y="33354"/>
                      <a:pt x="269772" y="47648"/>
                      <a:pt x="281082" y="49237"/>
                    </a:cubicBezTo>
                    <a:cubicBezTo>
                      <a:pt x="282689" y="57178"/>
                      <a:pt x="295576" y="72992"/>
                      <a:pt x="295576" y="72992"/>
                    </a:cubicBezTo>
                    <a:cubicBezTo>
                      <a:pt x="297183" y="82522"/>
                      <a:pt x="302034" y="93640"/>
                      <a:pt x="302034" y="101581"/>
                    </a:cubicBezTo>
                    <a:cubicBezTo>
                      <a:pt x="302034" y="109523"/>
                      <a:pt x="298820" y="117464"/>
                      <a:pt x="297183" y="125406"/>
                    </a:cubicBezTo>
                    <a:cubicBezTo>
                      <a:pt x="295576" y="133347"/>
                      <a:pt x="297183" y="144465"/>
                      <a:pt x="297183" y="152407"/>
                    </a:cubicBezTo>
                    <a:cubicBezTo>
                      <a:pt x="295576" y="161937"/>
                      <a:pt x="293969" y="161937"/>
                      <a:pt x="297183" y="171466"/>
                    </a:cubicBezTo>
                    <a:cubicBezTo>
                      <a:pt x="290755" y="211105"/>
                      <a:pt x="269772" y="176231"/>
                      <a:pt x="242362" y="196879"/>
                    </a:cubicBezTo>
                    <a:cubicBezTo>
                      <a:pt x="232689" y="222223"/>
                      <a:pt x="231082" y="247635"/>
                      <a:pt x="219773" y="273048"/>
                    </a:cubicBezTo>
                    <a:cubicBezTo>
                      <a:pt x="218165" y="285755"/>
                      <a:pt x="218165" y="288931"/>
                      <a:pt x="208493" y="296873"/>
                    </a:cubicBezTo>
                    <a:cubicBezTo>
                      <a:pt x="202035" y="307991"/>
                      <a:pt x="198820" y="309579"/>
                      <a:pt x="185904" y="311167"/>
                    </a:cubicBezTo>
                    <a:cubicBezTo>
                      <a:pt x="177838" y="325462"/>
                      <a:pt x="156886" y="325462"/>
                      <a:pt x="145576" y="339757"/>
                    </a:cubicBezTo>
                    <a:cubicBezTo>
                      <a:pt x="140755" y="353982"/>
                      <a:pt x="143969" y="368277"/>
                      <a:pt x="131083" y="377807"/>
                    </a:cubicBezTo>
                    <a:cubicBezTo>
                      <a:pt x="129476" y="398454"/>
                      <a:pt x="121410" y="434985"/>
                      <a:pt x="135904" y="454045"/>
                    </a:cubicBezTo>
                    <a:cubicBezTo>
                      <a:pt x="137511" y="465163"/>
                      <a:pt x="150428" y="469928"/>
                      <a:pt x="160100" y="476281"/>
                    </a:cubicBezTo>
                    <a:cubicBezTo>
                      <a:pt x="169773" y="495271"/>
                      <a:pt x="168166" y="517507"/>
                      <a:pt x="145576" y="520684"/>
                    </a:cubicBezTo>
                    <a:cubicBezTo>
                      <a:pt x="140755" y="530214"/>
                      <a:pt x="132690" y="547685"/>
                      <a:pt x="126231" y="552450"/>
                    </a:cubicBezTo>
                    <a:cubicBezTo>
                      <a:pt x="119773" y="557215"/>
                      <a:pt x="108493" y="544509"/>
                      <a:pt x="106886" y="547685"/>
                    </a:cubicBezTo>
                    <a:cubicBezTo>
                      <a:pt x="108493" y="557215"/>
                      <a:pt x="111707" y="566745"/>
                      <a:pt x="113345" y="576274"/>
                    </a:cubicBezTo>
                    <a:cubicBezTo>
                      <a:pt x="111707" y="595334"/>
                      <a:pt x="121410" y="601687"/>
                      <a:pt x="108493" y="611217"/>
                    </a:cubicBezTo>
                    <a:lnTo>
                      <a:pt x="105849" y="624662"/>
                    </a:lnTo>
                    <a:cubicBezTo>
                      <a:pt x="106079" y="629935"/>
                      <a:pt x="113345" y="617156"/>
                      <a:pt x="113345" y="644502"/>
                    </a:cubicBezTo>
                    <a:cubicBezTo>
                      <a:pt x="113345" y="663562"/>
                      <a:pt x="63345" y="671503"/>
                      <a:pt x="50428" y="676268"/>
                    </a:cubicBezTo>
                    <a:cubicBezTo>
                      <a:pt x="35904" y="687386"/>
                      <a:pt x="35904" y="673091"/>
                      <a:pt x="31083" y="661973"/>
                    </a:cubicBezTo>
                    <a:cubicBezTo>
                      <a:pt x="29476" y="641325"/>
                      <a:pt x="19773" y="625442"/>
                      <a:pt x="6887" y="609629"/>
                    </a:cubicBezTo>
                    <a:cubicBezTo>
                      <a:pt x="5279" y="601687"/>
                      <a:pt x="2035" y="595334"/>
                      <a:pt x="428" y="587392"/>
                    </a:cubicBezTo>
                    <a:cubicBezTo>
                      <a:pt x="-1179" y="574686"/>
                      <a:pt x="2035" y="542920"/>
                      <a:pt x="5279" y="528626"/>
                    </a:cubicBezTo>
                    <a:cubicBezTo>
                      <a:pt x="8494" y="514331"/>
                      <a:pt x="11738" y="512743"/>
                      <a:pt x="14952" y="506389"/>
                    </a:cubicBezTo>
                    <a:cubicBezTo>
                      <a:pt x="19773" y="500036"/>
                      <a:pt x="21410" y="493683"/>
                      <a:pt x="24624" y="485742"/>
                    </a:cubicBezTo>
                    <a:cubicBezTo>
                      <a:pt x="23017" y="460398"/>
                      <a:pt x="31083" y="428632"/>
                      <a:pt x="6887" y="414337"/>
                    </a:cubicBezTo>
                    <a:cubicBezTo>
                      <a:pt x="5279" y="404808"/>
                      <a:pt x="5279" y="398454"/>
                      <a:pt x="10101" y="390513"/>
                    </a:cubicBezTo>
                    <a:cubicBezTo>
                      <a:pt x="11738" y="355570"/>
                      <a:pt x="428" y="320697"/>
                      <a:pt x="31083" y="301637"/>
                    </a:cubicBezTo>
                    <a:cubicBezTo>
                      <a:pt x="34297" y="287343"/>
                      <a:pt x="50428" y="292108"/>
                      <a:pt x="63345" y="290519"/>
                    </a:cubicBezTo>
                    <a:cubicBezTo>
                      <a:pt x="69773" y="279401"/>
                      <a:pt x="68166" y="277813"/>
                      <a:pt x="58493" y="271460"/>
                    </a:cubicBezTo>
                    <a:cubicBezTo>
                      <a:pt x="56886" y="265107"/>
                      <a:pt x="48821" y="263518"/>
                      <a:pt x="48821" y="258754"/>
                    </a:cubicBezTo>
                    <a:cubicBezTo>
                      <a:pt x="48821" y="253989"/>
                      <a:pt x="52035" y="249224"/>
                      <a:pt x="55279" y="239694"/>
                    </a:cubicBezTo>
                    <a:cubicBezTo>
                      <a:pt x="58493" y="230164"/>
                      <a:pt x="66559" y="207928"/>
                      <a:pt x="69773" y="196879"/>
                    </a:cubicBezTo>
                    <a:cubicBezTo>
                      <a:pt x="73017" y="185761"/>
                      <a:pt x="68166" y="179408"/>
                      <a:pt x="73017" y="173055"/>
                    </a:cubicBezTo>
                    <a:cubicBezTo>
                      <a:pt x="76231" y="165113"/>
                      <a:pt x="82690" y="160348"/>
                      <a:pt x="87541" y="152407"/>
                    </a:cubicBezTo>
                    <a:cubicBezTo>
                      <a:pt x="93969" y="142877"/>
                      <a:pt x="102035" y="138112"/>
                      <a:pt x="106886" y="128582"/>
                    </a:cubicBezTo>
                    <a:cubicBezTo>
                      <a:pt x="108493" y="117464"/>
                      <a:pt x="113345" y="107935"/>
                      <a:pt x="116559" y="96816"/>
                    </a:cubicBezTo>
                    <a:cubicBezTo>
                      <a:pt x="119773" y="84110"/>
                      <a:pt x="119773" y="68227"/>
                      <a:pt x="127838" y="58766"/>
                    </a:cubicBezTo>
                    <a:cubicBezTo>
                      <a:pt x="135904" y="49237"/>
                      <a:pt x="148821" y="49237"/>
                      <a:pt x="161707" y="42883"/>
                    </a:cubicBezTo>
                    <a:cubicBezTo>
                      <a:pt x="192362" y="23824"/>
                      <a:pt x="140755" y="27001"/>
                      <a:pt x="203642" y="20647"/>
                    </a:cubicBezTo>
                    <a:cubicBezTo>
                      <a:pt x="213314" y="14294"/>
                      <a:pt x="213314" y="7941"/>
                      <a:pt x="219773" y="4764"/>
                    </a:cubicBezTo>
                    <a:cubicBezTo>
                      <a:pt x="226231" y="1588"/>
                      <a:pt x="239148" y="0"/>
                      <a:pt x="242362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5" name="Freeform 116">
                <a:extLst>
                  <a:ext uri="{FF2B5EF4-FFF2-40B4-BE49-F238E27FC236}">
                    <a16:creationId xmlns:a16="http://schemas.microsoft.com/office/drawing/2014/main" id="{899468B2-7994-493A-8773-CD8E62ECEDD3}"/>
                  </a:ext>
                </a:extLst>
              </p:cNvPr>
              <p:cNvSpPr>
                <a:spLocks/>
              </p:cNvSpPr>
              <p:nvPr>
                <p:custDataLst>
                  <p:tags r:id="rId93"/>
                </p:custDataLst>
              </p:nvPr>
            </p:nvSpPr>
            <p:spPr bwMode="gray">
              <a:xfrm>
                <a:off x="4546795" y="2055384"/>
                <a:ext cx="607209" cy="722791"/>
              </a:xfrm>
              <a:custGeom>
                <a:avLst/>
                <a:gdLst>
                  <a:gd name="T0" fmla="*/ 369 w 403"/>
                  <a:gd name="T1" fmla="*/ 56 h 469"/>
                  <a:gd name="T2" fmla="*/ 398 w 403"/>
                  <a:gd name="T3" fmla="*/ 46 h 469"/>
                  <a:gd name="T4" fmla="*/ 380 w 403"/>
                  <a:gd name="T5" fmla="*/ 29 h 469"/>
                  <a:gd name="T6" fmla="*/ 330 w 403"/>
                  <a:gd name="T7" fmla="*/ 8 h 469"/>
                  <a:gd name="T8" fmla="*/ 266 w 403"/>
                  <a:gd name="T9" fmla="*/ 20 h 469"/>
                  <a:gd name="T10" fmla="*/ 246 w 403"/>
                  <a:gd name="T11" fmla="*/ 41 h 469"/>
                  <a:gd name="T12" fmla="*/ 213 w 403"/>
                  <a:gd name="T13" fmla="*/ 41 h 469"/>
                  <a:gd name="T14" fmla="*/ 188 w 403"/>
                  <a:gd name="T15" fmla="*/ 76 h 469"/>
                  <a:gd name="T16" fmla="*/ 171 w 403"/>
                  <a:gd name="T17" fmla="*/ 86 h 469"/>
                  <a:gd name="T18" fmla="*/ 144 w 403"/>
                  <a:gd name="T19" fmla="*/ 115 h 469"/>
                  <a:gd name="T20" fmla="*/ 111 w 403"/>
                  <a:gd name="T21" fmla="*/ 155 h 469"/>
                  <a:gd name="T22" fmla="*/ 155 w 403"/>
                  <a:gd name="T23" fmla="*/ 133 h 469"/>
                  <a:gd name="T24" fmla="*/ 134 w 403"/>
                  <a:gd name="T25" fmla="*/ 176 h 469"/>
                  <a:gd name="T26" fmla="*/ 108 w 403"/>
                  <a:gd name="T27" fmla="*/ 239 h 469"/>
                  <a:gd name="T28" fmla="*/ 90 w 403"/>
                  <a:gd name="T29" fmla="*/ 266 h 469"/>
                  <a:gd name="T30" fmla="*/ 60 w 403"/>
                  <a:gd name="T31" fmla="*/ 301 h 469"/>
                  <a:gd name="T32" fmla="*/ 5 w 403"/>
                  <a:gd name="T33" fmla="*/ 386 h 469"/>
                  <a:gd name="T34" fmla="*/ 11 w 403"/>
                  <a:gd name="T35" fmla="*/ 415 h 469"/>
                  <a:gd name="T36" fmla="*/ 24 w 403"/>
                  <a:gd name="T37" fmla="*/ 454 h 469"/>
                  <a:gd name="T38" fmla="*/ 65 w 403"/>
                  <a:gd name="T39" fmla="*/ 466 h 469"/>
                  <a:gd name="T40" fmla="*/ 78 w 403"/>
                  <a:gd name="T41" fmla="*/ 445 h 469"/>
                  <a:gd name="T42" fmla="*/ 92 w 403"/>
                  <a:gd name="T43" fmla="*/ 433 h 469"/>
                  <a:gd name="T44" fmla="*/ 113 w 403"/>
                  <a:gd name="T45" fmla="*/ 433 h 469"/>
                  <a:gd name="T46" fmla="*/ 122 w 403"/>
                  <a:gd name="T47" fmla="*/ 379 h 469"/>
                  <a:gd name="T48" fmla="*/ 119 w 403"/>
                  <a:gd name="T49" fmla="*/ 340 h 469"/>
                  <a:gd name="T50" fmla="*/ 119 w 403"/>
                  <a:gd name="T51" fmla="*/ 303 h 469"/>
                  <a:gd name="T52" fmla="*/ 143 w 403"/>
                  <a:gd name="T53" fmla="*/ 283 h 469"/>
                  <a:gd name="T54" fmla="*/ 140 w 403"/>
                  <a:gd name="T55" fmla="*/ 263 h 469"/>
                  <a:gd name="T56" fmla="*/ 153 w 403"/>
                  <a:gd name="T57" fmla="*/ 221 h 469"/>
                  <a:gd name="T58" fmla="*/ 177 w 403"/>
                  <a:gd name="T59" fmla="*/ 182 h 469"/>
                  <a:gd name="T60" fmla="*/ 192 w 403"/>
                  <a:gd name="T61" fmla="*/ 134 h 469"/>
                  <a:gd name="T62" fmla="*/ 215 w 403"/>
                  <a:gd name="T63" fmla="*/ 127 h 469"/>
                  <a:gd name="T64" fmla="*/ 221 w 403"/>
                  <a:gd name="T65" fmla="*/ 115 h 469"/>
                  <a:gd name="T66" fmla="*/ 240 w 403"/>
                  <a:gd name="T67" fmla="*/ 112 h 469"/>
                  <a:gd name="T68" fmla="*/ 254 w 403"/>
                  <a:gd name="T69" fmla="*/ 89 h 469"/>
                  <a:gd name="T70" fmla="*/ 269 w 403"/>
                  <a:gd name="T71" fmla="*/ 112 h 469"/>
                  <a:gd name="T72" fmla="*/ 293 w 403"/>
                  <a:gd name="T73" fmla="*/ 106 h 469"/>
                  <a:gd name="T74" fmla="*/ 320 w 403"/>
                  <a:gd name="T75" fmla="*/ 97 h 469"/>
                  <a:gd name="T76" fmla="*/ 342 w 403"/>
                  <a:gd name="T77" fmla="*/ 59 h 469"/>
                  <a:gd name="T78" fmla="*/ 368 w 403"/>
                  <a:gd name="T79" fmla="*/ 68 h 4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403" h="469">
                    <a:moveTo>
                      <a:pt x="368" y="68"/>
                    </a:moveTo>
                    <a:cubicBezTo>
                      <a:pt x="379" y="66"/>
                      <a:pt x="379" y="60"/>
                      <a:pt x="369" y="56"/>
                    </a:cubicBezTo>
                    <a:cubicBezTo>
                      <a:pt x="374" y="55"/>
                      <a:pt x="378" y="53"/>
                      <a:pt x="383" y="52"/>
                    </a:cubicBezTo>
                    <a:cubicBezTo>
                      <a:pt x="388" y="49"/>
                      <a:pt x="392" y="47"/>
                      <a:pt x="398" y="46"/>
                    </a:cubicBezTo>
                    <a:cubicBezTo>
                      <a:pt x="403" y="38"/>
                      <a:pt x="398" y="41"/>
                      <a:pt x="392" y="38"/>
                    </a:cubicBezTo>
                    <a:cubicBezTo>
                      <a:pt x="389" y="33"/>
                      <a:pt x="385" y="32"/>
                      <a:pt x="380" y="29"/>
                    </a:cubicBezTo>
                    <a:cubicBezTo>
                      <a:pt x="370" y="16"/>
                      <a:pt x="365" y="13"/>
                      <a:pt x="348" y="11"/>
                    </a:cubicBezTo>
                    <a:cubicBezTo>
                      <a:pt x="342" y="10"/>
                      <a:pt x="330" y="8"/>
                      <a:pt x="330" y="8"/>
                    </a:cubicBezTo>
                    <a:cubicBezTo>
                      <a:pt x="319" y="0"/>
                      <a:pt x="298" y="6"/>
                      <a:pt x="288" y="7"/>
                    </a:cubicBezTo>
                    <a:cubicBezTo>
                      <a:pt x="286" y="21"/>
                      <a:pt x="281" y="19"/>
                      <a:pt x="266" y="20"/>
                    </a:cubicBezTo>
                    <a:cubicBezTo>
                      <a:pt x="257" y="23"/>
                      <a:pt x="255" y="30"/>
                      <a:pt x="266" y="32"/>
                    </a:cubicBezTo>
                    <a:cubicBezTo>
                      <a:pt x="263" y="39"/>
                      <a:pt x="254" y="40"/>
                      <a:pt x="246" y="41"/>
                    </a:cubicBezTo>
                    <a:cubicBezTo>
                      <a:pt x="240" y="40"/>
                      <a:pt x="237" y="37"/>
                      <a:pt x="231" y="35"/>
                    </a:cubicBezTo>
                    <a:cubicBezTo>
                      <a:pt x="225" y="38"/>
                      <a:pt x="219" y="40"/>
                      <a:pt x="213" y="41"/>
                    </a:cubicBezTo>
                    <a:cubicBezTo>
                      <a:pt x="208" y="50"/>
                      <a:pt x="212" y="58"/>
                      <a:pt x="203" y="65"/>
                    </a:cubicBezTo>
                    <a:cubicBezTo>
                      <a:pt x="199" y="74"/>
                      <a:pt x="199" y="74"/>
                      <a:pt x="188" y="76"/>
                    </a:cubicBezTo>
                    <a:cubicBezTo>
                      <a:pt x="181" y="80"/>
                      <a:pt x="180" y="98"/>
                      <a:pt x="180" y="98"/>
                    </a:cubicBezTo>
                    <a:cubicBezTo>
                      <a:pt x="175" y="94"/>
                      <a:pt x="174" y="91"/>
                      <a:pt x="171" y="86"/>
                    </a:cubicBezTo>
                    <a:cubicBezTo>
                      <a:pt x="162" y="89"/>
                      <a:pt x="158" y="89"/>
                      <a:pt x="153" y="98"/>
                    </a:cubicBezTo>
                    <a:cubicBezTo>
                      <a:pt x="152" y="105"/>
                      <a:pt x="150" y="111"/>
                      <a:pt x="144" y="115"/>
                    </a:cubicBezTo>
                    <a:cubicBezTo>
                      <a:pt x="139" y="122"/>
                      <a:pt x="143" y="127"/>
                      <a:pt x="135" y="130"/>
                    </a:cubicBezTo>
                    <a:cubicBezTo>
                      <a:pt x="124" y="141"/>
                      <a:pt x="128" y="152"/>
                      <a:pt x="111" y="155"/>
                    </a:cubicBezTo>
                    <a:cubicBezTo>
                      <a:pt x="115" y="165"/>
                      <a:pt x="121" y="155"/>
                      <a:pt x="128" y="154"/>
                    </a:cubicBezTo>
                    <a:cubicBezTo>
                      <a:pt x="141" y="147"/>
                      <a:pt x="145" y="138"/>
                      <a:pt x="155" y="133"/>
                    </a:cubicBezTo>
                    <a:cubicBezTo>
                      <a:pt x="167" y="137"/>
                      <a:pt x="149" y="152"/>
                      <a:pt x="141" y="157"/>
                    </a:cubicBezTo>
                    <a:cubicBezTo>
                      <a:pt x="135" y="164"/>
                      <a:pt x="141" y="172"/>
                      <a:pt x="134" y="176"/>
                    </a:cubicBezTo>
                    <a:cubicBezTo>
                      <a:pt x="132" y="187"/>
                      <a:pt x="127" y="201"/>
                      <a:pt x="116" y="205"/>
                    </a:cubicBezTo>
                    <a:cubicBezTo>
                      <a:pt x="108" y="215"/>
                      <a:pt x="114" y="228"/>
                      <a:pt x="108" y="239"/>
                    </a:cubicBezTo>
                    <a:cubicBezTo>
                      <a:pt x="107" y="246"/>
                      <a:pt x="104" y="244"/>
                      <a:pt x="98" y="248"/>
                    </a:cubicBezTo>
                    <a:cubicBezTo>
                      <a:pt x="96" y="254"/>
                      <a:pt x="93" y="260"/>
                      <a:pt x="90" y="266"/>
                    </a:cubicBezTo>
                    <a:cubicBezTo>
                      <a:pt x="88" y="278"/>
                      <a:pt x="84" y="275"/>
                      <a:pt x="71" y="277"/>
                    </a:cubicBezTo>
                    <a:cubicBezTo>
                      <a:pt x="66" y="284"/>
                      <a:pt x="64" y="293"/>
                      <a:pt x="60" y="301"/>
                    </a:cubicBezTo>
                    <a:cubicBezTo>
                      <a:pt x="54" y="312"/>
                      <a:pt x="23" y="331"/>
                      <a:pt x="11" y="337"/>
                    </a:cubicBezTo>
                    <a:cubicBezTo>
                      <a:pt x="0" y="352"/>
                      <a:pt x="6" y="364"/>
                      <a:pt x="5" y="386"/>
                    </a:cubicBezTo>
                    <a:cubicBezTo>
                      <a:pt x="5" y="395"/>
                      <a:pt x="4" y="404"/>
                      <a:pt x="6" y="413"/>
                    </a:cubicBezTo>
                    <a:cubicBezTo>
                      <a:pt x="6" y="415"/>
                      <a:pt x="11" y="413"/>
                      <a:pt x="11" y="415"/>
                    </a:cubicBezTo>
                    <a:cubicBezTo>
                      <a:pt x="12" y="420"/>
                      <a:pt x="15" y="436"/>
                      <a:pt x="17" y="442"/>
                    </a:cubicBezTo>
                    <a:cubicBezTo>
                      <a:pt x="19" y="448"/>
                      <a:pt x="20" y="449"/>
                      <a:pt x="24" y="454"/>
                    </a:cubicBezTo>
                    <a:cubicBezTo>
                      <a:pt x="31" y="463"/>
                      <a:pt x="29" y="466"/>
                      <a:pt x="41" y="469"/>
                    </a:cubicBezTo>
                    <a:cubicBezTo>
                      <a:pt x="52" y="468"/>
                      <a:pt x="55" y="469"/>
                      <a:pt x="65" y="466"/>
                    </a:cubicBezTo>
                    <a:cubicBezTo>
                      <a:pt x="71" y="465"/>
                      <a:pt x="69" y="460"/>
                      <a:pt x="71" y="457"/>
                    </a:cubicBezTo>
                    <a:cubicBezTo>
                      <a:pt x="73" y="454"/>
                      <a:pt x="74" y="446"/>
                      <a:pt x="78" y="445"/>
                    </a:cubicBezTo>
                    <a:cubicBezTo>
                      <a:pt x="80" y="442"/>
                      <a:pt x="92" y="451"/>
                      <a:pt x="93" y="448"/>
                    </a:cubicBezTo>
                    <a:cubicBezTo>
                      <a:pt x="95" y="447"/>
                      <a:pt x="92" y="435"/>
                      <a:pt x="92" y="433"/>
                    </a:cubicBezTo>
                    <a:cubicBezTo>
                      <a:pt x="92" y="431"/>
                      <a:pt x="92" y="436"/>
                      <a:pt x="95" y="436"/>
                    </a:cubicBezTo>
                    <a:cubicBezTo>
                      <a:pt x="99" y="432"/>
                      <a:pt x="107" y="434"/>
                      <a:pt x="113" y="433"/>
                    </a:cubicBezTo>
                    <a:cubicBezTo>
                      <a:pt x="120" y="425"/>
                      <a:pt x="118" y="413"/>
                      <a:pt x="126" y="407"/>
                    </a:cubicBezTo>
                    <a:cubicBezTo>
                      <a:pt x="130" y="398"/>
                      <a:pt x="128" y="386"/>
                      <a:pt x="122" y="379"/>
                    </a:cubicBezTo>
                    <a:cubicBezTo>
                      <a:pt x="119" y="356"/>
                      <a:pt x="120" y="368"/>
                      <a:pt x="114" y="355"/>
                    </a:cubicBezTo>
                    <a:cubicBezTo>
                      <a:pt x="116" y="350"/>
                      <a:pt x="117" y="345"/>
                      <a:pt x="119" y="340"/>
                    </a:cubicBezTo>
                    <a:cubicBezTo>
                      <a:pt x="120" y="335"/>
                      <a:pt x="117" y="334"/>
                      <a:pt x="117" y="328"/>
                    </a:cubicBezTo>
                    <a:cubicBezTo>
                      <a:pt x="117" y="322"/>
                      <a:pt x="117" y="310"/>
                      <a:pt x="119" y="303"/>
                    </a:cubicBezTo>
                    <a:cubicBezTo>
                      <a:pt x="121" y="296"/>
                      <a:pt x="125" y="290"/>
                      <a:pt x="129" y="287"/>
                    </a:cubicBezTo>
                    <a:cubicBezTo>
                      <a:pt x="133" y="284"/>
                      <a:pt x="140" y="285"/>
                      <a:pt x="143" y="283"/>
                    </a:cubicBezTo>
                    <a:cubicBezTo>
                      <a:pt x="146" y="281"/>
                      <a:pt x="147" y="278"/>
                      <a:pt x="147" y="275"/>
                    </a:cubicBezTo>
                    <a:cubicBezTo>
                      <a:pt x="147" y="272"/>
                      <a:pt x="140" y="268"/>
                      <a:pt x="140" y="263"/>
                    </a:cubicBezTo>
                    <a:cubicBezTo>
                      <a:pt x="141" y="256"/>
                      <a:pt x="143" y="252"/>
                      <a:pt x="146" y="245"/>
                    </a:cubicBezTo>
                    <a:cubicBezTo>
                      <a:pt x="147" y="238"/>
                      <a:pt x="150" y="228"/>
                      <a:pt x="153" y="221"/>
                    </a:cubicBezTo>
                    <a:cubicBezTo>
                      <a:pt x="156" y="214"/>
                      <a:pt x="158" y="210"/>
                      <a:pt x="162" y="203"/>
                    </a:cubicBezTo>
                    <a:cubicBezTo>
                      <a:pt x="166" y="195"/>
                      <a:pt x="169" y="186"/>
                      <a:pt x="177" y="182"/>
                    </a:cubicBezTo>
                    <a:cubicBezTo>
                      <a:pt x="180" y="175"/>
                      <a:pt x="179" y="172"/>
                      <a:pt x="182" y="164"/>
                    </a:cubicBezTo>
                    <a:cubicBezTo>
                      <a:pt x="185" y="156"/>
                      <a:pt x="187" y="140"/>
                      <a:pt x="192" y="134"/>
                    </a:cubicBezTo>
                    <a:cubicBezTo>
                      <a:pt x="198" y="131"/>
                      <a:pt x="205" y="132"/>
                      <a:pt x="212" y="131"/>
                    </a:cubicBezTo>
                    <a:cubicBezTo>
                      <a:pt x="213" y="130"/>
                      <a:pt x="215" y="129"/>
                      <a:pt x="215" y="127"/>
                    </a:cubicBezTo>
                    <a:cubicBezTo>
                      <a:pt x="216" y="122"/>
                      <a:pt x="214" y="117"/>
                      <a:pt x="216" y="113"/>
                    </a:cubicBezTo>
                    <a:cubicBezTo>
                      <a:pt x="217" y="111"/>
                      <a:pt x="219" y="114"/>
                      <a:pt x="221" y="115"/>
                    </a:cubicBezTo>
                    <a:cubicBezTo>
                      <a:pt x="230" y="119"/>
                      <a:pt x="224" y="117"/>
                      <a:pt x="233" y="119"/>
                    </a:cubicBezTo>
                    <a:cubicBezTo>
                      <a:pt x="236" y="119"/>
                      <a:pt x="237" y="115"/>
                      <a:pt x="240" y="112"/>
                    </a:cubicBezTo>
                    <a:cubicBezTo>
                      <a:pt x="243" y="109"/>
                      <a:pt x="250" y="107"/>
                      <a:pt x="252" y="103"/>
                    </a:cubicBezTo>
                    <a:cubicBezTo>
                      <a:pt x="261" y="115"/>
                      <a:pt x="253" y="91"/>
                      <a:pt x="254" y="89"/>
                    </a:cubicBezTo>
                    <a:cubicBezTo>
                      <a:pt x="255" y="88"/>
                      <a:pt x="257" y="90"/>
                      <a:pt x="258" y="91"/>
                    </a:cubicBezTo>
                    <a:cubicBezTo>
                      <a:pt x="262" y="99"/>
                      <a:pt x="261" y="108"/>
                      <a:pt x="269" y="112"/>
                    </a:cubicBezTo>
                    <a:cubicBezTo>
                      <a:pt x="273" y="115"/>
                      <a:pt x="274" y="110"/>
                      <a:pt x="278" y="109"/>
                    </a:cubicBezTo>
                    <a:cubicBezTo>
                      <a:pt x="282" y="108"/>
                      <a:pt x="288" y="105"/>
                      <a:pt x="293" y="106"/>
                    </a:cubicBezTo>
                    <a:cubicBezTo>
                      <a:pt x="298" y="107"/>
                      <a:pt x="305" y="116"/>
                      <a:pt x="309" y="115"/>
                    </a:cubicBezTo>
                    <a:cubicBezTo>
                      <a:pt x="312" y="114"/>
                      <a:pt x="319" y="105"/>
                      <a:pt x="320" y="97"/>
                    </a:cubicBezTo>
                    <a:cubicBezTo>
                      <a:pt x="323" y="89"/>
                      <a:pt x="320" y="73"/>
                      <a:pt x="324" y="67"/>
                    </a:cubicBezTo>
                    <a:cubicBezTo>
                      <a:pt x="328" y="61"/>
                      <a:pt x="337" y="60"/>
                      <a:pt x="342" y="59"/>
                    </a:cubicBezTo>
                    <a:cubicBezTo>
                      <a:pt x="347" y="59"/>
                      <a:pt x="350" y="58"/>
                      <a:pt x="354" y="59"/>
                    </a:cubicBezTo>
                    <a:cubicBezTo>
                      <a:pt x="358" y="60"/>
                      <a:pt x="365" y="66"/>
                      <a:pt x="368" y="6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6" name="Freeform 117">
                <a:extLst>
                  <a:ext uri="{FF2B5EF4-FFF2-40B4-BE49-F238E27FC236}">
                    <a16:creationId xmlns:a16="http://schemas.microsoft.com/office/drawing/2014/main" id="{2BA5F02B-452C-4F95-A00D-8ACD98AD0E69}"/>
                  </a:ext>
                </a:extLst>
              </p:cNvPr>
              <p:cNvSpPr>
                <a:spLocks/>
              </p:cNvSpPr>
              <p:nvPr>
                <p:custDataLst>
                  <p:tags r:id="rId94"/>
                </p:custDataLst>
              </p:nvPr>
            </p:nvSpPr>
            <p:spPr bwMode="gray">
              <a:xfrm>
                <a:off x="4939258" y="2701118"/>
                <a:ext cx="161429" cy="129455"/>
              </a:xfrm>
              <a:custGeom>
                <a:avLst/>
                <a:gdLst>
                  <a:gd name="T0" fmla="*/ 8 w 107"/>
                  <a:gd name="T1" fmla="*/ 26 h 84"/>
                  <a:gd name="T2" fmla="*/ 29 w 107"/>
                  <a:gd name="T3" fmla="*/ 17 h 84"/>
                  <a:gd name="T4" fmla="*/ 47 w 107"/>
                  <a:gd name="T5" fmla="*/ 6 h 84"/>
                  <a:gd name="T6" fmla="*/ 60 w 107"/>
                  <a:gd name="T7" fmla="*/ 0 h 84"/>
                  <a:gd name="T8" fmla="*/ 101 w 107"/>
                  <a:gd name="T9" fmla="*/ 8 h 84"/>
                  <a:gd name="T10" fmla="*/ 92 w 107"/>
                  <a:gd name="T11" fmla="*/ 42 h 84"/>
                  <a:gd name="T12" fmla="*/ 92 w 107"/>
                  <a:gd name="T13" fmla="*/ 59 h 84"/>
                  <a:gd name="T14" fmla="*/ 51 w 107"/>
                  <a:gd name="T15" fmla="*/ 45 h 84"/>
                  <a:gd name="T16" fmla="*/ 38 w 107"/>
                  <a:gd name="T17" fmla="*/ 54 h 84"/>
                  <a:gd name="T18" fmla="*/ 5 w 107"/>
                  <a:gd name="T19" fmla="*/ 63 h 84"/>
                  <a:gd name="T20" fmla="*/ 5 w 107"/>
                  <a:gd name="T21" fmla="*/ 51 h 84"/>
                  <a:gd name="T22" fmla="*/ 8 w 107"/>
                  <a:gd name="T23" fmla="*/ 26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107" h="84">
                    <a:moveTo>
                      <a:pt x="8" y="26"/>
                    </a:moveTo>
                    <a:cubicBezTo>
                      <a:pt x="16" y="22"/>
                      <a:pt x="19" y="19"/>
                      <a:pt x="29" y="17"/>
                    </a:cubicBezTo>
                    <a:cubicBezTo>
                      <a:pt x="35" y="7"/>
                      <a:pt x="34" y="8"/>
                      <a:pt x="47" y="6"/>
                    </a:cubicBezTo>
                    <a:cubicBezTo>
                      <a:pt x="51" y="3"/>
                      <a:pt x="55" y="2"/>
                      <a:pt x="60" y="0"/>
                    </a:cubicBezTo>
                    <a:cubicBezTo>
                      <a:pt x="74" y="2"/>
                      <a:pt x="88" y="0"/>
                      <a:pt x="101" y="8"/>
                    </a:cubicBezTo>
                    <a:cubicBezTo>
                      <a:pt x="107" y="14"/>
                      <a:pt x="94" y="34"/>
                      <a:pt x="92" y="42"/>
                    </a:cubicBezTo>
                    <a:cubicBezTo>
                      <a:pt x="90" y="51"/>
                      <a:pt x="99" y="59"/>
                      <a:pt x="92" y="59"/>
                    </a:cubicBezTo>
                    <a:cubicBezTo>
                      <a:pt x="54" y="58"/>
                      <a:pt x="71" y="57"/>
                      <a:pt x="51" y="45"/>
                    </a:cubicBezTo>
                    <a:cubicBezTo>
                      <a:pt x="35" y="48"/>
                      <a:pt x="47" y="50"/>
                      <a:pt x="38" y="54"/>
                    </a:cubicBezTo>
                    <a:cubicBezTo>
                      <a:pt x="35" y="84"/>
                      <a:pt x="26" y="66"/>
                      <a:pt x="5" y="63"/>
                    </a:cubicBezTo>
                    <a:cubicBezTo>
                      <a:pt x="0" y="55"/>
                      <a:pt x="1" y="60"/>
                      <a:pt x="5" y="51"/>
                    </a:cubicBezTo>
                    <a:cubicBezTo>
                      <a:pt x="7" y="42"/>
                      <a:pt x="6" y="36"/>
                      <a:pt x="8" y="2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7" name="Freeform 118">
                <a:extLst>
                  <a:ext uri="{FF2B5EF4-FFF2-40B4-BE49-F238E27FC236}">
                    <a16:creationId xmlns:a16="http://schemas.microsoft.com/office/drawing/2014/main" id="{BF969EAE-A013-443D-9F8C-A3625D495F58}"/>
                  </a:ext>
                </a:extLst>
              </p:cNvPr>
              <p:cNvSpPr>
                <a:spLocks/>
              </p:cNvSpPr>
              <p:nvPr>
                <p:custDataLst>
                  <p:tags r:id="rId95"/>
                </p:custDataLst>
              </p:nvPr>
            </p:nvSpPr>
            <p:spPr bwMode="gray">
              <a:xfrm>
                <a:off x="4188393" y="3812274"/>
                <a:ext cx="361363" cy="359084"/>
              </a:xfrm>
              <a:custGeom>
                <a:avLst/>
                <a:gdLst>
                  <a:gd name="T0" fmla="*/ 1 w 240"/>
                  <a:gd name="T1" fmla="*/ 157 h 233"/>
                  <a:gd name="T2" fmla="*/ 82 w 240"/>
                  <a:gd name="T3" fmla="*/ 158 h 233"/>
                  <a:gd name="T4" fmla="*/ 96 w 240"/>
                  <a:gd name="T5" fmla="*/ 145 h 233"/>
                  <a:gd name="T6" fmla="*/ 85 w 240"/>
                  <a:gd name="T7" fmla="*/ 73 h 233"/>
                  <a:gd name="T8" fmla="*/ 73 w 240"/>
                  <a:gd name="T9" fmla="*/ 25 h 233"/>
                  <a:gd name="T10" fmla="*/ 82 w 240"/>
                  <a:gd name="T11" fmla="*/ 10 h 233"/>
                  <a:gd name="T12" fmla="*/ 99 w 240"/>
                  <a:gd name="T13" fmla="*/ 5 h 233"/>
                  <a:gd name="T14" fmla="*/ 120 w 240"/>
                  <a:gd name="T15" fmla="*/ 14 h 233"/>
                  <a:gd name="T16" fmla="*/ 133 w 240"/>
                  <a:gd name="T17" fmla="*/ 26 h 233"/>
                  <a:gd name="T18" fmla="*/ 147 w 240"/>
                  <a:gd name="T19" fmla="*/ 35 h 233"/>
                  <a:gd name="T20" fmla="*/ 165 w 240"/>
                  <a:gd name="T21" fmla="*/ 47 h 233"/>
                  <a:gd name="T22" fmla="*/ 178 w 240"/>
                  <a:gd name="T23" fmla="*/ 56 h 233"/>
                  <a:gd name="T24" fmla="*/ 186 w 240"/>
                  <a:gd name="T25" fmla="*/ 62 h 233"/>
                  <a:gd name="T26" fmla="*/ 201 w 240"/>
                  <a:gd name="T27" fmla="*/ 79 h 233"/>
                  <a:gd name="T28" fmla="*/ 210 w 240"/>
                  <a:gd name="T29" fmla="*/ 86 h 233"/>
                  <a:gd name="T30" fmla="*/ 235 w 240"/>
                  <a:gd name="T31" fmla="*/ 98 h 233"/>
                  <a:gd name="T32" fmla="*/ 237 w 240"/>
                  <a:gd name="T33" fmla="*/ 119 h 233"/>
                  <a:gd name="T34" fmla="*/ 237 w 240"/>
                  <a:gd name="T35" fmla="*/ 142 h 233"/>
                  <a:gd name="T36" fmla="*/ 226 w 240"/>
                  <a:gd name="T37" fmla="*/ 152 h 233"/>
                  <a:gd name="T38" fmla="*/ 202 w 240"/>
                  <a:gd name="T39" fmla="*/ 155 h 233"/>
                  <a:gd name="T40" fmla="*/ 172 w 240"/>
                  <a:gd name="T41" fmla="*/ 160 h 233"/>
                  <a:gd name="T42" fmla="*/ 148 w 240"/>
                  <a:gd name="T43" fmla="*/ 167 h 233"/>
                  <a:gd name="T44" fmla="*/ 127 w 240"/>
                  <a:gd name="T45" fmla="*/ 181 h 233"/>
                  <a:gd name="T46" fmla="*/ 115 w 240"/>
                  <a:gd name="T47" fmla="*/ 185 h 233"/>
                  <a:gd name="T48" fmla="*/ 102 w 240"/>
                  <a:gd name="T49" fmla="*/ 206 h 233"/>
                  <a:gd name="T50" fmla="*/ 93 w 240"/>
                  <a:gd name="T51" fmla="*/ 233 h 233"/>
                  <a:gd name="T52" fmla="*/ 49 w 240"/>
                  <a:gd name="T53" fmla="*/ 230 h 233"/>
                  <a:gd name="T54" fmla="*/ 28 w 240"/>
                  <a:gd name="T55" fmla="*/ 208 h 233"/>
                  <a:gd name="T56" fmla="*/ 6 w 240"/>
                  <a:gd name="T57" fmla="*/ 202 h 233"/>
                  <a:gd name="T58" fmla="*/ 1 w 240"/>
                  <a:gd name="T59" fmla="*/ 157 h 2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</a:cxnLst>
                <a:rect l="0" t="0" r="r" b="b"/>
                <a:pathLst>
                  <a:path w="240" h="233">
                    <a:moveTo>
                      <a:pt x="1" y="157"/>
                    </a:moveTo>
                    <a:cubicBezTo>
                      <a:pt x="30" y="160"/>
                      <a:pt x="52" y="159"/>
                      <a:pt x="82" y="158"/>
                    </a:cubicBezTo>
                    <a:cubicBezTo>
                      <a:pt x="90" y="156"/>
                      <a:pt x="92" y="152"/>
                      <a:pt x="96" y="145"/>
                    </a:cubicBezTo>
                    <a:cubicBezTo>
                      <a:pt x="94" y="120"/>
                      <a:pt x="93" y="97"/>
                      <a:pt x="85" y="73"/>
                    </a:cubicBezTo>
                    <a:cubicBezTo>
                      <a:pt x="82" y="58"/>
                      <a:pt x="73" y="35"/>
                      <a:pt x="73" y="25"/>
                    </a:cubicBezTo>
                    <a:cubicBezTo>
                      <a:pt x="73" y="15"/>
                      <a:pt x="78" y="13"/>
                      <a:pt x="82" y="10"/>
                    </a:cubicBezTo>
                    <a:cubicBezTo>
                      <a:pt x="84" y="0"/>
                      <a:pt x="93" y="4"/>
                      <a:pt x="99" y="5"/>
                    </a:cubicBezTo>
                    <a:cubicBezTo>
                      <a:pt x="105" y="6"/>
                      <a:pt x="114" y="11"/>
                      <a:pt x="120" y="14"/>
                    </a:cubicBezTo>
                    <a:cubicBezTo>
                      <a:pt x="121" y="20"/>
                      <a:pt x="127" y="23"/>
                      <a:pt x="133" y="26"/>
                    </a:cubicBezTo>
                    <a:cubicBezTo>
                      <a:pt x="138" y="33"/>
                      <a:pt x="139" y="34"/>
                      <a:pt x="147" y="35"/>
                    </a:cubicBezTo>
                    <a:cubicBezTo>
                      <a:pt x="155" y="38"/>
                      <a:pt x="158" y="43"/>
                      <a:pt x="165" y="47"/>
                    </a:cubicBezTo>
                    <a:cubicBezTo>
                      <a:pt x="169" y="54"/>
                      <a:pt x="172" y="52"/>
                      <a:pt x="178" y="56"/>
                    </a:cubicBezTo>
                    <a:cubicBezTo>
                      <a:pt x="180" y="59"/>
                      <a:pt x="185" y="59"/>
                      <a:pt x="186" y="62"/>
                    </a:cubicBezTo>
                    <a:cubicBezTo>
                      <a:pt x="188" y="66"/>
                      <a:pt x="197" y="75"/>
                      <a:pt x="201" y="79"/>
                    </a:cubicBezTo>
                    <a:cubicBezTo>
                      <a:pt x="205" y="83"/>
                      <a:pt x="204" y="83"/>
                      <a:pt x="210" y="86"/>
                    </a:cubicBezTo>
                    <a:cubicBezTo>
                      <a:pt x="220" y="89"/>
                      <a:pt x="227" y="92"/>
                      <a:pt x="235" y="98"/>
                    </a:cubicBezTo>
                    <a:cubicBezTo>
                      <a:pt x="240" y="104"/>
                      <a:pt x="238" y="110"/>
                      <a:pt x="237" y="119"/>
                    </a:cubicBezTo>
                    <a:cubicBezTo>
                      <a:pt x="237" y="126"/>
                      <a:pt x="239" y="137"/>
                      <a:pt x="237" y="142"/>
                    </a:cubicBezTo>
                    <a:cubicBezTo>
                      <a:pt x="235" y="147"/>
                      <a:pt x="232" y="150"/>
                      <a:pt x="226" y="152"/>
                    </a:cubicBezTo>
                    <a:cubicBezTo>
                      <a:pt x="220" y="162"/>
                      <a:pt x="211" y="154"/>
                      <a:pt x="202" y="155"/>
                    </a:cubicBezTo>
                    <a:cubicBezTo>
                      <a:pt x="193" y="156"/>
                      <a:pt x="181" y="158"/>
                      <a:pt x="172" y="160"/>
                    </a:cubicBezTo>
                    <a:cubicBezTo>
                      <a:pt x="162" y="161"/>
                      <a:pt x="157" y="165"/>
                      <a:pt x="148" y="167"/>
                    </a:cubicBezTo>
                    <a:cubicBezTo>
                      <a:pt x="140" y="171"/>
                      <a:pt x="135" y="179"/>
                      <a:pt x="127" y="181"/>
                    </a:cubicBezTo>
                    <a:cubicBezTo>
                      <a:pt x="122" y="187"/>
                      <a:pt x="123" y="184"/>
                      <a:pt x="115" y="185"/>
                    </a:cubicBezTo>
                    <a:cubicBezTo>
                      <a:pt x="108" y="196"/>
                      <a:pt x="113" y="199"/>
                      <a:pt x="102" y="206"/>
                    </a:cubicBezTo>
                    <a:cubicBezTo>
                      <a:pt x="97" y="213"/>
                      <a:pt x="102" y="229"/>
                      <a:pt x="93" y="233"/>
                    </a:cubicBezTo>
                    <a:cubicBezTo>
                      <a:pt x="81" y="232"/>
                      <a:pt x="61" y="232"/>
                      <a:pt x="49" y="230"/>
                    </a:cubicBezTo>
                    <a:cubicBezTo>
                      <a:pt x="54" y="230"/>
                      <a:pt x="37" y="210"/>
                      <a:pt x="28" y="208"/>
                    </a:cubicBezTo>
                    <a:cubicBezTo>
                      <a:pt x="22" y="205"/>
                      <a:pt x="13" y="203"/>
                      <a:pt x="6" y="202"/>
                    </a:cubicBezTo>
                    <a:cubicBezTo>
                      <a:pt x="0" y="193"/>
                      <a:pt x="2" y="167"/>
                      <a:pt x="1" y="15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8" name="Freeform 119">
                <a:extLst>
                  <a:ext uri="{FF2B5EF4-FFF2-40B4-BE49-F238E27FC236}">
                    <a16:creationId xmlns:a16="http://schemas.microsoft.com/office/drawing/2014/main" id="{EBC3D60D-6138-4FA1-8324-2564F2737405}"/>
                  </a:ext>
                </a:extLst>
              </p:cNvPr>
              <p:cNvSpPr>
                <a:spLocks/>
              </p:cNvSpPr>
              <p:nvPr>
                <p:custDataLst>
                  <p:tags r:id="rId96"/>
                </p:custDataLst>
              </p:nvPr>
            </p:nvSpPr>
            <p:spPr bwMode="gray">
              <a:xfrm>
                <a:off x="5013308" y="4758529"/>
                <a:ext cx="182163" cy="180313"/>
              </a:xfrm>
              <a:custGeom>
                <a:avLst/>
                <a:gdLst>
                  <a:gd name="T0" fmla="*/ 2 w 121"/>
                  <a:gd name="T1" fmla="*/ 42 h 117"/>
                  <a:gd name="T2" fmla="*/ 34 w 121"/>
                  <a:gd name="T3" fmla="*/ 36 h 117"/>
                  <a:gd name="T4" fmla="*/ 49 w 121"/>
                  <a:gd name="T5" fmla="*/ 20 h 117"/>
                  <a:gd name="T6" fmla="*/ 58 w 121"/>
                  <a:gd name="T7" fmla="*/ 11 h 117"/>
                  <a:gd name="T8" fmla="*/ 77 w 121"/>
                  <a:gd name="T9" fmla="*/ 0 h 117"/>
                  <a:gd name="T10" fmla="*/ 92 w 121"/>
                  <a:gd name="T11" fmla="*/ 12 h 117"/>
                  <a:gd name="T12" fmla="*/ 109 w 121"/>
                  <a:gd name="T13" fmla="*/ 21 h 117"/>
                  <a:gd name="T14" fmla="*/ 110 w 121"/>
                  <a:gd name="T15" fmla="*/ 92 h 117"/>
                  <a:gd name="T16" fmla="*/ 101 w 121"/>
                  <a:gd name="T17" fmla="*/ 108 h 117"/>
                  <a:gd name="T18" fmla="*/ 83 w 121"/>
                  <a:gd name="T19" fmla="*/ 114 h 117"/>
                  <a:gd name="T20" fmla="*/ 44 w 121"/>
                  <a:gd name="T21" fmla="*/ 98 h 117"/>
                  <a:gd name="T22" fmla="*/ 32 w 121"/>
                  <a:gd name="T23" fmla="*/ 89 h 117"/>
                  <a:gd name="T24" fmla="*/ 26 w 121"/>
                  <a:gd name="T25" fmla="*/ 78 h 117"/>
                  <a:gd name="T26" fmla="*/ 14 w 121"/>
                  <a:gd name="T27" fmla="*/ 71 h 117"/>
                  <a:gd name="T28" fmla="*/ 6 w 121"/>
                  <a:gd name="T29" fmla="*/ 59 h 117"/>
                  <a:gd name="T30" fmla="*/ 2 w 121"/>
                  <a:gd name="T31" fmla="*/ 51 h 117"/>
                  <a:gd name="T32" fmla="*/ 2 w 121"/>
                  <a:gd name="T33" fmla="*/ 42 h 1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21" h="117">
                    <a:moveTo>
                      <a:pt x="2" y="42"/>
                    </a:moveTo>
                    <a:cubicBezTo>
                      <a:pt x="22" y="41"/>
                      <a:pt x="22" y="43"/>
                      <a:pt x="34" y="36"/>
                    </a:cubicBezTo>
                    <a:cubicBezTo>
                      <a:pt x="27" y="23"/>
                      <a:pt x="39" y="21"/>
                      <a:pt x="49" y="20"/>
                    </a:cubicBezTo>
                    <a:cubicBezTo>
                      <a:pt x="53" y="14"/>
                      <a:pt x="51" y="12"/>
                      <a:pt x="58" y="11"/>
                    </a:cubicBezTo>
                    <a:cubicBezTo>
                      <a:pt x="64" y="8"/>
                      <a:pt x="71" y="3"/>
                      <a:pt x="77" y="0"/>
                    </a:cubicBezTo>
                    <a:cubicBezTo>
                      <a:pt x="88" y="4"/>
                      <a:pt x="80" y="10"/>
                      <a:pt x="92" y="12"/>
                    </a:cubicBezTo>
                    <a:cubicBezTo>
                      <a:pt x="99" y="15"/>
                      <a:pt x="101" y="19"/>
                      <a:pt x="109" y="21"/>
                    </a:cubicBezTo>
                    <a:cubicBezTo>
                      <a:pt x="120" y="40"/>
                      <a:pt x="121" y="71"/>
                      <a:pt x="110" y="92"/>
                    </a:cubicBezTo>
                    <a:cubicBezTo>
                      <a:pt x="109" y="99"/>
                      <a:pt x="108" y="107"/>
                      <a:pt x="101" y="108"/>
                    </a:cubicBezTo>
                    <a:cubicBezTo>
                      <a:pt x="95" y="117"/>
                      <a:pt x="95" y="116"/>
                      <a:pt x="83" y="114"/>
                    </a:cubicBezTo>
                    <a:cubicBezTo>
                      <a:pt x="79" y="111"/>
                      <a:pt x="50" y="99"/>
                      <a:pt x="44" y="98"/>
                    </a:cubicBezTo>
                    <a:cubicBezTo>
                      <a:pt x="39" y="95"/>
                      <a:pt x="35" y="94"/>
                      <a:pt x="32" y="89"/>
                    </a:cubicBezTo>
                    <a:cubicBezTo>
                      <a:pt x="29" y="85"/>
                      <a:pt x="29" y="81"/>
                      <a:pt x="26" y="78"/>
                    </a:cubicBezTo>
                    <a:cubicBezTo>
                      <a:pt x="23" y="75"/>
                      <a:pt x="17" y="74"/>
                      <a:pt x="14" y="71"/>
                    </a:cubicBezTo>
                    <a:cubicBezTo>
                      <a:pt x="9" y="66"/>
                      <a:pt x="8" y="62"/>
                      <a:pt x="6" y="59"/>
                    </a:cubicBezTo>
                    <a:cubicBezTo>
                      <a:pt x="4" y="56"/>
                      <a:pt x="3" y="54"/>
                      <a:pt x="2" y="51"/>
                    </a:cubicBezTo>
                    <a:cubicBezTo>
                      <a:pt x="1" y="44"/>
                      <a:pt x="0" y="47"/>
                      <a:pt x="2" y="4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09" name="Freeform 120">
                <a:extLst>
                  <a:ext uri="{FF2B5EF4-FFF2-40B4-BE49-F238E27FC236}">
                    <a16:creationId xmlns:a16="http://schemas.microsoft.com/office/drawing/2014/main" id="{E5D4B37C-EE1E-457A-84A5-0C37739F331A}"/>
                  </a:ext>
                </a:extLst>
              </p:cNvPr>
              <p:cNvSpPr>
                <a:spLocks/>
              </p:cNvSpPr>
              <p:nvPr>
                <p:custDataLst>
                  <p:tags r:id="rId97"/>
                </p:custDataLst>
              </p:nvPr>
            </p:nvSpPr>
            <p:spPr bwMode="gray">
              <a:xfrm>
                <a:off x="5419102" y="3371510"/>
                <a:ext cx="62202" cy="60105"/>
              </a:xfrm>
              <a:custGeom>
                <a:avLst/>
                <a:gdLst>
                  <a:gd name="T0" fmla="*/ 0 w 42"/>
                  <a:gd name="T1" fmla="*/ 3 h 39"/>
                  <a:gd name="T2" fmla="*/ 23 w 42"/>
                  <a:gd name="T3" fmla="*/ 0 h 39"/>
                  <a:gd name="T4" fmla="*/ 31 w 42"/>
                  <a:gd name="T5" fmla="*/ 16 h 39"/>
                  <a:gd name="T6" fmla="*/ 36 w 42"/>
                  <a:gd name="T7" fmla="*/ 27 h 39"/>
                  <a:gd name="T8" fmla="*/ 42 w 42"/>
                  <a:gd name="T9" fmla="*/ 38 h 39"/>
                  <a:gd name="T10" fmla="*/ 27 w 42"/>
                  <a:gd name="T11" fmla="*/ 33 h 39"/>
                  <a:gd name="T12" fmla="*/ 18 w 42"/>
                  <a:gd name="T13" fmla="*/ 39 h 39"/>
                  <a:gd name="T14" fmla="*/ 2 w 42"/>
                  <a:gd name="T15" fmla="*/ 17 h 39"/>
                  <a:gd name="T16" fmla="*/ 0 w 42"/>
                  <a:gd name="T17" fmla="*/ 3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2" h="39">
                    <a:moveTo>
                      <a:pt x="0" y="3"/>
                    </a:moveTo>
                    <a:lnTo>
                      <a:pt x="23" y="0"/>
                    </a:lnTo>
                    <a:lnTo>
                      <a:pt x="31" y="16"/>
                    </a:lnTo>
                    <a:lnTo>
                      <a:pt x="36" y="27"/>
                    </a:lnTo>
                    <a:lnTo>
                      <a:pt x="42" y="38"/>
                    </a:lnTo>
                    <a:lnTo>
                      <a:pt x="27" y="33"/>
                    </a:lnTo>
                    <a:lnTo>
                      <a:pt x="18" y="39"/>
                    </a:lnTo>
                    <a:lnTo>
                      <a:pt x="2" y="17"/>
                    </a:lnTo>
                    <a:lnTo>
                      <a:pt x="0" y="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10" name="Freeform 127">
                <a:extLst>
                  <a:ext uri="{FF2B5EF4-FFF2-40B4-BE49-F238E27FC236}">
                    <a16:creationId xmlns:a16="http://schemas.microsoft.com/office/drawing/2014/main" id="{DFF21E57-D6AE-4700-8B5F-8E9855EBD959}"/>
                  </a:ext>
                </a:extLst>
              </p:cNvPr>
              <p:cNvSpPr>
                <a:spLocks/>
              </p:cNvSpPr>
              <p:nvPr>
                <p:custDataLst>
                  <p:tags r:id="rId98"/>
                </p:custDataLst>
              </p:nvPr>
            </p:nvSpPr>
            <p:spPr bwMode="gray">
              <a:xfrm>
                <a:off x="4075837" y="4088136"/>
                <a:ext cx="90341" cy="33905"/>
              </a:xfrm>
              <a:custGeom>
                <a:avLst/>
                <a:gdLst>
                  <a:gd name="T0" fmla="*/ 0 w 60"/>
                  <a:gd name="T1" fmla="*/ 9 h 22"/>
                  <a:gd name="T2" fmla="*/ 27 w 60"/>
                  <a:gd name="T3" fmla="*/ 9 h 22"/>
                  <a:gd name="T4" fmla="*/ 39 w 60"/>
                  <a:gd name="T5" fmla="*/ 8 h 22"/>
                  <a:gd name="T6" fmla="*/ 48 w 60"/>
                  <a:gd name="T7" fmla="*/ 0 h 22"/>
                  <a:gd name="T8" fmla="*/ 60 w 60"/>
                  <a:gd name="T9" fmla="*/ 9 h 22"/>
                  <a:gd name="T10" fmla="*/ 49 w 60"/>
                  <a:gd name="T11" fmla="*/ 19 h 22"/>
                  <a:gd name="T12" fmla="*/ 40 w 60"/>
                  <a:gd name="T13" fmla="*/ 16 h 22"/>
                  <a:gd name="T14" fmla="*/ 30 w 60"/>
                  <a:gd name="T15" fmla="*/ 22 h 22"/>
                  <a:gd name="T16" fmla="*/ 3 w 60"/>
                  <a:gd name="T17" fmla="*/ 21 h 22"/>
                  <a:gd name="T18" fmla="*/ 0 w 60"/>
                  <a:gd name="T19" fmla="*/ 9 h 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0" h="22">
                    <a:moveTo>
                      <a:pt x="0" y="9"/>
                    </a:moveTo>
                    <a:lnTo>
                      <a:pt x="27" y="9"/>
                    </a:lnTo>
                    <a:lnTo>
                      <a:pt x="39" y="8"/>
                    </a:lnTo>
                    <a:lnTo>
                      <a:pt x="48" y="0"/>
                    </a:lnTo>
                    <a:lnTo>
                      <a:pt x="60" y="9"/>
                    </a:lnTo>
                    <a:lnTo>
                      <a:pt x="49" y="19"/>
                    </a:lnTo>
                    <a:lnTo>
                      <a:pt x="40" y="16"/>
                    </a:lnTo>
                    <a:lnTo>
                      <a:pt x="30" y="22"/>
                    </a:lnTo>
                    <a:lnTo>
                      <a:pt x="3" y="21"/>
                    </a:lnTo>
                    <a:lnTo>
                      <a:pt x="0" y="9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11" name="Freeform 128">
                <a:extLst>
                  <a:ext uri="{FF2B5EF4-FFF2-40B4-BE49-F238E27FC236}">
                    <a16:creationId xmlns:a16="http://schemas.microsoft.com/office/drawing/2014/main" id="{FABEBE15-EBD3-47AE-8296-4901D00D7FD8}"/>
                  </a:ext>
                </a:extLst>
              </p:cNvPr>
              <p:cNvSpPr>
                <a:spLocks/>
              </p:cNvSpPr>
              <p:nvPr>
                <p:custDataLst>
                  <p:tags r:id="rId99"/>
                </p:custDataLst>
              </p:nvPr>
            </p:nvSpPr>
            <p:spPr bwMode="gray">
              <a:xfrm>
                <a:off x="4077318" y="4115876"/>
                <a:ext cx="72569" cy="44693"/>
              </a:xfrm>
              <a:custGeom>
                <a:avLst/>
                <a:gdLst>
                  <a:gd name="T0" fmla="*/ 0 w 48"/>
                  <a:gd name="T1" fmla="*/ 23 h 29"/>
                  <a:gd name="T2" fmla="*/ 21 w 48"/>
                  <a:gd name="T3" fmla="*/ 29 h 29"/>
                  <a:gd name="T4" fmla="*/ 30 w 48"/>
                  <a:gd name="T5" fmla="*/ 21 h 29"/>
                  <a:gd name="T6" fmla="*/ 48 w 48"/>
                  <a:gd name="T7" fmla="*/ 0 h 29"/>
                  <a:gd name="T8" fmla="*/ 26 w 48"/>
                  <a:gd name="T9" fmla="*/ 3 h 29"/>
                  <a:gd name="T10" fmla="*/ 3 w 48"/>
                  <a:gd name="T11" fmla="*/ 3 h 29"/>
                  <a:gd name="T12" fmla="*/ 2 w 48"/>
                  <a:gd name="T13" fmla="*/ 14 h 29"/>
                  <a:gd name="T14" fmla="*/ 0 w 48"/>
                  <a:gd name="T15" fmla="*/ 23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8" h="29">
                    <a:moveTo>
                      <a:pt x="0" y="23"/>
                    </a:moveTo>
                    <a:lnTo>
                      <a:pt x="21" y="29"/>
                    </a:lnTo>
                    <a:lnTo>
                      <a:pt x="30" y="21"/>
                    </a:lnTo>
                    <a:lnTo>
                      <a:pt x="48" y="0"/>
                    </a:lnTo>
                    <a:lnTo>
                      <a:pt x="26" y="3"/>
                    </a:lnTo>
                    <a:lnTo>
                      <a:pt x="3" y="3"/>
                    </a:lnTo>
                    <a:lnTo>
                      <a:pt x="2" y="14"/>
                    </a:lnTo>
                    <a:lnTo>
                      <a:pt x="0" y="23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12" name="Freeform 129">
                <a:extLst>
                  <a:ext uri="{FF2B5EF4-FFF2-40B4-BE49-F238E27FC236}">
                    <a16:creationId xmlns:a16="http://schemas.microsoft.com/office/drawing/2014/main" id="{81CD71BD-0B4D-4301-A166-A0D59871DF91}"/>
                  </a:ext>
                </a:extLst>
              </p:cNvPr>
              <p:cNvSpPr>
                <a:spLocks/>
              </p:cNvSpPr>
              <p:nvPr>
                <p:custDataLst>
                  <p:tags r:id="rId100"/>
                </p:custDataLst>
              </p:nvPr>
            </p:nvSpPr>
            <p:spPr bwMode="gray">
              <a:xfrm>
                <a:off x="4071394" y="4021868"/>
                <a:ext cx="118480" cy="106339"/>
              </a:xfrm>
              <a:custGeom>
                <a:avLst/>
                <a:gdLst>
                  <a:gd name="T0" fmla="*/ 10 w 79"/>
                  <a:gd name="T1" fmla="*/ 4 h 69"/>
                  <a:gd name="T2" fmla="*/ 27 w 79"/>
                  <a:gd name="T3" fmla="*/ 0 h 69"/>
                  <a:gd name="T4" fmla="*/ 55 w 79"/>
                  <a:gd name="T5" fmla="*/ 10 h 69"/>
                  <a:gd name="T6" fmla="*/ 63 w 79"/>
                  <a:gd name="T7" fmla="*/ 21 h 69"/>
                  <a:gd name="T8" fmla="*/ 79 w 79"/>
                  <a:gd name="T9" fmla="*/ 22 h 69"/>
                  <a:gd name="T10" fmla="*/ 79 w 79"/>
                  <a:gd name="T11" fmla="*/ 51 h 69"/>
                  <a:gd name="T12" fmla="*/ 79 w 79"/>
                  <a:gd name="T13" fmla="*/ 69 h 69"/>
                  <a:gd name="T14" fmla="*/ 66 w 79"/>
                  <a:gd name="T15" fmla="*/ 64 h 69"/>
                  <a:gd name="T16" fmla="*/ 57 w 79"/>
                  <a:gd name="T17" fmla="*/ 58 h 69"/>
                  <a:gd name="T18" fmla="*/ 4 w 79"/>
                  <a:gd name="T19" fmla="*/ 67 h 69"/>
                  <a:gd name="T20" fmla="*/ 22 w 79"/>
                  <a:gd name="T21" fmla="*/ 63 h 69"/>
                  <a:gd name="T22" fmla="*/ 46 w 79"/>
                  <a:gd name="T23" fmla="*/ 61 h 69"/>
                  <a:gd name="T24" fmla="*/ 60 w 79"/>
                  <a:gd name="T25" fmla="*/ 54 h 69"/>
                  <a:gd name="T26" fmla="*/ 51 w 79"/>
                  <a:gd name="T27" fmla="*/ 43 h 69"/>
                  <a:gd name="T28" fmla="*/ 42 w 79"/>
                  <a:gd name="T29" fmla="*/ 52 h 69"/>
                  <a:gd name="T30" fmla="*/ 1 w 79"/>
                  <a:gd name="T31" fmla="*/ 54 h 69"/>
                  <a:gd name="T32" fmla="*/ 0 w 79"/>
                  <a:gd name="T33" fmla="*/ 28 h 69"/>
                  <a:gd name="T34" fmla="*/ 6 w 79"/>
                  <a:gd name="T35" fmla="*/ 16 h 69"/>
                  <a:gd name="T36" fmla="*/ 10 w 79"/>
                  <a:gd name="T37" fmla="*/ 4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79" h="69">
                    <a:moveTo>
                      <a:pt x="10" y="4"/>
                    </a:moveTo>
                    <a:lnTo>
                      <a:pt x="27" y="0"/>
                    </a:lnTo>
                    <a:lnTo>
                      <a:pt x="55" y="10"/>
                    </a:lnTo>
                    <a:lnTo>
                      <a:pt x="63" y="21"/>
                    </a:lnTo>
                    <a:lnTo>
                      <a:pt x="79" y="22"/>
                    </a:lnTo>
                    <a:lnTo>
                      <a:pt x="79" y="51"/>
                    </a:lnTo>
                    <a:lnTo>
                      <a:pt x="79" y="69"/>
                    </a:lnTo>
                    <a:lnTo>
                      <a:pt x="66" y="64"/>
                    </a:lnTo>
                    <a:lnTo>
                      <a:pt x="57" y="58"/>
                    </a:lnTo>
                    <a:lnTo>
                      <a:pt x="4" y="67"/>
                    </a:lnTo>
                    <a:lnTo>
                      <a:pt x="22" y="63"/>
                    </a:lnTo>
                    <a:lnTo>
                      <a:pt x="46" y="61"/>
                    </a:lnTo>
                    <a:lnTo>
                      <a:pt x="60" y="54"/>
                    </a:lnTo>
                    <a:lnTo>
                      <a:pt x="51" y="43"/>
                    </a:lnTo>
                    <a:lnTo>
                      <a:pt x="42" y="52"/>
                    </a:lnTo>
                    <a:lnTo>
                      <a:pt x="1" y="54"/>
                    </a:lnTo>
                    <a:lnTo>
                      <a:pt x="0" y="28"/>
                    </a:lnTo>
                    <a:lnTo>
                      <a:pt x="6" y="16"/>
                    </a:lnTo>
                    <a:lnTo>
                      <a:pt x="10" y="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13" name="Freeform 130">
                <a:extLst>
                  <a:ext uri="{FF2B5EF4-FFF2-40B4-BE49-F238E27FC236}">
                    <a16:creationId xmlns:a16="http://schemas.microsoft.com/office/drawing/2014/main" id="{75997870-7326-4731-A7EC-5C6AB9AC44F7}"/>
                  </a:ext>
                </a:extLst>
              </p:cNvPr>
              <p:cNvSpPr>
                <a:spLocks/>
              </p:cNvSpPr>
              <p:nvPr>
                <p:custDataLst>
                  <p:tags r:id="rId101"/>
                </p:custDataLst>
              </p:nvPr>
            </p:nvSpPr>
            <p:spPr bwMode="gray">
              <a:xfrm>
                <a:off x="5382820" y="4118189"/>
                <a:ext cx="44430" cy="49316"/>
              </a:xfrm>
              <a:custGeom>
                <a:avLst/>
                <a:gdLst>
                  <a:gd name="T0" fmla="*/ 11 w 30"/>
                  <a:gd name="T1" fmla="*/ 9 h 32"/>
                  <a:gd name="T2" fmla="*/ 24 w 30"/>
                  <a:gd name="T3" fmla="*/ 0 h 32"/>
                  <a:gd name="T4" fmla="*/ 15 w 30"/>
                  <a:gd name="T5" fmla="*/ 20 h 32"/>
                  <a:gd name="T6" fmla="*/ 11 w 30"/>
                  <a:gd name="T7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2">
                    <a:moveTo>
                      <a:pt x="11" y="9"/>
                    </a:moveTo>
                    <a:cubicBezTo>
                      <a:pt x="12" y="0"/>
                      <a:pt x="16" y="3"/>
                      <a:pt x="24" y="0"/>
                    </a:cubicBezTo>
                    <a:cubicBezTo>
                      <a:pt x="29" y="13"/>
                      <a:pt x="30" y="32"/>
                      <a:pt x="15" y="20"/>
                    </a:cubicBezTo>
                    <a:cubicBezTo>
                      <a:pt x="11" y="14"/>
                      <a:pt x="0" y="7"/>
                      <a:pt x="11" y="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14" name="Freeform 131">
                <a:extLst>
                  <a:ext uri="{FF2B5EF4-FFF2-40B4-BE49-F238E27FC236}">
                    <a16:creationId xmlns:a16="http://schemas.microsoft.com/office/drawing/2014/main" id="{5C7AF65F-88E5-439B-A68F-8C58481FFD0F}"/>
                  </a:ext>
                </a:extLst>
              </p:cNvPr>
              <p:cNvSpPr>
                <a:spLocks/>
              </p:cNvSpPr>
              <p:nvPr>
                <p:custDataLst>
                  <p:tags r:id="rId102"/>
                </p:custDataLst>
              </p:nvPr>
            </p:nvSpPr>
            <p:spPr bwMode="gray">
              <a:xfrm>
                <a:off x="5462051" y="3670490"/>
                <a:ext cx="45911" cy="49316"/>
              </a:xfrm>
              <a:custGeom>
                <a:avLst/>
                <a:gdLst>
                  <a:gd name="T0" fmla="*/ 11 w 30"/>
                  <a:gd name="T1" fmla="*/ 9 h 32"/>
                  <a:gd name="T2" fmla="*/ 24 w 30"/>
                  <a:gd name="T3" fmla="*/ 0 h 32"/>
                  <a:gd name="T4" fmla="*/ 15 w 30"/>
                  <a:gd name="T5" fmla="*/ 20 h 32"/>
                  <a:gd name="T6" fmla="*/ 11 w 30"/>
                  <a:gd name="T7" fmla="*/ 9 h 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30" h="32">
                    <a:moveTo>
                      <a:pt x="11" y="9"/>
                    </a:moveTo>
                    <a:cubicBezTo>
                      <a:pt x="12" y="0"/>
                      <a:pt x="16" y="3"/>
                      <a:pt x="24" y="0"/>
                    </a:cubicBezTo>
                    <a:cubicBezTo>
                      <a:pt x="29" y="13"/>
                      <a:pt x="30" y="32"/>
                      <a:pt x="15" y="20"/>
                    </a:cubicBezTo>
                    <a:cubicBezTo>
                      <a:pt x="11" y="14"/>
                      <a:pt x="0" y="7"/>
                      <a:pt x="11" y="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15" name="Freeform 132">
                <a:extLst>
                  <a:ext uri="{FF2B5EF4-FFF2-40B4-BE49-F238E27FC236}">
                    <a16:creationId xmlns:a16="http://schemas.microsoft.com/office/drawing/2014/main" id="{F0B2105D-ACF9-447D-9F49-9A25A040AE9C}"/>
                  </a:ext>
                </a:extLst>
              </p:cNvPr>
              <p:cNvSpPr>
                <a:spLocks/>
              </p:cNvSpPr>
              <p:nvPr>
                <p:custDataLst>
                  <p:tags r:id="rId103"/>
                </p:custDataLst>
              </p:nvPr>
            </p:nvSpPr>
            <p:spPr bwMode="gray">
              <a:xfrm>
                <a:off x="6017424" y="3319112"/>
                <a:ext cx="189568" cy="110961"/>
              </a:xfrm>
              <a:custGeom>
                <a:avLst/>
                <a:gdLst>
                  <a:gd name="T0" fmla="*/ 10 w 126"/>
                  <a:gd name="T1" fmla="*/ 15 h 72"/>
                  <a:gd name="T2" fmla="*/ 22 w 126"/>
                  <a:gd name="T3" fmla="*/ 7 h 72"/>
                  <a:gd name="T4" fmla="*/ 40 w 126"/>
                  <a:gd name="T5" fmla="*/ 15 h 72"/>
                  <a:gd name="T6" fmla="*/ 48 w 126"/>
                  <a:gd name="T7" fmla="*/ 7 h 72"/>
                  <a:gd name="T8" fmla="*/ 58 w 126"/>
                  <a:gd name="T9" fmla="*/ 0 h 72"/>
                  <a:gd name="T10" fmla="*/ 84 w 126"/>
                  <a:gd name="T11" fmla="*/ 9 h 72"/>
                  <a:gd name="T12" fmla="*/ 108 w 126"/>
                  <a:gd name="T13" fmla="*/ 6 h 72"/>
                  <a:gd name="T14" fmla="*/ 124 w 126"/>
                  <a:gd name="T15" fmla="*/ 9 h 72"/>
                  <a:gd name="T16" fmla="*/ 126 w 126"/>
                  <a:gd name="T17" fmla="*/ 19 h 72"/>
                  <a:gd name="T18" fmla="*/ 108 w 126"/>
                  <a:gd name="T19" fmla="*/ 39 h 72"/>
                  <a:gd name="T20" fmla="*/ 85 w 126"/>
                  <a:gd name="T21" fmla="*/ 52 h 72"/>
                  <a:gd name="T22" fmla="*/ 73 w 126"/>
                  <a:gd name="T23" fmla="*/ 55 h 72"/>
                  <a:gd name="T24" fmla="*/ 52 w 126"/>
                  <a:gd name="T25" fmla="*/ 60 h 72"/>
                  <a:gd name="T26" fmla="*/ 51 w 126"/>
                  <a:gd name="T27" fmla="*/ 72 h 72"/>
                  <a:gd name="T28" fmla="*/ 9 w 126"/>
                  <a:gd name="T29" fmla="*/ 70 h 72"/>
                  <a:gd name="T30" fmla="*/ 0 w 126"/>
                  <a:gd name="T31" fmla="*/ 51 h 72"/>
                  <a:gd name="T32" fmla="*/ 25 w 126"/>
                  <a:gd name="T33" fmla="*/ 51 h 72"/>
                  <a:gd name="T34" fmla="*/ 34 w 126"/>
                  <a:gd name="T35" fmla="*/ 36 h 72"/>
                  <a:gd name="T36" fmla="*/ 28 w 126"/>
                  <a:gd name="T37" fmla="*/ 28 h 72"/>
                  <a:gd name="T38" fmla="*/ 22 w 126"/>
                  <a:gd name="T39" fmla="*/ 25 h 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126" h="72">
                    <a:moveTo>
                      <a:pt x="10" y="15"/>
                    </a:moveTo>
                    <a:lnTo>
                      <a:pt x="22" y="7"/>
                    </a:lnTo>
                    <a:lnTo>
                      <a:pt x="40" y="15"/>
                    </a:lnTo>
                    <a:lnTo>
                      <a:pt x="48" y="7"/>
                    </a:lnTo>
                    <a:lnTo>
                      <a:pt x="58" y="0"/>
                    </a:lnTo>
                    <a:lnTo>
                      <a:pt x="84" y="9"/>
                    </a:lnTo>
                    <a:lnTo>
                      <a:pt x="108" y="6"/>
                    </a:lnTo>
                    <a:lnTo>
                      <a:pt x="124" y="9"/>
                    </a:lnTo>
                    <a:lnTo>
                      <a:pt x="126" y="19"/>
                    </a:lnTo>
                    <a:lnTo>
                      <a:pt x="108" y="39"/>
                    </a:lnTo>
                    <a:lnTo>
                      <a:pt x="85" y="52"/>
                    </a:lnTo>
                    <a:lnTo>
                      <a:pt x="73" y="55"/>
                    </a:lnTo>
                    <a:lnTo>
                      <a:pt x="52" y="60"/>
                    </a:lnTo>
                    <a:lnTo>
                      <a:pt x="51" y="72"/>
                    </a:lnTo>
                    <a:lnTo>
                      <a:pt x="9" y="70"/>
                    </a:lnTo>
                    <a:lnTo>
                      <a:pt x="0" y="51"/>
                    </a:lnTo>
                    <a:lnTo>
                      <a:pt x="25" y="51"/>
                    </a:lnTo>
                    <a:lnTo>
                      <a:pt x="34" y="36"/>
                    </a:lnTo>
                    <a:lnTo>
                      <a:pt x="28" y="28"/>
                    </a:lnTo>
                    <a:lnTo>
                      <a:pt x="22" y="25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16" name="Freeform 133">
                <a:extLst>
                  <a:ext uri="{FF2B5EF4-FFF2-40B4-BE49-F238E27FC236}">
                    <a16:creationId xmlns:a16="http://schemas.microsoft.com/office/drawing/2014/main" id="{38DE44EC-3784-4FDD-87EF-CB0FD72DE1D7}"/>
                  </a:ext>
                </a:extLst>
              </p:cNvPr>
              <p:cNvSpPr>
                <a:spLocks/>
              </p:cNvSpPr>
              <p:nvPr>
                <p:custDataLst>
                  <p:tags r:id="rId104"/>
                </p:custDataLst>
              </p:nvPr>
            </p:nvSpPr>
            <p:spPr bwMode="gray">
              <a:xfrm>
                <a:off x="6238093" y="3682819"/>
                <a:ext cx="192530" cy="106339"/>
              </a:xfrm>
              <a:custGeom>
                <a:avLst/>
                <a:gdLst>
                  <a:gd name="T0" fmla="*/ 17 w 127"/>
                  <a:gd name="T1" fmla="*/ 1 h 69"/>
                  <a:gd name="T2" fmla="*/ 8 w 127"/>
                  <a:gd name="T3" fmla="*/ 16 h 69"/>
                  <a:gd name="T4" fmla="*/ 2 w 127"/>
                  <a:gd name="T5" fmla="*/ 25 h 69"/>
                  <a:gd name="T6" fmla="*/ 20 w 127"/>
                  <a:gd name="T7" fmla="*/ 29 h 69"/>
                  <a:gd name="T8" fmla="*/ 29 w 127"/>
                  <a:gd name="T9" fmla="*/ 38 h 69"/>
                  <a:gd name="T10" fmla="*/ 42 w 127"/>
                  <a:gd name="T11" fmla="*/ 41 h 69"/>
                  <a:gd name="T12" fmla="*/ 64 w 127"/>
                  <a:gd name="T13" fmla="*/ 53 h 69"/>
                  <a:gd name="T14" fmla="*/ 80 w 127"/>
                  <a:gd name="T15" fmla="*/ 61 h 69"/>
                  <a:gd name="T16" fmla="*/ 92 w 127"/>
                  <a:gd name="T17" fmla="*/ 59 h 69"/>
                  <a:gd name="T18" fmla="*/ 117 w 127"/>
                  <a:gd name="T19" fmla="*/ 67 h 69"/>
                  <a:gd name="T20" fmla="*/ 123 w 127"/>
                  <a:gd name="T21" fmla="*/ 47 h 69"/>
                  <a:gd name="T22" fmla="*/ 125 w 127"/>
                  <a:gd name="T23" fmla="*/ 37 h 69"/>
                  <a:gd name="T24" fmla="*/ 111 w 127"/>
                  <a:gd name="T25" fmla="*/ 37 h 69"/>
                  <a:gd name="T26" fmla="*/ 93 w 127"/>
                  <a:gd name="T27" fmla="*/ 29 h 69"/>
                  <a:gd name="T28" fmla="*/ 71 w 127"/>
                  <a:gd name="T29" fmla="*/ 19 h 69"/>
                  <a:gd name="T30" fmla="*/ 54 w 127"/>
                  <a:gd name="T31" fmla="*/ 11 h 69"/>
                  <a:gd name="T32" fmla="*/ 33 w 127"/>
                  <a:gd name="T33" fmla="*/ 2 h 69"/>
                  <a:gd name="T34" fmla="*/ 17 w 127"/>
                  <a:gd name="T35" fmla="*/ 1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27" h="69">
                    <a:moveTo>
                      <a:pt x="17" y="1"/>
                    </a:moveTo>
                    <a:cubicBezTo>
                      <a:pt x="12" y="4"/>
                      <a:pt x="10" y="12"/>
                      <a:pt x="8" y="16"/>
                    </a:cubicBezTo>
                    <a:cubicBezTo>
                      <a:pt x="6" y="20"/>
                      <a:pt x="0" y="23"/>
                      <a:pt x="2" y="25"/>
                    </a:cubicBezTo>
                    <a:cubicBezTo>
                      <a:pt x="4" y="27"/>
                      <a:pt x="16" y="27"/>
                      <a:pt x="20" y="29"/>
                    </a:cubicBezTo>
                    <a:cubicBezTo>
                      <a:pt x="24" y="31"/>
                      <a:pt x="25" y="36"/>
                      <a:pt x="29" y="38"/>
                    </a:cubicBezTo>
                    <a:cubicBezTo>
                      <a:pt x="33" y="40"/>
                      <a:pt x="36" y="39"/>
                      <a:pt x="42" y="41"/>
                    </a:cubicBezTo>
                    <a:cubicBezTo>
                      <a:pt x="48" y="43"/>
                      <a:pt x="58" y="50"/>
                      <a:pt x="64" y="53"/>
                    </a:cubicBezTo>
                    <a:cubicBezTo>
                      <a:pt x="70" y="56"/>
                      <a:pt x="75" y="60"/>
                      <a:pt x="80" y="61"/>
                    </a:cubicBezTo>
                    <a:cubicBezTo>
                      <a:pt x="85" y="62"/>
                      <a:pt x="86" y="58"/>
                      <a:pt x="92" y="59"/>
                    </a:cubicBezTo>
                    <a:cubicBezTo>
                      <a:pt x="98" y="60"/>
                      <a:pt x="112" y="69"/>
                      <a:pt x="117" y="67"/>
                    </a:cubicBezTo>
                    <a:cubicBezTo>
                      <a:pt x="122" y="65"/>
                      <a:pt x="122" y="52"/>
                      <a:pt x="123" y="47"/>
                    </a:cubicBezTo>
                    <a:cubicBezTo>
                      <a:pt x="124" y="42"/>
                      <a:pt x="127" y="39"/>
                      <a:pt x="125" y="37"/>
                    </a:cubicBezTo>
                    <a:cubicBezTo>
                      <a:pt x="123" y="35"/>
                      <a:pt x="116" y="38"/>
                      <a:pt x="111" y="37"/>
                    </a:cubicBezTo>
                    <a:cubicBezTo>
                      <a:pt x="106" y="36"/>
                      <a:pt x="100" y="32"/>
                      <a:pt x="93" y="29"/>
                    </a:cubicBezTo>
                    <a:cubicBezTo>
                      <a:pt x="86" y="26"/>
                      <a:pt x="77" y="22"/>
                      <a:pt x="71" y="19"/>
                    </a:cubicBezTo>
                    <a:cubicBezTo>
                      <a:pt x="65" y="16"/>
                      <a:pt x="60" y="14"/>
                      <a:pt x="54" y="11"/>
                    </a:cubicBezTo>
                    <a:cubicBezTo>
                      <a:pt x="48" y="8"/>
                      <a:pt x="39" y="4"/>
                      <a:pt x="33" y="2"/>
                    </a:cubicBezTo>
                    <a:cubicBezTo>
                      <a:pt x="27" y="0"/>
                      <a:pt x="20" y="1"/>
                      <a:pt x="17" y="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17" name="Freeform 134">
                <a:extLst>
                  <a:ext uri="{FF2B5EF4-FFF2-40B4-BE49-F238E27FC236}">
                    <a16:creationId xmlns:a16="http://schemas.microsoft.com/office/drawing/2014/main" id="{77EAAD40-0BA2-4B9C-80BD-EB87050E401C}"/>
                  </a:ext>
                </a:extLst>
              </p:cNvPr>
              <p:cNvSpPr>
                <a:spLocks/>
              </p:cNvSpPr>
              <p:nvPr>
                <p:custDataLst>
                  <p:tags r:id="rId105"/>
                </p:custDataLst>
              </p:nvPr>
            </p:nvSpPr>
            <p:spPr bwMode="gray">
              <a:xfrm>
                <a:off x="6088512" y="2955405"/>
                <a:ext cx="1393619" cy="1026394"/>
              </a:xfrm>
              <a:custGeom>
                <a:avLst/>
                <a:gdLst>
                  <a:gd name="T0" fmla="*/ 637 w 926"/>
                  <a:gd name="T1" fmla="*/ 140 h 666"/>
                  <a:gd name="T2" fmla="*/ 682 w 926"/>
                  <a:gd name="T3" fmla="*/ 137 h 666"/>
                  <a:gd name="T4" fmla="*/ 642 w 926"/>
                  <a:gd name="T5" fmla="*/ 170 h 666"/>
                  <a:gd name="T6" fmla="*/ 603 w 926"/>
                  <a:gd name="T7" fmla="*/ 201 h 666"/>
                  <a:gd name="T8" fmla="*/ 571 w 926"/>
                  <a:gd name="T9" fmla="*/ 213 h 666"/>
                  <a:gd name="T10" fmla="*/ 531 w 926"/>
                  <a:gd name="T11" fmla="*/ 243 h 666"/>
                  <a:gd name="T12" fmla="*/ 474 w 926"/>
                  <a:gd name="T13" fmla="*/ 264 h 666"/>
                  <a:gd name="T14" fmla="*/ 418 w 926"/>
                  <a:gd name="T15" fmla="*/ 243 h 666"/>
                  <a:gd name="T16" fmla="*/ 331 w 926"/>
                  <a:gd name="T17" fmla="*/ 219 h 666"/>
                  <a:gd name="T18" fmla="*/ 294 w 926"/>
                  <a:gd name="T19" fmla="*/ 197 h 666"/>
                  <a:gd name="T20" fmla="*/ 268 w 926"/>
                  <a:gd name="T21" fmla="*/ 155 h 666"/>
                  <a:gd name="T22" fmla="*/ 232 w 926"/>
                  <a:gd name="T23" fmla="*/ 117 h 666"/>
                  <a:gd name="T24" fmla="*/ 195 w 926"/>
                  <a:gd name="T25" fmla="*/ 156 h 666"/>
                  <a:gd name="T26" fmla="*/ 141 w 926"/>
                  <a:gd name="T27" fmla="*/ 179 h 666"/>
                  <a:gd name="T28" fmla="*/ 111 w 926"/>
                  <a:gd name="T29" fmla="*/ 194 h 666"/>
                  <a:gd name="T30" fmla="*/ 120 w 926"/>
                  <a:gd name="T31" fmla="*/ 249 h 666"/>
                  <a:gd name="T32" fmla="*/ 70 w 926"/>
                  <a:gd name="T33" fmla="*/ 272 h 666"/>
                  <a:gd name="T34" fmla="*/ 25 w 926"/>
                  <a:gd name="T35" fmla="*/ 287 h 666"/>
                  <a:gd name="T36" fmla="*/ 16 w 926"/>
                  <a:gd name="T37" fmla="*/ 327 h 666"/>
                  <a:gd name="T38" fmla="*/ 64 w 926"/>
                  <a:gd name="T39" fmla="*/ 374 h 666"/>
                  <a:gd name="T40" fmla="*/ 103 w 926"/>
                  <a:gd name="T41" fmla="*/ 396 h 666"/>
                  <a:gd name="T42" fmla="*/ 87 w 926"/>
                  <a:gd name="T43" fmla="*/ 437 h 666"/>
                  <a:gd name="T44" fmla="*/ 129 w 926"/>
                  <a:gd name="T45" fmla="*/ 474 h 666"/>
                  <a:gd name="T46" fmla="*/ 227 w 926"/>
                  <a:gd name="T47" fmla="*/ 503 h 666"/>
                  <a:gd name="T48" fmla="*/ 298 w 926"/>
                  <a:gd name="T49" fmla="*/ 498 h 666"/>
                  <a:gd name="T50" fmla="*/ 367 w 926"/>
                  <a:gd name="T51" fmla="*/ 498 h 666"/>
                  <a:gd name="T52" fmla="*/ 369 w 926"/>
                  <a:gd name="T53" fmla="*/ 578 h 666"/>
                  <a:gd name="T54" fmla="*/ 405 w 926"/>
                  <a:gd name="T55" fmla="*/ 615 h 666"/>
                  <a:gd name="T56" fmla="*/ 459 w 926"/>
                  <a:gd name="T57" fmla="*/ 600 h 666"/>
                  <a:gd name="T58" fmla="*/ 514 w 926"/>
                  <a:gd name="T59" fmla="*/ 618 h 666"/>
                  <a:gd name="T60" fmla="*/ 532 w 926"/>
                  <a:gd name="T61" fmla="*/ 665 h 666"/>
                  <a:gd name="T62" fmla="*/ 568 w 926"/>
                  <a:gd name="T63" fmla="*/ 624 h 666"/>
                  <a:gd name="T64" fmla="*/ 607 w 926"/>
                  <a:gd name="T65" fmla="*/ 606 h 666"/>
                  <a:gd name="T66" fmla="*/ 696 w 926"/>
                  <a:gd name="T67" fmla="*/ 537 h 666"/>
                  <a:gd name="T68" fmla="*/ 724 w 926"/>
                  <a:gd name="T69" fmla="*/ 456 h 666"/>
                  <a:gd name="T70" fmla="*/ 690 w 926"/>
                  <a:gd name="T71" fmla="*/ 392 h 666"/>
                  <a:gd name="T72" fmla="*/ 700 w 926"/>
                  <a:gd name="T73" fmla="*/ 347 h 666"/>
                  <a:gd name="T74" fmla="*/ 660 w 926"/>
                  <a:gd name="T75" fmla="*/ 314 h 666"/>
                  <a:gd name="T76" fmla="*/ 729 w 926"/>
                  <a:gd name="T77" fmla="*/ 279 h 666"/>
                  <a:gd name="T78" fmla="*/ 747 w 926"/>
                  <a:gd name="T79" fmla="*/ 296 h 666"/>
                  <a:gd name="T80" fmla="*/ 795 w 926"/>
                  <a:gd name="T81" fmla="*/ 264 h 666"/>
                  <a:gd name="T82" fmla="*/ 841 w 926"/>
                  <a:gd name="T83" fmla="*/ 236 h 666"/>
                  <a:gd name="T84" fmla="*/ 868 w 926"/>
                  <a:gd name="T85" fmla="*/ 197 h 666"/>
                  <a:gd name="T86" fmla="*/ 915 w 926"/>
                  <a:gd name="T87" fmla="*/ 153 h 666"/>
                  <a:gd name="T88" fmla="*/ 858 w 926"/>
                  <a:gd name="T89" fmla="*/ 128 h 666"/>
                  <a:gd name="T90" fmla="*/ 807 w 926"/>
                  <a:gd name="T91" fmla="*/ 59 h 666"/>
                  <a:gd name="T92" fmla="*/ 700 w 926"/>
                  <a:gd name="T93" fmla="*/ 14 h 666"/>
                  <a:gd name="T94" fmla="*/ 691 w 926"/>
                  <a:gd name="T95" fmla="*/ 87 h 66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926" h="666">
                    <a:moveTo>
                      <a:pt x="640" y="99"/>
                    </a:moveTo>
                    <a:cubicBezTo>
                      <a:pt x="637" y="101"/>
                      <a:pt x="635" y="112"/>
                      <a:pt x="634" y="116"/>
                    </a:cubicBezTo>
                    <a:cubicBezTo>
                      <a:pt x="633" y="120"/>
                      <a:pt x="636" y="122"/>
                      <a:pt x="636" y="126"/>
                    </a:cubicBezTo>
                    <a:cubicBezTo>
                      <a:pt x="636" y="130"/>
                      <a:pt x="636" y="139"/>
                      <a:pt x="637" y="140"/>
                    </a:cubicBezTo>
                    <a:cubicBezTo>
                      <a:pt x="638" y="141"/>
                      <a:pt x="641" y="132"/>
                      <a:pt x="645" y="132"/>
                    </a:cubicBezTo>
                    <a:cubicBezTo>
                      <a:pt x="649" y="132"/>
                      <a:pt x="657" y="142"/>
                      <a:pt x="661" y="141"/>
                    </a:cubicBezTo>
                    <a:cubicBezTo>
                      <a:pt x="665" y="140"/>
                      <a:pt x="667" y="129"/>
                      <a:pt x="670" y="128"/>
                    </a:cubicBezTo>
                    <a:cubicBezTo>
                      <a:pt x="673" y="127"/>
                      <a:pt x="679" y="132"/>
                      <a:pt x="682" y="137"/>
                    </a:cubicBezTo>
                    <a:cubicBezTo>
                      <a:pt x="685" y="142"/>
                      <a:pt x="694" y="154"/>
                      <a:pt x="691" y="158"/>
                    </a:cubicBezTo>
                    <a:cubicBezTo>
                      <a:pt x="688" y="162"/>
                      <a:pt x="672" y="160"/>
                      <a:pt x="666" y="161"/>
                    </a:cubicBezTo>
                    <a:cubicBezTo>
                      <a:pt x="660" y="162"/>
                      <a:pt x="658" y="163"/>
                      <a:pt x="654" y="164"/>
                    </a:cubicBezTo>
                    <a:cubicBezTo>
                      <a:pt x="650" y="165"/>
                      <a:pt x="645" y="167"/>
                      <a:pt x="642" y="170"/>
                    </a:cubicBezTo>
                    <a:cubicBezTo>
                      <a:pt x="639" y="173"/>
                      <a:pt x="638" y="182"/>
                      <a:pt x="634" y="185"/>
                    </a:cubicBezTo>
                    <a:cubicBezTo>
                      <a:pt x="630" y="188"/>
                      <a:pt x="624" y="185"/>
                      <a:pt x="621" y="186"/>
                    </a:cubicBezTo>
                    <a:cubicBezTo>
                      <a:pt x="618" y="187"/>
                      <a:pt x="616" y="192"/>
                      <a:pt x="613" y="194"/>
                    </a:cubicBezTo>
                    <a:cubicBezTo>
                      <a:pt x="610" y="196"/>
                      <a:pt x="607" y="201"/>
                      <a:pt x="603" y="201"/>
                    </a:cubicBezTo>
                    <a:cubicBezTo>
                      <a:pt x="599" y="201"/>
                      <a:pt x="593" y="196"/>
                      <a:pt x="589" y="195"/>
                    </a:cubicBezTo>
                    <a:cubicBezTo>
                      <a:pt x="585" y="194"/>
                      <a:pt x="579" y="191"/>
                      <a:pt x="576" y="192"/>
                    </a:cubicBezTo>
                    <a:cubicBezTo>
                      <a:pt x="573" y="193"/>
                      <a:pt x="571" y="197"/>
                      <a:pt x="570" y="200"/>
                    </a:cubicBezTo>
                    <a:cubicBezTo>
                      <a:pt x="569" y="203"/>
                      <a:pt x="571" y="208"/>
                      <a:pt x="571" y="213"/>
                    </a:cubicBezTo>
                    <a:cubicBezTo>
                      <a:pt x="571" y="218"/>
                      <a:pt x="570" y="224"/>
                      <a:pt x="568" y="228"/>
                    </a:cubicBezTo>
                    <a:cubicBezTo>
                      <a:pt x="566" y="232"/>
                      <a:pt x="563" y="233"/>
                      <a:pt x="559" y="236"/>
                    </a:cubicBezTo>
                    <a:cubicBezTo>
                      <a:pt x="555" y="239"/>
                      <a:pt x="549" y="245"/>
                      <a:pt x="544" y="246"/>
                    </a:cubicBezTo>
                    <a:cubicBezTo>
                      <a:pt x="539" y="247"/>
                      <a:pt x="536" y="242"/>
                      <a:pt x="531" y="243"/>
                    </a:cubicBezTo>
                    <a:cubicBezTo>
                      <a:pt x="526" y="244"/>
                      <a:pt x="521" y="248"/>
                      <a:pt x="516" y="249"/>
                    </a:cubicBezTo>
                    <a:cubicBezTo>
                      <a:pt x="511" y="250"/>
                      <a:pt x="503" y="248"/>
                      <a:pt x="498" y="249"/>
                    </a:cubicBezTo>
                    <a:cubicBezTo>
                      <a:pt x="493" y="250"/>
                      <a:pt x="490" y="252"/>
                      <a:pt x="486" y="255"/>
                    </a:cubicBezTo>
                    <a:cubicBezTo>
                      <a:pt x="482" y="258"/>
                      <a:pt x="479" y="263"/>
                      <a:pt x="474" y="264"/>
                    </a:cubicBezTo>
                    <a:cubicBezTo>
                      <a:pt x="469" y="265"/>
                      <a:pt x="462" y="262"/>
                      <a:pt x="457" y="261"/>
                    </a:cubicBezTo>
                    <a:cubicBezTo>
                      <a:pt x="452" y="260"/>
                      <a:pt x="448" y="257"/>
                      <a:pt x="444" y="255"/>
                    </a:cubicBezTo>
                    <a:cubicBezTo>
                      <a:pt x="440" y="253"/>
                      <a:pt x="439" y="248"/>
                      <a:pt x="435" y="246"/>
                    </a:cubicBezTo>
                    <a:cubicBezTo>
                      <a:pt x="431" y="244"/>
                      <a:pt x="424" y="243"/>
                      <a:pt x="418" y="243"/>
                    </a:cubicBezTo>
                    <a:cubicBezTo>
                      <a:pt x="412" y="243"/>
                      <a:pt x="409" y="243"/>
                      <a:pt x="400" y="243"/>
                    </a:cubicBezTo>
                    <a:cubicBezTo>
                      <a:pt x="391" y="243"/>
                      <a:pt x="372" y="244"/>
                      <a:pt x="364" y="243"/>
                    </a:cubicBezTo>
                    <a:cubicBezTo>
                      <a:pt x="356" y="242"/>
                      <a:pt x="357" y="243"/>
                      <a:pt x="352" y="239"/>
                    </a:cubicBezTo>
                    <a:cubicBezTo>
                      <a:pt x="347" y="235"/>
                      <a:pt x="334" y="224"/>
                      <a:pt x="331" y="219"/>
                    </a:cubicBezTo>
                    <a:cubicBezTo>
                      <a:pt x="328" y="214"/>
                      <a:pt x="336" y="208"/>
                      <a:pt x="334" y="206"/>
                    </a:cubicBezTo>
                    <a:cubicBezTo>
                      <a:pt x="332" y="204"/>
                      <a:pt x="324" y="208"/>
                      <a:pt x="321" y="206"/>
                    </a:cubicBezTo>
                    <a:cubicBezTo>
                      <a:pt x="318" y="204"/>
                      <a:pt x="316" y="196"/>
                      <a:pt x="312" y="195"/>
                    </a:cubicBezTo>
                    <a:cubicBezTo>
                      <a:pt x="308" y="194"/>
                      <a:pt x="299" y="198"/>
                      <a:pt x="294" y="197"/>
                    </a:cubicBezTo>
                    <a:cubicBezTo>
                      <a:pt x="289" y="196"/>
                      <a:pt x="286" y="192"/>
                      <a:pt x="282" y="191"/>
                    </a:cubicBezTo>
                    <a:cubicBezTo>
                      <a:pt x="278" y="190"/>
                      <a:pt x="272" y="194"/>
                      <a:pt x="270" y="191"/>
                    </a:cubicBezTo>
                    <a:cubicBezTo>
                      <a:pt x="268" y="188"/>
                      <a:pt x="267" y="179"/>
                      <a:pt x="267" y="173"/>
                    </a:cubicBezTo>
                    <a:cubicBezTo>
                      <a:pt x="267" y="167"/>
                      <a:pt x="269" y="160"/>
                      <a:pt x="268" y="155"/>
                    </a:cubicBezTo>
                    <a:cubicBezTo>
                      <a:pt x="267" y="150"/>
                      <a:pt x="264" y="147"/>
                      <a:pt x="261" y="143"/>
                    </a:cubicBezTo>
                    <a:cubicBezTo>
                      <a:pt x="258" y="139"/>
                      <a:pt x="256" y="131"/>
                      <a:pt x="252" y="129"/>
                    </a:cubicBezTo>
                    <a:cubicBezTo>
                      <a:pt x="248" y="127"/>
                      <a:pt x="241" y="131"/>
                      <a:pt x="238" y="129"/>
                    </a:cubicBezTo>
                    <a:cubicBezTo>
                      <a:pt x="235" y="127"/>
                      <a:pt x="234" y="120"/>
                      <a:pt x="232" y="117"/>
                    </a:cubicBezTo>
                    <a:cubicBezTo>
                      <a:pt x="230" y="114"/>
                      <a:pt x="227" y="108"/>
                      <a:pt x="223" y="108"/>
                    </a:cubicBezTo>
                    <a:cubicBezTo>
                      <a:pt x="219" y="108"/>
                      <a:pt x="215" y="117"/>
                      <a:pt x="210" y="120"/>
                    </a:cubicBezTo>
                    <a:cubicBezTo>
                      <a:pt x="205" y="123"/>
                      <a:pt x="194" y="119"/>
                      <a:pt x="192" y="125"/>
                    </a:cubicBezTo>
                    <a:cubicBezTo>
                      <a:pt x="190" y="131"/>
                      <a:pt x="197" y="152"/>
                      <a:pt x="195" y="156"/>
                    </a:cubicBezTo>
                    <a:cubicBezTo>
                      <a:pt x="193" y="160"/>
                      <a:pt x="186" y="150"/>
                      <a:pt x="180" y="149"/>
                    </a:cubicBezTo>
                    <a:cubicBezTo>
                      <a:pt x="174" y="148"/>
                      <a:pt x="165" y="149"/>
                      <a:pt x="160" y="150"/>
                    </a:cubicBezTo>
                    <a:cubicBezTo>
                      <a:pt x="155" y="151"/>
                      <a:pt x="151" y="148"/>
                      <a:pt x="148" y="153"/>
                    </a:cubicBezTo>
                    <a:cubicBezTo>
                      <a:pt x="145" y="158"/>
                      <a:pt x="142" y="171"/>
                      <a:pt x="141" y="179"/>
                    </a:cubicBezTo>
                    <a:cubicBezTo>
                      <a:pt x="140" y="187"/>
                      <a:pt x="146" y="202"/>
                      <a:pt x="145" y="203"/>
                    </a:cubicBezTo>
                    <a:cubicBezTo>
                      <a:pt x="144" y="204"/>
                      <a:pt x="138" y="188"/>
                      <a:pt x="136" y="186"/>
                    </a:cubicBezTo>
                    <a:cubicBezTo>
                      <a:pt x="134" y="184"/>
                      <a:pt x="136" y="188"/>
                      <a:pt x="132" y="189"/>
                    </a:cubicBezTo>
                    <a:cubicBezTo>
                      <a:pt x="128" y="190"/>
                      <a:pt x="115" y="192"/>
                      <a:pt x="111" y="194"/>
                    </a:cubicBezTo>
                    <a:cubicBezTo>
                      <a:pt x="107" y="196"/>
                      <a:pt x="107" y="198"/>
                      <a:pt x="108" y="204"/>
                    </a:cubicBezTo>
                    <a:cubicBezTo>
                      <a:pt x="109" y="210"/>
                      <a:pt x="118" y="228"/>
                      <a:pt x="118" y="233"/>
                    </a:cubicBezTo>
                    <a:cubicBezTo>
                      <a:pt x="118" y="238"/>
                      <a:pt x="109" y="234"/>
                      <a:pt x="109" y="237"/>
                    </a:cubicBezTo>
                    <a:cubicBezTo>
                      <a:pt x="109" y="240"/>
                      <a:pt x="120" y="246"/>
                      <a:pt x="120" y="249"/>
                    </a:cubicBezTo>
                    <a:cubicBezTo>
                      <a:pt x="120" y="252"/>
                      <a:pt x="116" y="256"/>
                      <a:pt x="111" y="258"/>
                    </a:cubicBezTo>
                    <a:cubicBezTo>
                      <a:pt x="106" y="260"/>
                      <a:pt x="96" y="262"/>
                      <a:pt x="91" y="264"/>
                    </a:cubicBezTo>
                    <a:cubicBezTo>
                      <a:pt x="86" y="266"/>
                      <a:pt x="84" y="268"/>
                      <a:pt x="81" y="269"/>
                    </a:cubicBezTo>
                    <a:cubicBezTo>
                      <a:pt x="78" y="270"/>
                      <a:pt x="74" y="271"/>
                      <a:pt x="70" y="272"/>
                    </a:cubicBezTo>
                    <a:cubicBezTo>
                      <a:pt x="66" y="273"/>
                      <a:pt x="61" y="273"/>
                      <a:pt x="57" y="276"/>
                    </a:cubicBezTo>
                    <a:cubicBezTo>
                      <a:pt x="53" y="279"/>
                      <a:pt x="51" y="288"/>
                      <a:pt x="48" y="290"/>
                    </a:cubicBezTo>
                    <a:cubicBezTo>
                      <a:pt x="45" y="292"/>
                      <a:pt x="40" y="287"/>
                      <a:pt x="36" y="287"/>
                    </a:cubicBezTo>
                    <a:cubicBezTo>
                      <a:pt x="32" y="287"/>
                      <a:pt x="30" y="285"/>
                      <a:pt x="25" y="287"/>
                    </a:cubicBezTo>
                    <a:cubicBezTo>
                      <a:pt x="20" y="289"/>
                      <a:pt x="6" y="295"/>
                      <a:pt x="3" y="299"/>
                    </a:cubicBezTo>
                    <a:cubicBezTo>
                      <a:pt x="0" y="303"/>
                      <a:pt x="7" y="307"/>
                      <a:pt x="7" y="311"/>
                    </a:cubicBezTo>
                    <a:cubicBezTo>
                      <a:pt x="7" y="315"/>
                      <a:pt x="2" y="318"/>
                      <a:pt x="4" y="321"/>
                    </a:cubicBezTo>
                    <a:cubicBezTo>
                      <a:pt x="6" y="324"/>
                      <a:pt x="12" y="325"/>
                      <a:pt x="16" y="327"/>
                    </a:cubicBezTo>
                    <a:cubicBezTo>
                      <a:pt x="20" y="329"/>
                      <a:pt x="27" y="330"/>
                      <a:pt x="30" y="335"/>
                    </a:cubicBezTo>
                    <a:cubicBezTo>
                      <a:pt x="33" y="340"/>
                      <a:pt x="33" y="351"/>
                      <a:pt x="37" y="356"/>
                    </a:cubicBezTo>
                    <a:cubicBezTo>
                      <a:pt x="41" y="361"/>
                      <a:pt x="51" y="360"/>
                      <a:pt x="55" y="363"/>
                    </a:cubicBezTo>
                    <a:cubicBezTo>
                      <a:pt x="59" y="366"/>
                      <a:pt x="58" y="373"/>
                      <a:pt x="64" y="374"/>
                    </a:cubicBezTo>
                    <a:cubicBezTo>
                      <a:pt x="70" y="375"/>
                      <a:pt x="84" y="372"/>
                      <a:pt x="89" y="371"/>
                    </a:cubicBezTo>
                    <a:cubicBezTo>
                      <a:pt x="94" y="370"/>
                      <a:pt x="94" y="365"/>
                      <a:pt x="97" y="366"/>
                    </a:cubicBezTo>
                    <a:cubicBezTo>
                      <a:pt x="100" y="367"/>
                      <a:pt x="105" y="375"/>
                      <a:pt x="106" y="380"/>
                    </a:cubicBezTo>
                    <a:cubicBezTo>
                      <a:pt x="107" y="385"/>
                      <a:pt x="105" y="391"/>
                      <a:pt x="103" y="396"/>
                    </a:cubicBezTo>
                    <a:cubicBezTo>
                      <a:pt x="101" y="401"/>
                      <a:pt x="92" y="409"/>
                      <a:pt x="91" y="413"/>
                    </a:cubicBezTo>
                    <a:cubicBezTo>
                      <a:pt x="90" y="417"/>
                      <a:pt x="96" y="416"/>
                      <a:pt x="97" y="419"/>
                    </a:cubicBezTo>
                    <a:cubicBezTo>
                      <a:pt x="98" y="422"/>
                      <a:pt x="101" y="426"/>
                      <a:pt x="99" y="429"/>
                    </a:cubicBezTo>
                    <a:cubicBezTo>
                      <a:pt x="97" y="432"/>
                      <a:pt x="88" y="433"/>
                      <a:pt x="87" y="437"/>
                    </a:cubicBezTo>
                    <a:cubicBezTo>
                      <a:pt x="86" y="441"/>
                      <a:pt x="88" y="448"/>
                      <a:pt x="90" y="452"/>
                    </a:cubicBezTo>
                    <a:cubicBezTo>
                      <a:pt x="92" y="456"/>
                      <a:pt x="94" y="458"/>
                      <a:pt x="99" y="462"/>
                    </a:cubicBezTo>
                    <a:cubicBezTo>
                      <a:pt x="104" y="466"/>
                      <a:pt x="113" y="471"/>
                      <a:pt x="118" y="473"/>
                    </a:cubicBezTo>
                    <a:cubicBezTo>
                      <a:pt x="123" y="475"/>
                      <a:pt x="124" y="472"/>
                      <a:pt x="129" y="474"/>
                    </a:cubicBezTo>
                    <a:cubicBezTo>
                      <a:pt x="134" y="476"/>
                      <a:pt x="136" y="478"/>
                      <a:pt x="148" y="483"/>
                    </a:cubicBezTo>
                    <a:cubicBezTo>
                      <a:pt x="160" y="488"/>
                      <a:pt x="192" y="500"/>
                      <a:pt x="203" y="504"/>
                    </a:cubicBezTo>
                    <a:cubicBezTo>
                      <a:pt x="214" y="508"/>
                      <a:pt x="213" y="510"/>
                      <a:pt x="217" y="510"/>
                    </a:cubicBezTo>
                    <a:cubicBezTo>
                      <a:pt x="221" y="510"/>
                      <a:pt x="222" y="504"/>
                      <a:pt x="227" y="503"/>
                    </a:cubicBezTo>
                    <a:cubicBezTo>
                      <a:pt x="232" y="502"/>
                      <a:pt x="242" y="506"/>
                      <a:pt x="249" y="506"/>
                    </a:cubicBezTo>
                    <a:cubicBezTo>
                      <a:pt x="256" y="506"/>
                      <a:pt x="263" y="504"/>
                      <a:pt x="268" y="506"/>
                    </a:cubicBezTo>
                    <a:cubicBezTo>
                      <a:pt x="273" y="508"/>
                      <a:pt x="274" y="517"/>
                      <a:pt x="279" y="516"/>
                    </a:cubicBezTo>
                    <a:cubicBezTo>
                      <a:pt x="284" y="515"/>
                      <a:pt x="291" y="502"/>
                      <a:pt x="298" y="498"/>
                    </a:cubicBezTo>
                    <a:cubicBezTo>
                      <a:pt x="305" y="494"/>
                      <a:pt x="314" y="494"/>
                      <a:pt x="319" y="492"/>
                    </a:cubicBezTo>
                    <a:cubicBezTo>
                      <a:pt x="324" y="490"/>
                      <a:pt x="324" y="488"/>
                      <a:pt x="328" y="488"/>
                    </a:cubicBezTo>
                    <a:cubicBezTo>
                      <a:pt x="332" y="488"/>
                      <a:pt x="339" y="490"/>
                      <a:pt x="345" y="492"/>
                    </a:cubicBezTo>
                    <a:cubicBezTo>
                      <a:pt x="351" y="494"/>
                      <a:pt x="361" y="494"/>
                      <a:pt x="367" y="498"/>
                    </a:cubicBezTo>
                    <a:cubicBezTo>
                      <a:pt x="373" y="502"/>
                      <a:pt x="378" y="508"/>
                      <a:pt x="381" y="516"/>
                    </a:cubicBezTo>
                    <a:cubicBezTo>
                      <a:pt x="384" y="524"/>
                      <a:pt x="386" y="539"/>
                      <a:pt x="384" y="546"/>
                    </a:cubicBezTo>
                    <a:cubicBezTo>
                      <a:pt x="382" y="553"/>
                      <a:pt x="371" y="556"/>
                      <a:pt x="369" y="561"/>
                    </a:cubicBezTo>
                    <a:cubicBezTo>
                      <a:pt x="367" y="566"/>
                      <a:pt x="367" y="576"/>
                      <a:pt x="369" y="578"/>
                    </a:cubicBezTo>
                    <a:cubicBezTo>
                      <a:pt x="371" y="580"/>
                      <a:pt x="376" y="571"/>
                      <a:pt x="379" y="573"/>
                    </a:cubicBezTo>
                    <a:cubicBezTo>
                      <a:pt x="382" y="575"/>
                      <a:pt x="385" y="586"/>
                      <a:pt x="388" y="590"/>
                    </a:cubicBezTo>
                    <a:cubicBezTo>
                      <a:pt x="391" y="594"/>
                      <a:pt x="391" y="595"/>
                      <a:pt x="394" y="599"/>
                    </a:cubicBezTo>
                    <a:cubicBezTo>
                      <a:pt x="397" y="603"/>
                      <a:pt x="401" y="612"/>
                      <a:pt x="405" y="615"/>
                    </a:cubicBezTo>
                    <a:cubicBezTo>
                      <a:pt x="409" y="618"/>
                      <a:pt x="415" y="618"/>
                      <a:pt x="420" y="615"/>
                    </a:cubicBezTo>
                    <a:cubicBezTo>
                      <a:pt x="425" y="612"/>
                      <a:pt x="431" y="600"/>
                      <a:pt x="435" y="596"/>
                    </a:cubicBezTo>
                    <a:cubicBezTo>
                      <a:pt x="439" y="592"/>
                      <a:pt x="440" y="589"/>
                      <a:pt x="444" y="590"/>
                    </a:cubicBezTo>
                    <a:cubicBezTo>
                      <a:pt x="448" y="591"/>
                      <a:pt x="453" y="600"/>
                      <a:pt x="459" y="600"/>
                    </a:cubicBezTo>
                    <a:cubicBezTo>
                      <a:pt x="465" y="600"/>
                      <a:pt x="474" y="589"/>
                      <a:pt x="480" y="588"/>
                    </a:cubicBezTo>
                    <a:cubicBezTo>
                      <a:pt x="486" y="587"/>
                      <a:pt x="490" y="591"/>
                      <a:pt x="495" y="594"/>
                    </a:cubicBezTo>
                    <a:cubicBezTo>
                      <a:pt x="500" y="597"/>
                      <a:pt x="505" y="604"/>
                      <a:pt x="508" y="608"/>
                    </a:cubicBezTo>
                    <a:cubicBezTo>
                      <a:pt x="511" y="612"/>
                      <a:pt x="511" y="616"/>
                      <a:pt x="514" y="618"/>
                    </a:cubicBezTo>
                    <a:cubicBezTo>
                      <a:pt x="517" y="620"/>
                      <a:pt x="524" y="618"/>
                      <a:pt x="529" y="621"/>
                    </a:cubicBezTo>
                    <a:cubicBezTo>
                      <a:pt x="534" y="624"/>
                      <a:pt x="543" y="633"/>
                      <a:pt x="543" y="638"/>
                    </a:cubicBezTo>
                    <a:cubicBezTo>
                      <a:pt x="543" y="643"/>
                      <a:pt x="533" y="650"/>
                      <a:pt x="531" y="654"/>
                    </a:cubicBezTo>
                    <a:cubicBezTo>
                      <a:pt x="529" y="658"/>
                      <a:pt x="529" y="664"/>
                      <a:pt x="532" y="665"/>
                    </a:cubicBezTo>
                    <a:cubicBezTo>
                      <a:pt x="535" y="666"/>
                      <a:pt x="543" y="663"/>
                      <a:pt x="547" y="663"/>
                    </a:cubicBezTo>
                    <a:cubicBezTo>
                      <a:pt x="551" y="663"/>
                      <a:pt x="552" y="666"/>
                      <a:pt x="555" y="662"/>
                    </a:cubicBezTo>
                    <a:cubicBezTo>
                      <a:pt x="558" y="658"/>
                      <a:pt x="565" y="642"/>
                      <a:pt x="567" y="636"/>
                    </a:cubicBezTo>
                    <a:cubicBezTo>
                      <a:pt x="569" y="630"/>
                      <a:pt x="564" y="627"/>
                      <a:pt x="568" y="624"/>
                    </a:cubicBezTo>
                    <a:cubicBezTo>
                      <a:pt x="572" y="621"/>
                      <a:pt x="584" y="619"/>
                      <a:pt x="589" y="615"/>
                    </a:cubicBezTo>
                    <a:cubicBezTo>
                      <a:pt x="594" y="611"/>
                      <a:pt x="595" y="604"/>
                      <a:pt x="597" y="600"/>
                    </a:cubicBezTo>
                    <a:cubicBezTo>
                      <a:pt x="599" y="596"/>
                      <a:pt x="599" y="589"/>
                      <a:pt x="601" y="590"/>
                    </a:cubicBezTo>
                    <a:cubicBezTo>
                      <a:pt x="603" y="591"/>
                      <a:pt x="603" y="605"/>
                      <a:pt x="607" y="606"/>
                    </a:cubicBezTo>
                    <a:cubicBezTo>
                      <a:pt x="611" y="607"/>
                      <a:pt x="616" y="599"/>
                      <a:pt x="624" y="596"/>
                    </a:cubicBezTo>
                    <a:cubicBezTo>
                      <a:pt x="632" y="593"/>
                      <a:pt x="644" y="592"/>
                      <a:pt x="654" y="585"/>
                    </a:cubicBezTo>
                    <a:cubicBezTo>
                      <a:pt x="664" y="578"/>
                      <a:pt x="677" y="565"/>
                      <a:pt x="684" y="557"/>
                    </a:cubicBezTo>
                    <a:cubicBezTo>
                      <a:pt x="691" y="549"/>
                      <a:pt x="690" y="546"/>
                      <a:pt x="696" y="537"/>
                    </a:cubicBezTo>
                    <a:cubicBezTo>
                      <a:pt x="702" y="528"/>
                      <a:pt x="712" y="515"/>
                      <a:pt x="718" y="503"/>
                    </a:cubicBezTo>
                    <a:cubicBezTo>
                      <a:pt x="724" y="491"/>
                      <a:pt x="735" y="472"/>
                      <a:pt x="733" y="467"/>
                    </a:cubicBezTo>
                    <a:cubicBezTo>
                      <a:pt x="731" y="462"/>
                      <a:pt x="709" y="475"/>
                      <a:pt x="708" y="473"/>
                    </a:cubicBezTo>
                    <a:cubicBezTo>
                      <a:pt x="707" y="471"/>
                      <a:pt x="723" y="461"/>
                      <a:pt x="724" y="456"/>
                    </a:cubicBezTo>
                    <a:cubicBezTo>
                      <a:pt x="725" y="451"/>
                      <a:pt x="718" y="450"/>
                      <a:pt x="715" y="444"/>
                    </a:cubicBezTo>
                    <a:cubicBezTo>
                      <a:pt x="712" y="438"/>
                      <a:pt x="710" y="423"/>
                      <a:pt x="708" y="417"/>
                    </a:cubicBezTo>
                    <a:cubicBezTo>
                      <a:pt x="706" y="411"/>
                      <a:pt x="705" y="411"/>
                      <a:pt x="702" y="407"/>
                    </a:cubicBezTo>
                    <a:cubicBezTo>
                      <a:pt x="699" y="403"/>
                      <a:pt x="690" y="399"/>
                      <a:pt x="690" y="392"/>
                    </a:cubicBezTo>
                    <a:cubicBezTo>
                      <a:pt x="690" y="385"/>
                      <a:pt x="698" y="373"/>
                      <a:pt x="705" y="365"/>
                    </a:cubicBezTo>
                    <a:cubicBezTo>
                      <a:pt x="712" y="357"/>
                      <a:pt x="732" y="350"/>
                      <a:pt x="733" y="345"/>
                    </a:cubicBezTo>
                    <a:cubicBezTo>
                      <a:pt x="734" y="340"/>
                      <a:pt x="719" y="336"/>
                      <a:pt x="714" y="336"/>
                    </a:cubicBezTo>
                    <a:cubicBezTo>
                      <a:pt x="709" y="336"/>
                      <a:pt x="704" y="345"/>
                      <a:pt x="700" y="347"/>
                    </a:cubicBezTo>
                    <a:cubicBezTo>
                      <a:pt x="696" y="349"/>
                      <a:pt x="690" y="354"/>
                      <a:pt x="687" y="351"/>
                    </a:cubicBezTo>
                    <a:cubicBezTo>
                      <a:pt x="684" y="348"/>
                      <a:pt x="685" y="334"/>
                      <a:pt x="682" y="330"/>
                    </a:cubicBezTo>
                    <a:cubicBezTo>
                      <a:pt x="679" y="326"/>
                      <a:pt x="670" y="329"/>
                      <a:pt x="666" y="326"/>
                    </a:cubicBezTo>
                    <a:cubicBezTo>
                      <a:pt x="662" y="323"/>
                      <a:pt x="657" y="316"/>
                      <a:pt x="660" y="314"/>
                    </a:cubicBezTo>
                    <a:cubicBezTo>
                      <a:pt x="663" y="312"/>
                      <a:pt x="677" y="315"/>
                      <a:pt x="684" y="311"/>
                    </a:cubicBezTo>
                    <a:cubicBezTo>
                      <a:pt x="691" y="307"/>
                      <a:pt x="699" y="295"/>
                      <a:pt x="703" y="290"/>
                    </a:cubicBezTo>
                    <a:cubicBezTo>
                      <a:pt x="707" y="285"/>
                      <a:pt x="705" y="283"/>
                      <a:pt x="709" y="281"/>
                    </a:cubicBezTo>
                    <a:cubicBezTo>
                      <a:pt x="713" y="279"/>
                      <a:pt x="726" y="276"/>
                      <a:pt x="729" y="279"/>
                    </a:cubicBezTo>
                    <a:cubicBezTo>
                      <a:pt x="732" y="282"/>
                      <a:pt x="729" y="290"/>
                      <a:pt x="727" y="296"/>
                    </a:cubicBezTo>
                    <a:cubicBezTo>
                      <a:pt x="725" y="302"/>
                      <a:pt x="716" y="316"/>
                      <a:pt x="718" y="317"/>
                    </a:cubicBezTo>
                    <a:cubicBezTo>
                      <a:pt x="720" y="318"/>
                      <a:pt x="736" y="308"/>
                      <a:pt x="741" y="305"/>
                    </a:cubicBezTo>
                    <a:cubicBezTo>
                      <a:pt x="746" y="302"/>
                      <a:pt x="744" y="297"/>
                      <a:pt x="747" y="296"/>
                    </a:cubicBezTo>
                    <a:cubicBezTo>
                      <a:pt x="750" y="295"/>
                      <a:pt x="756" y="297"/>
                      <a:pt x="760" y="296"/>
                    </a:cubicBezTo>
                    <a:cubicBezTo>
                      <a:pt x="764" y="295"/>
                      <a:pt x="766" y="291"/>
                      <a:pt x="769" y="288"/>
                    </a:cubicBezTo>
                    <a:cubicBezTo>
                      <a:pt x="772" y="285"/>
                      <a:pt x="776" y="279"/>
                      <a:pt x="780" y="275"/>
                    </a:cubicBezTo>
                    <a:cubicBezTo>
                      <a:pt x="784" y="271"/>
                      <a:pt x="790" y="266"/>
                      <a:pt x="795" y="264"/>
                    </a:cubicBezTo>
                    <a:cubicBezTo>
                      <a:pt x="800" y="262"/>
                      <a:pt x="806" y="266"/>
                      <a:pt x="810" y="264"/>
                    </a:cubicBezTo>
                    <a:cubicBezTo>
                      <a:pt x="814" y="262"/>
                      <a:pt x="813" y="257"/>
                      <a:pt x="817" y="255"/>
                    </a:cubicBezTo>
                    <a:cubicBezTo>
                      <a:pt x="821" y="253"/>
                      <a:pt x="830" y="254"/>
                      <a:pt x="834" y="251"/>
                    </a:cubicBezTo>
                    <a:cubicBezTo>
                      <a:pt x="838" y="248"/>
                      <a:pt x="837" y="238"/>
                      <a:pt x="841" y="236"/>
                    </a:cubicBezTo>
                    <a:cubicBezTo>
                      <a:pt x="845" y="234"/>
                      <a:pt x="854" y="238"/>
                      <a:pt x="858" y="236"/>
                    </a:cubicBezTo>
                    <a:cubicBezTo>
                      <a:pt x="862" y="234"/>
                      <a:pt x="863" y="231"/>
                      <a:pt x="864" y="227"/>
                    </a:cubicBezTo>
                    <a:cubicBezTo>
                      <a:pt x="865" y="223"/>
                      <a:pt x="863" y="215"/>
                      <a:pt x="864" y="210"/>
                    </a:cubicBezTo>
                    <a:cubicBezTo>
                      <a:pt x="865" y="205"/>
                      <a:pt x="866" y="199"/>
                      <a:pt x="868" y="197"/>
                    </a:cubicBezTo>
                    <a:cubicBezTo>
                      <a:pt x="870" y="195"/>
                      <a:pt x="875" y="195"/>
                      <a:pt x="879" y="195"/>
                    </a:cubicBezTo>
                    <a:cubicBezTo>
                      <a:pt x="883" y="195"/>
                      <a:pt x="890" y="199"/>
                      <a:pt x="895" y="195"/>
                    </a:cubicBezTo>
                    <a:cubicBezTo>
                      <a:pt x="900" y="191"/>
                      <a:pt x="906" y="178"/>
                      <a:pt x="909" y="171"/>
                    </a:cubicBezTo>
                    <a:cubicBezTo>
                      <a:pt x="912" y="164"/>
                      <a:pt x="913" y="160"/>
                      <a:pt x="915" y="153"/>
                    </a:cubicBezTo>
                    <a:cubicBezTo>
                      <a:pt x="917" y="146"/>
                      <a:pt x="926" y="130"/>
                      <a:pt x="922" y="128"/>
                    </a:cubicBezTo>
                    <a:cubicBezTo>
                      <a:pt x="918" y="126"/>
                      <a:pt x="900" y="136"/>
                      <a:pt x="892" y="140"/>
                    </a:cubicBezTo>
                    <a:cubicBezTo>
                      <a:pt x="884" y="144"/>
                      <a:pt x="877" y="152"/>
                      <a:pt x="871" y="150"/>
                    </a:cubicBezTo>
                    <a:cubicBezTo>
                      <a:pt x="865" y="148"/>
                      <a:pt x="861" y="134"/>
                      <a:pt x="858" y="128"/>
                    </a:cubicBezTo>
                    <a:cubicBezTo>
                      <a:pt x="855" y="122"/>
                      <a:pt x="857" y="116"/>
                      <a:pt x="852" y="113"/>
                    </a:cubicBezTo>
                    <a:cubicBezTo>
                      <a:pt x="847" y="110"/>
                      <a:pt x="834" y="112"/>
                      <a:pt x="828" y="107"/>
                    </a:cubicBezTo>
                    <a:cubicBezTo>
                      <a:pt x="822" y="102"/>
                      <a:pt x="818" y="91"/>
                      <a:pt x="814" y="83"/>
                    </a:cubicBezTo>
                    <a:cubicBezTo>
                      <a:pt x="810" y="75"/>
                      <a:pt x="811" y="67"/>
                      <a:pt x="807" y="59"/>
                    </a:cubicBezTo>
                    <a:cubicBezTo>
                      <a:pt x="803" y="51"/>
                      <a:pt x="796" y="43"/>
                      <a:pt x="792" y="35"/>
                    </a:cubicBezTo>
                    <a:cubicBezTo>
                      <a:pt x="788" y="27"/>
                      <a:pt x="790" y="17"/>
                      <a:pt x="783" y="11"/>
                    </a:cubicBezTo>
                    <a:cubicBezTo>
                      <a:pt x="776" y="5"/>
                      <a:pt x="761" y="0"/>
                      <a:pt x="747" y="0"/>
                    </a:cubicBezTo>
                    <a:cubicBezTo>
                      <a:pt x="733" y="0"/>
                      <a:pt x="706" y="7"/>
                      <a:pt x="700" y="14"/>
                    </a:cubicBezTo>
                    <a:cubicBezTo>
                      <a:pt x="694" y="21"/>
                      <a:pt x="708" y="36"/>
                      <a:pt x="708" y="45"/>
                    </a:cubicBezTo>
                    <a:cubicBezTo>
                      <a:pt x="708" y="54"/>
                      <a:pt x="702" y="61"/>
                      <a:pt x="700" y="66"/>
                    </a:cubicBezTo>
                    <a:cubicBezTo>
                      <a:pt x="698" y="71"/>
                      <a:pt x="695" y="71"/>
                      <a:pt x="694" y="74"/>
                    </a:cubicBezTo>
                    <a:cubicBezTo>
                      <a:pt x="693" y="77"/>
                      <a:pt x="694" y="83"/>
                      <a:pt x="691" y="87"/>
                    </a:cubicBezTo>
                    <a:cubicBezTo>
                      <a:pt x="688" y="91"/>
                      <a:pt x="685" y="96"/>
                      <a:pt x="679" y="98"/>
                    </a:cubicBezTo>
                    <a:cubicBezTo>
                      <a:pt x="673" y="100"/>
                      <a:pt x="661" y="100"/>
                      <a:pt x="655" y="101"/>
                    </a:cubicBezTo>
                    <a:cubicBezTo>
                      <a:pt x="649" y="102"/>
                      <a:pt x="643" y="97"/>
                      <a:pt x="640" y="9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18" name="Freeform 135">
                <a:extLst>
                  <a:ext uri="{FF2B5EF4-FFF2-40B4-BE49-F238E27FC236}">
                    <a16:creationId xmlns:a16="http://schemas.microsoft.com/office/drawing/2014/main" id="{4E1DF224-A7D7-42EB-BBF0-A3B2F20240F8}"/>
                  </a:ext>
                </a:extLst>
              </p:cNvPr>
              <p:cNvSpPr>
                <a:spLocks/>
              </p:cNvSpPr>
              <p:nvPr>
                <p:custDataLst>
                  <p:tags r:id="rId106"/>
                </p:custDataLst>
              </p:nvPr>
            </p:nvSpPr>
            <p:spPr bwMode="gray">
              <a:xfrm>
                <a:off x="6427661" y="3029379"/>
                <a:ext cx="709398" cy="335967"/>
              </a:xfrm>
              <a:custGeom>
                <a:avLst/>
                <a:gdLst>
                  <a:gd name="T0" fmla="*/ 4 w 472"/>
                  <a:gd name="T1" fmla="*/ 66 h 218"/>
                  <a:gd name="T2" fmla="*/ 7 w 472"/>
                  <a:gd name="T3" fmla="*/ 78 h 218"/>
                  <a:gd name="T4" fmla="*/ 28 w 472"/>
                  <a:gd name="T5" fmla="*/ 81 h 218"/>
                  <a:gd name="T6" fmla="*/ 45 w 472"/>
                  <a:gd name="T7" fmla="*/ 113 h 218"/>
                  <a:gd name="T8" fmla="*/ 43 w 472"/>
                  <a:gd name="T9" fmla="*/ 123 h 218"/>
                  <a:gd name="T10" fmla="*/ 40 w 472"/>
                  <a:gd name="T11" fmla="*/ 141 h 218"/>
                  <a:gd name="T12" fmla="*/ 57 w 472"/>
                  <a:gd name="T13" fmla="*/ 147 h 218"/>
                  <a:gd name="T14" fmla="*/ 88 w 472"/>
                  <a:gd name="T15" fmla="*/ 149 h 218"/>
                  <a:gd name="T16" fmla="*/ 103 w 472"/>
                  <a:gd name="T17" fmla="*/ 161 h 218"/>
                  <a:gd name="T18" fmla="*/ 118 w 472"/>
                  <a:gd name="T19" fmla="*/ 185 h 218"/>
                  <a:gd name="T20" fmla="*/ 133 w 472"/>
                  <a:gd name="T21" fmla="*/ 197 h 218"/>
                  <a:gd name="T22" fmla="*/ 156 w 472"/>
                  <a:gd name="T23" fmla="*/ 197 h 218"/>
                  <a:gd name="T24" fmla="*/ 199 w 472"/>
                  <a:gd name="T25" fmla="*/ 197 h 218"/>
                  <a:gd name="T26" fmla="*/ 238 w 472"/>
                  <a:gd name="T27" fmla="*/ 215 h 218"/>
                  <a:gd name="T28" fmla="*/ 252 w 472"/>
                  <a:gd name="T29" fmla="*/ 213 h 218"/>
                  <a:gd name="T30" fmla="*/ 271 w 472"/>
                  <a:gd name="T31" fmla="*/ 204 h 218"/>
                  <a:gd name="T32" fmla="*/ 282 w 472"/>
                  <a:gd name="T33" fmla="*/ 200 h 218"/>
                  <a:gd name="T34" fmla="*/ 297 w 472"/>
                  <a:gd name="T35" fmla="*/ 200 h 218"/>
                  <a:gd name="T36" fmla="*/ 322 w 472"/>
                  <a:gd name="T37" fmla="*/ 195 h 218"/>
                  <a:gd name="T38" fmla="*/ 342 w 472"/>
                  <a:gd name="T39" fmla="*/ 183 h 218"/>
                  <a:gd name="T40" fmla="*/ 349 w 472"/>
                  <a:gd name="T41" fmla="*/ 168 h 218"/>
                  <a:gd name="T42" fmla="*/ 349 w 472"/>
                  <a:gd name="T43" fmla="*/ 150 h 218"/>
                  <a:gd name="T44" fmla="*/ 354 w 472"/>
                  <a:gd name="T45" fmla="*/ 141 h 218"/>
                  <a:gd name="T46" fmla="*/ 385 w 472"/>
                  <a:gd name="T47" fmla="*/ 153 h 218"/>
                  <a:gd name="T48" fmla="*/ 393 w 472"/>
                  <a:gd name="T49" fmla="*/ 144 h 218"/>
                  <a:gd name="T50" fmla="*/ 400 w 472"/>
                  <a:gd name="T51" fmla="*/ 135 h 218"/>
                  <a:gd name="T52" fmla="*/ 417 w 472"/>
                  <a:gd name="T53" fmla="*/ 131 h 218"/>
                  <a:gd name="T54" fmla="*/ 430 w 472"/>
                  <a:gd name="T55" fmla="*/ 113 h 218"/>
                  <a:gd name="T56" fmla="*/ 469 w 472"/>
                  <a:gd name="T57" fmla="*/ 110 h 218"/>
                  <a:gd name="T58" fmla="*/ 451 w 472"/>
                  <a:gd name="T59" fmla="*/ 81 h 218"/>
                  <a:gd name="T60" fmla="*/ 436 w 472"/>
                  <a:gd name="T61" fmla="*/ 90 h 218"/>
                  <a:gd name="T62" fmla="*/ 420 w 472"/>
                  <a:gd name="T63" fmla="*/ 83 h 218"/>
                  <a:gd name="T64" fmla="*/ 412 w 472"/>
                  <a:gd name="T65" fmla="*/ 92 h 218"/>
                  <a:gd name="T66" fmla="*/ 415 w 472"/>
                  <a:gd name="T67" fmla="*/ 78 h 218"/>
                  <a:gd name="T68" fmla="*/ 408 w 472"/>
                  <a:gd name="T69" fmla="*/ 66 h 218"/>
                  <a:gd name="T70" fmla="*/ 418 w 472"/>
                  <a:gd name="T71" fmla="*/ 47 h 218"/>
                  <a:gd name="T72" fmla="*/ 403 w 472"/>
                  <a:gd name="T73" fmla="*/ 47 h 218"/>
                  <a:gd name="T74" fmla="*/ 391 w 472"/>
                  <a:gd name="T75" fmla="*/ 44 h 218"/>
                  <a:gd name="T76" fmla="*/ 352 w 472"/>
                  <a:gd name="T77" fmla="*/ 65 h 218"/>
                  <a:gd name="T78" fmla="*/ 334 w 472"/>
                  <a:gd name="T79" fmla="*/ 66 h 218"/>
                  <a:gd name="T80" fmla="*/ 316 w 472"/>
                  <a:gd name="T81" fmla="*/ 69 h 218"/>
                  <a:gd name="T82" fmla="*/ 303 w 472"/>
                  <a:gd name="T83" fmla="*/ 66 h 218"/>
                  <a:gd name="T84" fmla="*/ 294 w 472"/>
                  <a:gd name="T85" fmla="*/ 56 h 218"/>
                  <a:gd name="T86" fmla="*/ 286 w 472"/>
                  <a:gd name="T87" fmla="*/ 44 h 218"/>
                  <a:gd name="T88" fmla="*/ 267 w 472"/>
                  <a:gd name="T89" fmla="*/ 38 h 218"/>
                  <a:gd name="T90" fmla="*/ 226 w 472"/>
                  <a:gd name="T91" fmla="*/ 41 h 218"/>
                  <a:gd name="T92" fmla="*/ 207 w 472"/>
                  <a:gd name="T93" fmla="*/ 17 h 218"/>
                  <a:gd name="T94" fmla="*/ 162 w 472"/>
                  <a:gd name="T95" fmla="*/ 3 h 218"/>
                  <a:gd name="T96" fmla="*/ 148 w 472"/>
                  <a:gd name="T97" fmla="*/ 35 h 218"/>
                  <a:gd name="T98" fmla="*/ 147 w 472"/>
                  <a:gd name="T99" fmla="*/ 48 h 218"/>
                  <a:gd name="T100" fmla="*/ 142 w 472"/>
                  <a:gd name="T101" fmla="*/ 48 h 218"/>
                  <a:gd name="T102" fmla="*/ 136 w 472"/>
                  <a:gd name="T103" fmla="*/ 56 h 218"/>
                  <a:gd name="T104" fmla="*/ 112 w 472"/>
                  <a:gd name="T105" fmla="*/ 53 h 218"/>
                  <a:gd name="T106" fmla="*/ 100 w 472"/>
                  <a:gd name="T107" fmla="*/ 47 h 218"/>
                  <a:gd name="T108" fmla="*/ 85 w 472"/>
                  <a:gd name="T109" fmla="*/ 36 h 218"/>
                  <a:gd name="T110" fmla="*/ 73 w 472"/>
                  <a:gd name="T111" fmla="*/ 30 h 218"/>
                  <a:gd name="T112" fmla="*/ 55 w 472"/>
                  <a:gd name="T113" fmla="*/ 29 h 218"/>
                  <a:gd name="T114" fmla="*/ 42 w 472"/>
                  <a:gd name="T115" fmla="*/ 37 h 218"/>
                  <a:gd name="T116" fmla="*/ 33 w 472"/>
                  <a:gd name="T117" fmla="*/ 47 h 218"/>
                  <a:gd name="T118" fmla="*/ 16 w 472"/>
                  <a:gd name="T119" fmla="*/ 54 h 218"/>
                  <a:gd name="T120" fmla="*/ 4 w 472"/>
                  <a:gd name="T121" fmla="*/ 66 h 2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472" h="218">
                    <a:moveTo>
                      <a:pt x="4" y="66"/>
                    </a:moveTo>
                    <a:cubicBezTo>
                      <a:pt x="0" y="71"/>
                      <a:pt x="3" y="76"/>
                      <a:pt x="7" y="78"/>
                    </a:cubicBezTo>
                    <a:cubicBezTo>
                      <a:pt x="11" y="80"/>
                      <a:pt x="22" y="75"/>
                      <a:pt x="28" y="81"/>
                    </a:cubicBezTo>
                    <a:cubicBezTo>
                      <a:pt x="34" y="87"/>
                      <a:pt x="43" y="106"/>
                      <a:pt x="45" y="113"/>
                    </a:cubicBezTo>
                    <a:cubicBezTo>
                      <a:pt x="47" y="120"/>
                      <a:pt x="44" y="118"/>
                      <a:pt x="43" y="123"/>
                    </a:cubicBezTo>
                    <a:cubicBezTo>
                      <a:pt x="42" y="128"/>
                      <a:pt x="38" y="137"/>
                      <a:pt x="40" y="141"/>
                    </a:cubicBezTo>
                    <a:cubicBezTo>
                      <a:pt x="42" y="145"/>
                      <a:pt x="49" y="146"/>
                      <a:pt x="57" y="147"/>
                    </a:cubicBezTo>
                    <a:cubicBezTo>
                      <a:pt x="65" y="148"/>
                      <a:pt x="80" y="147"/>
                      <a:pt x="88" y="149"/>
                    </a:cubicBezTo>
                    <a:cubicBezTo>
                      <a:pt x="96" y="151"/>
                      <a:pt x="98" y="155"/>
                      <a:pt x="103" y="161"/>
                    </a:cubicBezTo>
                    <a:cubicBezTo>
                      <a:pt x="108" y="167"/>
                      <a:pt x="113" y="179"/>
                      <a:pt x="118" y="185"/>
                    </a:cubicBezTo>
                    <a:cubicBezTo>
                      <a:pt x="123" y="191"/>
                      <a:pt x="127" y="195"/>
                      <a:pt x="133" y="197"/>
                    </a:cubicBezTo>
                    <a:cubicBezTo>
                      <a:pt x="139" y="199"/>
                      <a:pt x="145" y="197"/>
                      <a:pt x="156" y="197"/>
                    </a:cubicBezTo>
                    <a:cubicBezTo>
                      <a:pt x="167" y="197"/>
                      <a:pt x="185" y="194"/>
                      <a:pt x="199" y="197"/>
                    </a:cubicBezTo>
                    <a:cubicBezTo>
                      <a:pt x="213" y="200"/>
                      <a:pt x="229" y="212"/>
                      <a:pt x="238" y="215"/>
                    </a:cubicBezTo>
                    <a:cubicBezTo>
                      <a:pt x="247" y="218"/>
                      <a:pt x="247" y="215"/>
                      <a:pt x="252" y="213"/>
                    </a:cubicBezTo>
                    <a:cubicBezTo>
                      <a:pt x="257" y="211"/>
                      <a:pt x="266" y="206"/>
                      <a:pt x="271" y="204"/>
                    </a:cubicBezTo>
                    <a:cubicBezTo>
                      <a:pt x="276" y="202"/>
                      <a:pt x="278" y="201"/>
                      <a:pt x="282" y="200"/>
                    </a:cubicBezTo>
                    <a:cubicBezTo>
                      <a:pt x="286" y="199"/>
                      <a:pt x="290" y="201"/>
                      <a:pt x="297" y="200"/>
                    </a:cubicBezTo>
                    <a:cubicBezTo>
                      <a:pt x="304" y="199"/>
                      <a:pt x="315" y="198"/>
                      <a:pt x="322" y="195"/>
                    </a:cubicBezTo>
                    <a:cubicBezTo>
                      <a:pt x="329" y="192"/>
                      <a:pt x="338" y="187"/>
                      <a:pt x="342" y="183"/>
                    </a:cubicBezTo>
                    <a:cubicBezTo>
                      <a:pt x="346" y="179"/>
                      <a:pt x="348" y="173"/>
                      <a:pt x="349" y="168"/>
                    </a:cubicBezTo>
                    <a:cubicBezTo>
                      <a:pt x="350" y="163"/>
                      <a:pt x="348" y="154"/>
                      <a:pt x="349" y="150"/>
                    </a:cubicBezTo>
                    <a:cubicBezTo>
                      <a:pt x="350" y="146"/>
                      <a:pt x="348" y="140"/>
                      <a:pt x="354" y="141"/>
                    </a:cubicBezTo>
                    <a:cubicBezTo>
                      <a:pt x="360" y="142"/>
                      <a:pt x="379" y="153"/>
                      <a:pt x="385" y="153"/>
                    </a:cubicBezTo>
                    <a:cubicBezTo>
                      <a:pt x="391" y="153"/>
                      <a:pt x="391" y="147"/>
                      <a:pt x="393" y="144"/>
                    </a:cubicBezTo>
                    <a:cubicBezTo>
                      <a:pt x="395" y="141"/>
                      <a:pt x="396" y="137"/>
                      <a:pt x="400" y="135"/>
                    </a:cubicBezTo>
                    <a:cubicBezTo>
                      <a:pt x="404" y="133"/>
                      <a:pt x="412" y="135"/>
                      <a:pt x="417" y="131"/>
                    </a:cubicBezTo>
                    <a:cubicBezTo>
                      <a:pt x="422" y="127"/>
                      <a:pt x="421" y="116"/>
                      <a:pt x="430" y="113"/>
                    </a:cubicBezTo>
                    <a:cubicBezTo>
                      <a:pt x="439" y="110"/>
                      <a:pt x="466" y="115"/>
                      <a:pt x="469" y="110"/>
                    </a:cubicBezTo>
                    <a:cubicBezTo>
                      <a:pt x="472" y="105"/>
                      <a:pt x="456" y="84"/>
                      <a:pt x="451" y="81"/>
                    </a:cubicBezTo>
                    <a:cubicBezTo>
                      <a:pt x="446" y="78"/>
                      <a:pt x="441" y="90"/>
                      <a:pt x="436" y="90"/>
                    </a:cubicBezTo>
                    <a:cubicBezTo>
                      <a:pt x="431" y="90"/>
                      <a:pt x="424" y="83"/>
                      <a:pt x="420" y="83"/>
                    </a:cubicBezTo>
                    <a:cubicBezTo>
                      <a:pt x="416" y="83"/>
                      <a:pt x="413" y="93"/>
                      <a:pt x="412" y="92"/>
                    </a:cubicBezTo>
                    <a:cubicBezTo>
                      <a:pt x="411" y="91"/>
                      <a:pt x="416" y="82"/>
                      <a:pt x="415" y="78"/>
                    </a:cubicBezTo>
                    <a:cubicBezTo>
                      <a:pt x="414" y="74"/>
                      <a:pt x="408" y="71"/>
                      <a:pt x="408" y="66"/>
                    </a:cubicBezTo>
                    <a:cubicBezTo>
                      <a:pt x="408" y="61"/>
                      <a:pt x="419" y="50"/>
                      <a:pt x="418" y="47"/>
                    </a:cubicBezTo>
                    <a:cubicBezTo>
                      <a:pt x="417" y="44"/>
                      <a:pt x="407" y="47"/>
                      <a:pt x="403" y="47"/>
                    </a:cubicBezTo>
                    <a:cubicBezTo>
                      <a:pt x="399" y="47"/>
                      <a:pt x="399" y="41"/>
                      <a:pt x="391" y="44"/>
                    </a:cubicBezTo>
                    <a:cubicBezTo>
                      <a:pt x="383" y="47"/>
                      <a:pt x="361" y="61"/>
                      <a:pt x="352" y="65"/>
                    </a:cubicBezTo>
                    <a:cubicBezTo>
                      <a:pt x="343" y="69"/>
                      <a:pt x="340" y="65"/>
                      <a:pt x="334" y="66"/>
                    </a:cubicBezTo>
                    <a:cubicBezTo>
                      <a:pt x="328" y="67"/>
                      <a:pt x="321" y="69"/>
                      <a:pt x="316" y="69"/>
                    </a:cubicBezTo>
                    <a:cubicBezTo>
                      <a:pt x="311" y="69"/>
                      <a:pt x="307" y="68"/>
                      <a:pt x="303" y="66"/>
                    </a:cubicBezTo>
                    <a:cubicBezTo>
                      <a:pt x="299" y="64"/>
                      <a:pt x="297" y="60"/>
                      <a:pt x="294" y="56"/>
                    </a:cubicBezTo>
                    <a:cubicBezTo>
                      <a:pt x="291" y="52"/>
                      <a:pt x="290" y="47"/>
                      <a:pt x="286" y="44"/>
                    </a:cubicBezTo>
                    <a:cubicBezTo>
                      <a:pt x="282" y="41"/>
                      <a:pt x="277" y="38"/>
                      <a:pt x="267" y="38"/>
                    </a:cubicBezTo>
                    <a:cubicBezTo>
                      <a:pt x="257" y="38"/>
                      <a:pt x="236" y="44"/>
                      <a:pt x="226" y="41"/>
                    </a:cubicBezTo>
                    <a:cubicBezTo>
                      <a:pt x="216" y="38"/>
                      <a:pt x="218" y="23"/>
                      <a:pt x="207" y="17"/>
                    </a:cubicBezTo>
                    <a:cubicBezTo>
                      <a:pt x="196" y="11"/>
                      <a:pt x="172" y="0"/>
                      <a:pt x="162" y="3"/>
                    </a:cubicBezTo>
                    <a:cubicBezTo>
                      <a:pt x="152" y="6"/>
                      <a:pt x="150" y="28"/>
                      <a:pt x="148" y="35"/>
                    </a:cubicBezTo>
                    <a:cubicBezTo>
                      <a:pt x="146" y="42"/>
                      <a:pt x="148" y="46"/>
                      <a:pt x="147" y="48"/>
                    </a:cubicBezTo>
                    <a:cubicBezTo>
                      <a:pt x="146" y="50"/>
                      <a:pt x="144" y="47"/>
                      <a:pt x="142" y="48"/>
                    </a:cubicBezTo>
                    <a:cubicBezTo>
                      <a:pt x="140" y="49"/>
                      <a:pt x="141" y="55"/>
                      <a:pt x="136" y="56"/>
                    </a:cubicBezTo>
                    <a:cubicBezTo>
                      <a:pt x="131" y="57"/>
                      <a:pt x="118" y="54"/>
                      <a:pt x="112" y="53"/>
                    </a:cubicBezTo>
                    <a:cubicBezTo>
                      <a:pt x="106" y="52"/>
                      <a:pt x="104" y="50"/>
                      <a:pt x="100" y="47"/>
                    </a:cubicBezTo>
                    <a:cubicBezTo>
                      <a:pt x="96" y="44"/>
                      <a:pt x="89" y="39"/>
                      <a:pt x="85" y="36"/>
                    </a:cubicBezTo>
                    <a:cubicBezTo>
                      <a:pt x="81" y="33"/>
                      <a:pt x="78" y="31"/>
                      <a:pt x="73" y="30"/>
                    </a:cubicBezTo>
                    <a:cubicBezTo>
                      <a:pt x="68" y="29"/>
                      <a:pt x="60" y="28"/>
                      <a:pt x="55" y="29"/>
                    </a:cubicBezTo>
                    <a:cubicBezTo>
                      <a:pt x="50" y="30"/>
                      <a:pt x="46" y="34"/>
                      <a:pt x="42" y="37"/>
                    </a:cubicBezTo>
                    <a:cubicBezTo>
                      <a:pt x="38" y="40"/>
                      <a:pt x="37" y="44"/>
                      <a:pt x="33" y="47"/>
                    </a:cubicBezTo>
                    <a:cubicBezTo>
                      <a:pt x="29" y="50"/>
                      <a:pt x="21" y="51"/>
                      <a:pt x="16" y="54"/>
                    </a:cubicBezTo>
                    <a:cubicBezTo>
                      <a:pt x="11" y="57"/>
                      <a:pt x="6" y="64"/>
                      <a:pt x="4" y="6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19" name="Freeform 136">
                <a:extLst>
                  <a:ext uri="{FF2B5EF4-FFF2-40B4-BE49-F238E27FC236}">
                    <a16:creationId xmlns:a16="http://schemas.microsoft.com/office/drawing/2014/main" id="{F572489E-7867-4AF4-AA15-7D445A2EB805}"/>
                  </a:ext>
                </a:extLst>
              </p:cNvPr>
              <p:cNvSpPr>
                <a:spLocks/>
              </p:cNvSpPr>
              <p:nvPr>
                <p:custDataLst>
                  <p:tags r:id="rId107"/>
                </p:custDataLst>
              </p:nvPr>
            </p:nvSpPr>
            <p:spPr bwMode="gray">
              <a:xfrm>
                <a:off x="6423218" y="3786074"/>
                <a:ext cx="96265" cy="118668"/>
              </a:xfrm>
              <a:custGeom>
                <a:avLst/>
                <a:gdLst>
                  <a:gd name="T0" fmla="*/ 36 w 63"/>
                  <a:gd name="T1" fmla="*/ 73 h 77"/>
                  <a:gd name="T2" fmla="*/ 48 w 63"/>
                  <a:gd name="T3" fmla="*/ 42 h 77"/>
                  <a:gd name="T4" fmla="*/ 63 w 63"/>
                  <a:gd name="T5" fmla="*/ 34 h 77"/>
                  <a:gd name="T6" fmla="*/ 54 w 63"/>
                  <a:gd name="T7" fmla="*/ 21 h 77"/>
                  <a:gd name="T8" fmla="*/ 24 w 63"/>
                  <a:gd name="T9" fmla="*/ 15 h 77"/>
                  <a:gd name="T10" fmla="*/ 6 w 63"/>
                  <a:gd name="T11" fmla="*/ 0 h 77"/>
                  <a:gd name="T12" fmla="*/ 11 w 63"/>
                  <a:gd name="T13" fmla="*/ 10 h 77"/>
                  <a:gd name="T14" fmla="*/ 0 w 63"/>
                  <a:gd name="T15" fmla="*/ 28 h 77"/>
                  <a:gd name="T16" fmla="*/ 11 w 63"/>
                  <a:gd name="T17" fmla="*/ 33 h 77"/>
                  <a:gd name="T18" fmla="*/ 17 w 63"/>
                  <a:gd name="T19" fmla="*/ 67 h 77"/>
                  <a:gd name="T20" fmla="*/ 21 w 63"/>
                  <a:gd name="T21" fmla="*/ 75 h 77"/>
                  <a:gd name="T22" fmla="*/ 33 w 63"/>
                  <a:gd name="T23" fmla="*/ 69 h 77"/>
                  <a:gd name="T24" fmla="*/ 30 w 63"/>
                  <a:gd name="T25" fmla="*/ 73 h 77"/>
                  <a:gd name="T26" fmla="*/ 36 w 63"/>
                  <a:gd name="T27" fmla="*/ 73 h 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3" h="77">
                    <a:moveTo>
                      <a:pt x="36" y="73"/>
                    </a:moveTo>
                    <a:cubicBezTo>
                      <a:pt x="39" y="30"/>
                      <a:pt x="32" y="54"/>
                      <a:pt x="48" y="42"/>
                    </a:cubicBezTo>
                    <a:cubicBezTo>
                      <a:pt x="51" y="34"/>
                      <a:pt x="56" y="37"/>
                      <a:pt x="63" y="34"/>
                    </a:cubicBezTo>
                    <a:cubicBezTo>
                      <a:pt x="62" y="26"/>
                      <a:pt x="63" y="22"/>
                      <a:pt x="54" y="21"/>
                    </a:cubicBezTo>
                    <a:cubicBezTo>
                      <a:pt x="44" y="16"/>
                      <a:pt x="36" y="16"/>
                      <a:pt x="24" y="15"/>
                    </a:cubicBezTo>
                    <a:cubicBezTo>
                      <a:pt x="22" y="6"/>
                      <a:pt x="15" y="2"/>
                      <a:pt x="6" y="0"/>
                    </a:cubicBezTo>
                    <a:cubicBezTo>
                      <a:pt x="1" y="7"/>
                      <a:pt x="4" y="9"/>
                      <a:pt x="11" y="10"/>
                    </a:cubicBezTo>
                    <a:cubicBezTo>
                      <a:pt x="9" y="23"/>
                      <a:pt x="10" y="22"/>
                      <a:pt x="0" y="28"/>
                    </a:cubicBezTo>
                    <a:cubicBezTo>
                      <a:pt x="3" y="30"/>
                      <a:pt x="10" y="29"/>
                      <a:pt x="11" y="33"/>
                    </a:cubicBezTo>
                    <a:cubicBezTo>
                      <a:pt x="15" y="44"/>
                      <a:pt x="11" y="56"/>
                      <a:pt x="17" y="67"/>
                    </a:cubicBezTo>
                    <a:cubicBezTo>
                      <a:pt x="17" y="71"/>
                      <a:pt x="18" y="73"/>
                      <a:pt x="21" y="75"/>
                    </a:cubicBezTo>
                    <a:cubicBezTo>
                      <a:pt x="22" y="77"/>
                      <a:pt x="31" y="69"/>
                      <a:pt x="33" y="69"/>
                    </a:cubicBezTo>
                    <a:cubicBezTo>
                      <a:pt x="34" y="69"/>
                      <a:pt x="30" y="72"/>
                      <a:pt x="30" y="73"/>
                    </a:cubicBezTo>
                    <a:cubicBezTo>
                      <a:pt x="30" y="74"/>
                      <a:pt x="35" y="73"/>
                      <a:pt x="36" y="7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20" name="Freeform 137">
                <a:extLst>
                  <a:ext uri="{FF2B5EF4-FFF2-40B4-BE49-F238E27FC236}">
                    <a16:creationId xmlns:a16="http://schemas.microsoft.com/office/drawing/2014/main" id="{EA1F204C-90E6-4AC1-B730-A50AF1919DE8}"/>
                  </a:ext>
                </a:extLst>
              </p:cNvPr>
              <p:cNvSpPr>
                <a:spLocks/>
              </p:cNvSpPr>
              <p:nvPr>
                <p:custDataLst>
                  <p:tags r:id="rId108"/>
                </p:custDataLst>
              </p:nvPr>
            </p:nvSpPr>
            <p:spPr bwMode="gray">
              <a:xfrm>
                <a:off x="6448395" y="3729053"/>
                <a:ext cx="71088" cy="44693"/>
              </a:xfrm>
              <a:custGeom>
                <a:avLst/>
                <a:gdLst>
                  <a:gd name="T0" fmla="*/ 4 w 47"/>
                  <a:gd name="T1" fmla="*/ 26 h 29"/>
                  <a:gd name="T2" fmla="*/ 28 w 47"/>
                  <a:gd name="T3" fmla="*/ 26 h 29"/>
                  <a:gd name="T4" fmla="*/ 43 w 47"/>
                  <a:gd name="T5" fmla="*/ 26 h 29"/>
                  <a:gd name="T6" fmla="*/ 46 w 47"/>
                  <a:gd name="T7" fmla="*/ 16 h 29"/>
                  <a:gd name="T8" fmla="*/ 38 w 47"/>
                  <a:gd name="T9" fmla="*/ 16 h 29"/>
                  <a:gd name="T10" fmla="*/ 29 w 47"/>
                  <a:gd name="T11" fmla="*/ 2 h 29"/>
                  <a:gd name="T12" fmla="*/ 16 w 47"/>
                  <a:gd name="T13" fmla="*/ 2 h 29"/>
                  <a:gd name="T14" fmla="*/ 2 w 47"/>
                  <a:gd name="T15" fmla="*/ 10 h 29"/>
                  <a:gd name="T16" fmla="*/ 4 w 47"/>
                  <a:gd name="T17" fmla="*/ 26 h 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47" h="29">
                    <a:moveTo>
                      <a:pt x="4" y="26"/>
                    </a:moveTo>
                    <a:cubicBezTo>
                      <a:pt x="9" y="29"/>
                      <a:pt x="22" y="26"/>
                      <a:pt x="28" y="26"/>
                    </a:cubicBezTo>
                    <a:cubicBezTo>
                      <a:pt x="34" y="26"/>
                      <a:pt x="40" y="28"/>
                      <a:pt x="43" y="26"/>
                    </a:cubicBezTo>
                    <a:cubicBezTo>
                      <a:pt x="46" y="24"/>
                      <a:pt x="47" y="18"/>
                      <a:pt x="46" y="16"/>
                    </a:cubicBezTo>
                    <a:cubicBezTo>
                      <a:pt x="45" y="14"/>
                      <a:pt x="41" y="18"/>
                      <a:pt x="38" y="16"/>
                    </a:cubicBezTo>
                    <a:cubicBezTo>
                      <a:pt x="35" y="14"/>
                      <a:pt x="33" y="4"/>
                      <a:pt x="29" y="2"/>
                    </a:cubicBezTo>
                    <a:cubicBezTo>
                      <a:pt x="25" y="0"/>
                      <a:pt x="20" y="1"/>
                      <a:pt x="16" y="2"/>
                    </a:cubicBezTo>
                    <a:cubicBezTo>
                      <a:pt x="12" y="3"/>
                      <a:pt x="4" y="6"/>
                      <a:pt x="2" y="10"/>
                    </a:cubicBezTo>
                    <a:cubicBezTo>
                      <a:pt x="0" y="14"/>
                      <a:pt x="4" y="23"/>
                      <a:pt x="4" y="2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21" name="Freeform 138">
                <a:extLst>
                  <a:ext uri="{FF2B5EF4-FFF2-40B4-BE49-F238E27FC236}">
                    <a16:creationId xmlns:a16="http://schemas.microsoft.com/office/drawing/2014/main" id="{2D3FCD81-D2FA-4B40-AE38-34A06BC281E1}"/>
                  </a:ext>
                </a:extLst>
              </p:cNvPr>
              <p:cNvSpPr>
                <a:spLocks/>
              </p:cNvSpPr>
              <p:nvPr>
                <p:custDataLst>
                  <p:tags r:id="rId109"/>
                </p:custDataLst>
              </p:nvPr>
            </p:nvSpPr>
            <p:spPr bwMode="gray">
              <a:xfrm>
                <a:off x="6513559" y="3735217"/>
                <a:ext cx="186606" cy="309768"/>
              </a:xfrm>
              <a:custGeom>
                <a:avLst/>
                <a:gdLst>
                  <a:gd name="T0" fmla="*/ 2 w 124"/>
                  <a:gd name="T1" fmla="*/ 106 h 201"/>
                  <a:gd name="T2" fmla="*/ 6 w 124"/>
                  <a:gd name="T3" fmla="*/ 117 h 201"/>
                  <a:gd name="T4" fmla="*/ 24 w 124"/>
                  <a:gd name="T5" fmla="*/ 141 h 201"/>
                  <a:gd name="T6" fmla="*/ 33 w 124"/>
                  <a:gd name="T7" fmla="*/ 153 h 201"/>
                  <a:gd name="T8" fmla="*/ 36 w 124"/>
                  <a:gd name="T9" fmla="*/ 192 h 201"/>
                  <a:gd name="T10" fmla="*/ 65 w 124"/>
                  <a:gd name="T11" fmla="*/ 183 h 201"/>
                  <a:gd name="T12" fmla="*/ 71 w 124"/>
                  <a:gd name="T13" fmla="*/ 175 h 201"/>
                  <a:gd name="T14" fmla="*/ 80 w 124"/>
                  <a:gd name="T15" fmla="*/ 183 h 201"/>
                  <a:gd name="T16" fmla="*/ 86 w 124"/>
                  <a:gd name="T17" fmla="*/ 199 h 201"/>
                  <a:gd name="T18" fmla="*/ 98 w 124"/>
                  <a:gd name="T19" fmla="*/ 195 h 201"/>
                  <a:gd name="T20" fmla="*/ 86 w 124"/>
                  <a:gd name="T21" fmla="*/ 175 h 201"/>
                  <a:gd name="T22" fmla="*/ 81 w 124"/>
                  <a:gd name="T23" fmla="*/ 165 h 201"/>
                  <a:gd name="T24" fmla="*/ 83 w 124"/>
                  <a:gd name="T25" fmla="*/ 145 h 201"/>
                  <a:gd name="T26" fmla="*/ 90 w 124"/>
                  <a:gd name="T27" fmla="*/ 132 h 201"/>
                  <a:gd name="T28" fmla="*/ 105 w 124"/>
                  <a:gd name="T29" fmla="*/ 132 h 201"/>
                  <a:gd name="T30" fmla="*/ 116 w 124"/>
                  <a:gd name="T31" fmla="*/ 123 h 201"/>
                  <a:gd name="T32" fmla="*/ 122 w 124"/>
                  <a:gd name="T33" fmla="*/ 114 h 201"/>
                  <a:gd name="T34" fmla="*/ 105 w 124"/>
                  <a:gd name="T35" fmla="*/ 84 h 201"/>
                  <a:gd name="T36" fmla="*/ 98 w 124"/>
                  <a:gd name="T37" fmla="*/ 70 h 201"/>
                  <a:gd name="T38" fmla="*/ 86 w 124"/>
                  <a:gd name="T39" fmla="*/ 72 h 201"/>
                  <a:gd name="T40" fmla="*/ 83 w 124"/>
                  <a:gd name="T41" fmla="*/ 57 h 201"/>
                  <a:gd name="T42" fmla="*/ 98 w 124"/>
                  <a:gd name="T43" fmla="*/ 40 h 201"/>
                  <a:gd name="T44" fmla="*/ 99 w 124"/>
                  <a:gd name="T45" fmla="*/ 16 h 201"/>
                  <a:gd name="T46" fmla="*/ 89 w 124"/>
                  <a:gd name="T47" fmla="*/ 0 h 201"/>
                  <a:gd name="T48" fmla="*/ 60 w 124"/>
                  <a:gd name="T49" fmla="*/ 19 h 201"/>
                  <a:gd name="T50" fmla="*/ 47 w 124"/>
                  <a:gd name="T51" fmla="*/ 21 h 201"/>
                  <a:gd name="T52" fmla="*/ 47 w 124"/>
                  <a:gd name="T53" fmla="*/ 46 h 201"/>
                  <a:gd name="T54" fmla="*/ 33 w 124"/>
                  <a:gd name="T55" fmla="*/ 75 h 201"/>
                  <a:gd name="T56" fmla="*/ 18 w 124"/>
                  <a:gd name="T57" fmla="*/ 70 h 201"/>
                  <a:gd name="T58" fmla="*/ 21 w 124"/>
                  <a:gd name="T59" fmla="*/ 97 h 201"/>
                  <a:gd name="T60" fmla="*/ 2 w 124"/>
                  <a:gd name="T61" fmla="*/ 106 h 2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124" h="201">
                    <a:moveTo>
                      <a:pt x="2" y="106"/>
                    </a:moveTo>
                    <a:cubicBezTo>
                      <a:pt x="0" y="109"/>
                      <a:pt x="2" y="111"/>
                      <a:pt x="6" y="117"/>
                    </a:cubicBezTo>
                    <a:cubicBezTo>
                      <a:pt x="10" y="123"/>
                      <a:pt x="19" y="135"/>
                      <a:pt x="24" y="141"/>
                    </a:cubicBezTo>
                    <a:cubicBezTo>
                      <a:pt x="29" y="147"/>
                      <a:pt x="31" y="145"/>
                      <a:pt x="33" y="153"/>
                    </a:cubicBezTo>
                    <a:cubicBezTo>
                      <a:pt x="35" y="161"/>
                      <a:pt x="31" y="187"/>
                      <a:pt x="36" y="192"/>
                    </a:cubicBezTo>
                    <a:cubicBezTo>
                      <a:pt x="41" y="197"/>
                      <a:pt x="59" y="186"/>
                      <a:pt x="65" y="183"/>
                    </a:cubicBezTo>
                    <a:cubicBezTo>
                      <a:pt x="71" y="180"/>
                      <a:pt x="69" y="175"/>
                      <a:pt x="71" y="175"/>
                    </a:cubicBezTo>
                    <a:cubicBezTo>
                      <a:pt x="73" y="175"/>
                      <a:pt x="77" y="179"/>
                      <a:pt x="80" y="183"/>
                    </a:cubicBezTo>
                    <a:cubicBezTo>
                      <a:pt x="83" y="187"/>
                      <a:pt x="83" y="197"/>
                      <a:pt x="86" y="199"/>
                    </a:cubicBezTo>
                    <a:cubicBezTo>
                      <a:pt x="89" y="201"/>
                      <a:pt x="98" y="199"/>
                      <a:pt x="98" y="195"/>
                    </a:cubicBezTo>
                    <a:cubicBezTo>
                      <a:pt x="98" y="191"/>
                      <a:pt x="89" y="180"/>
                      <a:pt x="86" y="175"/>
                    </a:cubicBezTo>
                    <a:cubicBezTo>
                      <a:pt x="83" y="170"/>
                      <a:pt x="81" y="170"/>
                      <a:pt x="81" y="165"/>
                    </a:cubicBezTo>
                    <a:cubicBezTo>
                      <a:pt x="81" y="160"/>
                      <a:pt x="82" y="150"/>
                      <a:pt x="83" y="145"/>
                    </a:cubicBezTo>
                    <a:cubicBezTo>
                      <a:pt x="84" y="140"/>
                      <a:pt x="86" y="134"/>
                      <a:pt x="90" y="132"/>
                    </a:cubicBezTo>
                    <a:cubicBezTo>
                      <a:pt x="94" y="130"/>
                      <a:pt x="101" y="133"/>
                      <a:pt x="105" y="132"/>
                    </a:cubicBezTo>
                    <a:cubicBezTo>
                      <a:pt x="109" y="131"/>
                      <a:pt x="113" y="126"/>
                      <a:pt x="116" y="123"/>
                    </a:cubicBezTo>
                    <a:cubicBezTo>
                      <a:pt x="119" y="120"/>
                      <a:pt x="124" y="120"/>
                      <a:pt x="122" y="114"/>
                    </a:cubicBezTo>
                    <a:cubicBezTo>
                      <a:pt x="120" y="108"/>
                      <a:pt x="109" y="91"/>
                      <a:pt x="105" y="84"/>
                    </a:cubicBezTo>
                    <a:cubicBezTo>
                      <a:pt x="101" y="77"/>
                      <a:pt x="101" y="72"/>
                      <a:pt x="98" y="70"/>
                    </a:cubicBezTo>
                    <a:cubicBezTo>
                      <a:pt x="95" y="68"/>
                      <a:pt x="88" y="74"/>
                      <a:pt x="86" y="72"/>
                    </a:cubicBezTo>
                    <a:cubicBezTo>
                      <a:pt x="84" y="70"/>
                      <a:pt x="81" y="62"/>
                      <a:pt x="83" y="57"/>
                    </a:cubicBezTo>
                    <a:cubicBezTo>
                      <a:pt x="85" y="52"/>
                      <a:pt x="95" y="47"/>
                      <a:pt x="98" y="40"/>
                    </a:cubicBezTo>
                    <a:cubicBezTo>
                      <a:pt x="101" y="33"/>
                      <a:pt x="100" y="23"/>
                      <a:pt x="99" y="16"/>
                    </a:cubicBezTo>
                    <a:cubicBezTo>
                      <a:pt x="98" y="9"/>
                      <a:pt x="95" y="0"/>
                      <a:pt x="89" y="0"/>
                    </a:cubicBezTo>
                    <a:cubicBezTo>
                      <a:pt x="83" y="0"/>
                      <a:pt x="67" y="16"/>
                      <a:pt x="60" y="19"/>
                    </a:cubicBezTo>
                    <a:cubicBezTo>
                      <a:pt x="53" y="22"/>
                      <a:pt x="49" y="17"/>
                      <a:pt x="47" y="21"/>
                    </a:cubicBezTo>
                    <a:cubicBezTo>
                      <a:pt x="45" y="25"/>
                      <a:pt x="49" y="37"/>
                      <a:pt x="47" y="46"/>
                    </a:cubicBezTo>
                    <a:cubicBezTo>
                      <a:pt x="45" y="55"/>
                      <a:pt x="38" y="71"/>
                      <a:pt x="33" y="75"/>
                    </a:cubicBezTo>
                    <a:cubicBezTo>
                      <a:pt x="28" y="79"/>
                      <a:pt x="20" y="66"/>
                      <a:pt x="18" y="70"/>
                    </a:cubicBezTo>
                    <a:cubicBezTo>
                      <a:pt x="16" y="74"/>
                      <a:pt x="23" y="91"/>
                      <a:pt x="21" y="97"/>
                    </a:cubicBezTo>
                    <a:cubicBezTo>
                      <a:pt x="19" y="103"/>
                      <a:pt x="4" y="103"/>
                      <a:pt x="2" y="10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22" name="Freeform 139">
                <a:extLst>
                  <a:ext uri="{FF2B5EF4-FFF2-40B4-BE49-F238E27FC236}">
                    <a16:creationId xmlns:a16="http://schemas.microsoft.com/office/drawing/2014/main" id="{31F0398A-E6EA-4C64-BD36-253B25BBA956}"/>
                  </a:ext>
                </a:extLst>
              </p:cNvPr>
              <p:cNvSpPr>
                <a:spLocks/>
              </p:cNvSpPr>
              <p:nvPr>
                <p:custDataLst>
                  <p:tags r:id="rId110"/>
                </p:custDataLst>
              </p:nvPr>
            </p:nvSpPr>
            <p:spPr bwMode="gray">
              <a:xfrm>
                <a:off x="6238093" y="4188310"/>
                <a:ext cx="45911" cy="87845"/>
              </a:xfrm>
              <a:custGeom>
                <a:avLst/>
                <a:gdLst>
                  <a:gd name="T0" fmla="*/ 6 w 30"/>
                  <a:gd name="T1" fmla="*/ 52 h 57"/>
                  <a:gd name="T2" fmla="*/ 29 w 30"/>
                  <a:gd name="T3" fmla="*/ 43 h 57"/>
                  <a:gd name="T4" fmla="*/ 24 w 30"/>
                  <a:gd name="T5" fmla="*/ 22 h 57"/>
                  <a:gd name="T6" fmla="*/ 17 w 30"/>
                  <a:gd name="T7" fmla="*/ 7 h 57"/>
                  <a:gd name="T8" fmla="*/ 6 w 30"/>
                  <a:gd name="T9" fmla="*/ 3 h 57"/>
                  <a:gd name="T10" fmla="*/ 0 w 30"/>
                  <a:gd name="T11" fmla="*/ 27 h 57"/>
                  <a:gd name="T12" fmla="*/ 2 w 30"/>
                  <a:gd name="T13" fmla="*/ 51 h 57"/>
                  <a:gd name="T14" fmla="*/ 6 w 30"/>
                  <a:gd name="T15" fmla="*/ 52 h 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30" h="57">
                    <a:moveTo>
                      <a:pt x="6" y="52"/>
                    </a:moveTo>
                    <a:cubicBezTo>
                      <a:pt x="18" y="57"/>
                      <a:pt x="23" y="53"/>
                      <a:pt x="29" y="43"/>
                    </a:cubicBezTo>
                    <a:cubicBezTo>
                      <a:pt x="30" y="34"/>
                      <a:pt x="29" y="30"/>
                      <a:pt x="24" y="22"/>
                    </a:cubicBezTo>
                    <a:cubicBezTo>
                      <a:pt x="27" y="0"/>
                      <a:pt x="27" y="15"/>
                      <a:pt x="17" y="7"/>
                    </a:cubicBezTo>
                    <a:cubicBezTo>
                      <a:pt x="14" y="1"/>
                      <a:pt x="12" y="0"/>
                      <a:pt x="6" y="3"/>
                    </a:cubicBezTo>
                    <a:cubicBezTo>
                      <a:pt x="1" y="10"/>
                      <a:pt x="3" y="19"/>
                      <a:pt x="0" y="27"/>
                    </a:cubicBezTo>
                    <a:cubicBezTo>
                      <a:pt x="1" y="35"/>
                      <a:pt x="0" y="43"/>
                      <a:pt x="2" y="51"/>
                    </a:cubicBezTo>
                    <a:cubicBezTo>
                      <a:pt x="2" y="52"/>
                      <a:pt x="6" y="53"/>
                      <a:pt x="6" y="5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23" name="Freeform 146">
                <a:extLst>
                  <a:ext uri="{FF2B5EF4-FFF2-40B4-BE49-F238E27FC236}">
                    <a16:creationId xmlns:a16="http://schemas.microsoft.com/office/drawing/2014/main" id="{BDAE5AB0-EFF4-499C-9BA3-7E0D3F300CFA}"/>
                  </a:ext>
                </a:extLst>
              </p:cNvPr>
              <p:cNvSpPr>
                <a:spLocks/>
              </p:cNvSpPr>
              <p:nvPr>
                <p:custDataLst>
                  <p:tags r:id="rId111"/>
                </p:custDataLst>
              </p:nvPr>
            </p:nvSpPr>
            <p:spPr bwMode="gray">
              <a:xfrm>
                <a:off x="5986656" y="3499047"/>
                <a:ext cx="658728" cy="755353"/>
              </a:xfrm>
              <a:custGeom>
                <a:avLst/>
                <a:gdLst/>
                <a:ahLst/>
                <a:cxnLst/>
                <a:rect l="l" t="t" r="r" b="b"/>
                <a:pathLst>
                  <a:path w="706099" h="778080">
                    <a:moveTo>
                      <a:pt x="599618" y="738575"/>
                    </a:moveTo>
                    <a:cubicBezTo>
                      <a:pt x="602843" y="757625"/>
                      <a:pt x="604456" y="757625"/>
                      <a:pt x="612519" y="771913"/>
                    </a:cubicBezTo>
                    <a:cubicBezTo>
                      <a:pt x="607681" y="781438"/>
                      <a:pt x="602843" y="778263"/>
                      <a:pt x="593167" y="773501"/>
                    </a:cubicBezTo>
                    <a:cubicBezTo>
                      <a:pt x="596392" y="748100"/>
                      <a:pt x="577040" y="756038"/>
                      <a:pt x="599618" y="738575"/>
                    </a:cubicBezTo>
                    <a:close/>
                    <a:moveTo>
                      <a:pt x="575428" y="711588"/>
                    </a:moveTo>
                    <a:cubicBezTo>
                      <a:pt x="580266" y="713176"/>
                      <a:pt x="585104" y="711588"/>
                      <a:pt x="588329" y="714763"/>
                    </a:cubicBezTo>
                    <a:cubicBezTo>
                      <a:pt x="591554" y="719526"/>
                      <a:pt x="577040" y="725876"/>
                      <a:pt x="573815" y="721113"/>
                    </a:cubicBezTo>
                    <a:cubicBezTo>
                      <a:pt x="572202" y="717938"/>
                      <a:pt x="575428" y="714763"/>
                      <a:pt x="575428" y="711588"/>
                    </a:cubicBezTo>
                    <a:close/>
                    <a:moveTo>
                      <a:pt x="578250" y="683212"/>
                    </a:moveTo>
                    <a:cubicBezTo>
                      <a:pt x="581476" y="684601"/>
                      <a:pt x="582685" y="688569"/>
                      <a:pt x="580266" y="695713"/>
                    </a:cubicBezTo>
                    <a:cubicBezTo>
                      <a:pt x="573815" y="694126"/>
                      <a:pt x="564139" y="686188"/>
                      <a:pt x="564139" y="686188"/>
                    </a:cubicBezTo>
                    <a:cubicBezTo>
                      <a:pt x="569784" y="683013"/>
                      <a:pt x="575025" y="681823"/>
                      <a:pt x="578250" y="683212"/>
                    </a:cubicBezTo>
                    <a:close/>
                    <a:moveTo>
                      <a:pt x="580266" y="616338"/>
                    </a:moveTo>
                    <a:cubicBezTo>
                      <a:pt x="601231" y="630626"/>
                      <a:pt x="610907" y="660788"/>
                      <a:pt x="580266" y="667138"/>
                    </a:cubicBezTo>
                    <a:cubicBezTo>
                      <a:pt x="567364" y="657613"/>
                      <a:pt x="570590" y="648088"/>
                      <a:pt x="573815" y="633801"/>
                    </a:cubicBezTo>
                    <a:cubicBezTo>
                      <a:pt x="568977" y="624276"/>
                      <a:pt x="570590" y="621101"/>
                      <a:pt x="580266" y="616338"/>
                    </a:cubicBezTo>
                    <a:close/>
                    <a:moveTo>
                      <a:pt x="589942" y="592525"/>
                    </a:moveTo>
                    <a:lnTo>
                      <a:pt x="599417" y="597089"/>
                    </a:lnTo>
                    <a:cubicBezTo>
                      <a:pt x="600425" y="598081"/>
                      <a:pt x="600425" y="599669"/>
                      <a:pt x="602844" y="605225"/>
                    </a:cubicBezTo>
                    <a:lnTo>
                      <a:pt x="597426" y="609715"/>
                    </a:lnTo>
                    <a:cubicBezTo>
                      <a:pt x="593571" y="609789"/>
                      <a:pt x="593571" y="598478"/>
                      <a:pt x="589942" y="592525"/>
                    </a:cubicBezTo>
                    <a:close/>
                    <a:moveTo>
                      <a:pt x="483499" y="235374"/>
                    </a:moveTo>
                    <a:cubicBezTo>
                      <a:pt x="488335" y="232147"/>
                      <a:pt x="496372" y="249589"/>
                      <a:pt x="498007" y="262343"/>
                    </a:cubicBezTo>
                    <a:lnTo>
                      <a:pt x="496612" y="281584"/>
                    </a:lnTo>
                    <a:cubicBezTo>
                      <a:pt x="487515" y="281701"/>
                      <a:pt x="478649" y="281924"/>
                      <a:pt x="471855" y="282419"/>
                    </a:cubicBezTo>
                    <a:cubicBezTo>
                      <a:pt x="472068" y="282114"/>
                      <a:pt x="472131" y="281764"/>
                      <a:pt x="472191" y="281398"/>
                    </a:cubicBezTo>
                    <a:cubicBezTo>
                      <a:pt x="473827" y="271871"/>
                      <a:pt x="478663" y="238524"/>
                      <a:pt x="483499" y="235374"/>
                    </a:cubicBezTo>
                    <a:close/>
                    <a:moveTo>
                      <a:pt x="656036" y="216319"/>
                    </a:moveTo>
                    <a:cubicBezTo>
                      <a:pt x="668980" y="219469"/>
                      <a:pt x="704469" y="232147"/>
                      <a:pt x="706033" y="240061"/>
                    </a:cubicBezTo>
                    <a:cubicBezTo>
                      <a:pt x="707669" y="248052"/>
                      <a:pt x="678652" y="259116"/>
                      <a:pt x="670544" y="263880"/>
                    </a:cubicBezTo>
                    <a:cubicBezTo>
                      <a:pt x="662508" y="268644"/>
                      <a:pt x="660872" y="268644"/>
                      <a:pt x="656036" y="271871"/>
                    </a:cubicBezTo>
                    <a:cubicBezTo>
                      <a:pt x="651200" y="275021"/>
                      <a:pt x="639963" y="276635"/>
                      <a:pt x="638327" y="281398"/>
                    </a:cubicBezTo>
                    <a:cubicBezTo>
                      <a:pt x="636691" y="286162"/>
                      <a:pt x="644799" y="295690"/>
                      <a:pt x="643163" y="305217"/>
                    </a:cubicBezTo>
                    <a:cubicBezTo>
                      <a:pt x="641527" y="314745"/>
                      <a:pt x="636691" y="332186"/>
                      <a:pt x="631855" y="340100"/>
                    </a:cubicBezTo>
                    <a:cubicBezTo>
                      <a:pt x="627019" y="348014"/>
                      <a:pt x="620618" y="352778"/>
                      <a:pt x="614146" y="354392"/>
                    </a:cubicBezTo>
                    <a:cubicBezTo>
                      <a:pt x="607674" y="356005"/>
                      <a:pt x="596366" y="340100"/>
                      <a:pt x="594802" y="348014"/>
                    </a:cubicBezTo>
                    <a:cubicBezTo>
                      <a:pt x="593166" y="356005"/>
                      <a:pt x="602838" y="389351"/>
                      <a:pt x="602838" y="400416"/>
                    </a:cubicBezTo>
                    <a:cubicBezTo>
                      <a:pt x="602838" y="411557"/>
                      <a:pt x="596366" y="408407"/>
                      <a:pt x="591530" y="411557"/>
                    </a:cubicBezTo>
                    <a:cubicBezTo>
                      <a:pt x="586694" y="414707"/>
                      <a:pt x="573821" y="419471"/>
                      <a:pt x="570621" y="414707"/>
                    </a:cubicBezTo>
                    <a:cubicBezTo>
                      <a:pt x="567349" y="409943"/>
                      <a:pt x="573821" y="387738"/>
                      <a:pt x="570621" y="382974"/>
                    </a:cubicBezTo>
                    <a:cubicBezTo>
                      <a:pt x="567349" y="378210"/>
                      <a:pt x="556041" y="381361"/>
                      <a:pt x="549640" y="382974"/>
                    </a:cubicBezTo>
                    <a:cubicBezTo>
                      <a:pt x="543169" y="384588"/>
                      <a:pt x="533496" y="397266"/>
                      <a:pt x="530296" y="397266"/>
                    </a:cubicBezTo>
                    <a:cubicBezTo>
                      <a:pt x="527024" y="397266"/>
                      <a:pt x="527024" y="387738"/>
                      <a:pt x="530296" y="381361"/>
                    </a:cubicBezTo>
                    <a:cubicBezTo>
                      <a:pt x="533496" y="375060"/>
                      <a:pt x="544804" y="362306"/>
                      <a:pt x="551205" y="357542"/>
                    </a:cubicBezTo>
                    <a:cubicBezTo>
                      <a:pt x="557677" y="352778"/>
                      <a:pt x="564149" y="352778"/>
                      <a:pt x="567349" y="348014"/>
                    </a:cubicBezTo>
                    <a:cubicBezTo>
                      <a:pt x="570621" y="343250"/>
                      <a:pt x="575457" y="333800"/>
                      <a:pt x="570621" y="329036"/>
                    </a:cubicBezTo>
                    <a:cubicBezTo>
                      <a:pt x="565785" y="324272"/>
                      <a:pt x="548005" y="322659"/>
                      <a:pt x="536697" y="319508"/>
                    </a:cubicBezTo>
                    <a:cubicBezTo>
                      <a:pt x="525460" y="316281"/>
                      <a:pt x="504479" y="319508"/>
                      <a:pt x="498007" y="309981"/>
                    </a:cubicBezTo>
                    <a:cubicBezTo>
                      <a:pt x="494097" y="304225"/>
                      <a:pt x="495509" y="292664"/>
                      <a:pt x="496612" y="281584"/>
                    </a:cubicBezTo>
                    <a:lnTo>
                      <a:pt x="530296" y="281398"/>
                    </a:lnTo>
                    <a:cubicBezTo>
                      <a:pt x="548005" y="281398"/>
                      <a:pt x="564149" y="284549"/>
                      <a:pt x="570621" y="281398"/>
                    </a:cubicBezTo>
                    <a:cubicBezTo>
                      <a:pt x="577022" y="278171"/>
                      <a:pt x="570621" y="268644"/>
                      <a:pt x="570621" y="262343"/>
                    </a:cubicBezTo>
                    <a:cubicBezTo>
                      <a:pt x="570621" y="255966"/>
                      <a:pt x="570621" y="249589"/>
                      <a:pt x="573821" y="244825"/>
                    </a:cubicBezTo>
                    <a:cubicBezTo>
                      <a:pt x="577022" y="240061"/>
                      <a:pt x="580293" y="233761"/>
                      <a:pt x="588330" y="230610"/>
                    </a:cubicBezTo>
                    <a:cubicBezTo>
                      <a:pt x="596366" y="227383"/>
                      <a:pt x="612510" y="222620"/>
                      <a:pt x="623819" y="221083"/>
                    </a:cubicBezTo>
                    <a:cubicBezTo>
                      <a:pt x="635127" y="219469"/>
                      <a:pt x="643163" y="213092"/>
                      <a:pt x="656036" y="216319"/>
                    </a:cubicBezTo>
                    <a:close/>
                    <a:moveTo>
                      <a:pt x="154942" y="0"/>
                    </a:moveTo>
                    <a:cubicBezTo>
                      <a:pt x="155351" y="393"/>
                      <a:pt x="155351" y="1181"/>
                      <a:pt x="157769" y="1949"/>
                    </a:cubicBezTo>
                    <a:lnTo>
                      <a:pt x="178679" y="6713"/>
                    </a:lnTo>
                    <a:cubicBezTo>
                      <a:pt x="185151" y="9940"/>
                      <a:pt x="194823" y="14704"/>
                      <a:pt x="201295" y="19468"/>
                    </a:cubicBezTo>
                    <a:cubicBezTo>
                      <a:pt x="207767" y="24231"/>
                      <a:pt x="210967" y="32146"/>
                      <a:pt x="215803" y="33759"/>
                    </a:cubicBezTo>
                    <a:cubicBezTo>
                      <a:pt x="220639" y="35296"/>
                      <a:pt x="227111" y="32146"/>
                      <a:pt x="235148" y="30532"/>
                    </a:cubicBezTo>
                    <a:cubicBezTo>
                      <a:pt x="243185" y="28995"/>
                      <a:pt x="257693" y="16241"/>
                      <a:pt x="265801" y="21004"/>
                    </a:cubicBezTo>
                    <a:cubicBezTo>
                      <a:pt x="273837" y="25768"/>
                      <a:pt x="280309" y="49587"/>
                      <a:pt x="280309" y="59115"/>
                    </a:cubicBezTo>
                    <a:cubicBezTo>
                      <a:pt x="280309" y="68642"/>
                      <a:pt x="267436" y="70256"/>
                      <a:pt x="264165" y="76556"/>
                    </a:cubicBezTo>
                    <a:cubicBezTo>
                      <a:pt x="260965" y="82933"/>
                      <a:pt x="259329" y="90847"/>
                      <a:pt x="259329" y="97225"/>
                    </a:cubicBezTo>
                    <a:cubicBezTo>
                      <a:pt x="259329" y="103602"/>
                      <a:pt x="270637" y="111516"/>
                      <a:pt x="269001" y="116280"/>
                    </a:cubicBezTo>
                    <a:cubicBezTo>
                      <a:pt x="267436" y="121044"/>
                      <a:pt x="257693" y="121044"/>
                      <a:pt x="254493" y="125807"/>
                    </a:cubicBezTo>
                    <a:cubicBezTo>
                      <a:pt x="251292" y="130571"/>
                      <a:pt x="246456" y="136948"/>
                      <a:pt x="249656" y="144862"/>
                    </a:cubicBezTo>
                    <a:cubicBezTo>
                      <a:pt x="252857" y="152776"/>
                      <a:pt x="262529" y="165454"/>
                      <a:pt x="270637" y="171832"/>
                    </a:cubicBezTo>
                    <a:cubicBezTo>
                      <a:pt x="278673" y="178209"/>
                      <a:pt x="298018" y="176595"/>
                      <a:pt x="299654" y="186123"/>
                    </a:cubicBezTo>
                    <a:cubicBezTo>
                      <a:pt x="301290" y="195650"/>
                      <a:pt x="280309" y="217856"/>
                      <a:pt x="280309" y="225847"/>
                    </a:cubicBezTo>
                    <a:cubicBezTo>
                      <a:pt x="280309" y="233761"/>
                      <a:pt x="293182" y="232147"/>
                      <a:pt x="299654" y="235374"/>
                    </a:cubicBezTo>
                    <a:cubicBezTo>
                      <a:pt x="306126" y="238524"/>
                      <a:pt x="315798" y="243288"/>
                      <a:pt x="322199" y="248052"/>
                    </a:cubicBezTo>
                    <a:cubicBezTo>
                      <a:pt x="328671" y="252816"/>
                      <a:pt x="335143" y="255966"/>
                      <a:pt x="341615" y="259116"/>
                    </a:cubicBezTo>
                    <a:cubicBezTo>
                      <a:pt x="348015" y="262343"/>
                      <a:pt x="357688" y="265493"/>
                      <a:pt x="367360" y="268644"/>
                    </a:cubicBezTo>
                    <a:cubicBezTo>
                      <a:pt x="377032" y="271871"/>
                      <a:pt x="388340" y="279785"/>
                      <a:pt x="396448" y="282935"/>
                    </a:cubicBezTo>
                    <a:cubicBezTo>
                      <a:pt x="404485" y="286162"/>
                      <a:pt x="406120" y="284549"/>
                      <a:pt x="414157" y="286162"/>
                    </a:cubicBezTo>
                    <a:cubicBezTo>
                      <a:pt x="422193" y="287699"/>
                      <a:pt x="441609" y="292463"/>
                      <a:pt x="449646" y="292463"/>
                    </a:cubicBezTo>
                    <a:cubicBezTo>
                      <a:pt x="457682" y="292463"/>
                      <a:pt x="451282" y="284549"/>
                      <a:pt x="464154" y="282935"/>
                    </a:cubicBezTo>
                    <a:cubicBezTo>
                      <a:pt x="466201" y="282691"/>
                      <a:pt x="468820" y="282485"/>
                      <a:pt x="471855" y="282419"/>
                    </a:cubicBezTo>
                    <a:cubicBezTo>
                      <a:pt x="470382" y="290816"/>
                      <a:pt x="467418" y="289616"/>
                      <a:pt x="468990" y="297226"/>
                    </a:cubicBezTo>
                    <a:cubicBezTo>
                      <a:pt x="470626" y="305217"/>
                      <a:pt x="483499" y="319508"/>
                      <a:pt x="483499" y="325809"/>
                    </a:cubicBezTo>
                    <a:cubicBezTo>
                      <a:pt x="483499" y="332186"/>
                      <a:pt x="467355" y="335336"/>
                      <a:pt x="467355" y="338487"/>
                    </a:cubicBezTo>
                    <a:cubicBezTo>
                      <a:pt x="467355" y="341714"/>
                      <a:pt x="481863" y="344864"/>
                      <a:pt x="486699" y="348014"/>
                    </a:cubicBezTo>
                    <a:cubicBezTo>
                      <a:pt x="491535" y="351241"/>
                      <a:pt x="493171" y="352778"/>
                      <a:pt x="493171" y="362306"/>
                    </a:cubicBezTo>
                    <a:cubicBezTo>
                      <a:pt x="493171" y="371833"/>
                      <a:pt x="493171" y="397266"/>
                      <a:pt x="488335" y="405180"/>
                    </a:cubicBezTo>
                    <a:cubicBezTo>
                      <a:pt x="483499" y="413170"/>
                      <a:pt x="465790" y="406793"/>
                      <a:pt x="459318" y="411557"/>
                    </a:cubicBezTo>
                    <a:cubicBezTo>
                      <a:pt x="452846" y="416321"/>
                      <a:pt x="454482" y="432149"/>
                      <a:pt x="448010" y="438526"/>
                    </a:cubicBezTo>
                    <a:cubicBezTo>
                      <a:pt x="441609" y="444903"/>
                      <a:pt x="433502" y="448053"/>
                      <a:pt x="423829" y="454431"/>
                    </a:cubicBezTo>
                    <a:cubicBezTo>
                      <a:pt x="414157" y="460731"/>
                      <a:pt x="393177" y="465495"/>
                      <a:pt x="385140" y="473486"/>
                    </a:cubicBezTo>
                    <a:cubicBezTo>
                      <a:pt x="377032" y="481400"/>
                      <a:pt x="380304" y="492541"/>
                      <a:pt x="372196" y="500455"/>
                    </a:cubicBezTo>
                    <a:cubicBezTo>
                      <a:pt x="364160" y="508369"/>
                      <a:pt x="344815" y="513133"/>
                      <a:pt x="338343" y="521124"/>
                    </a:cubicBezTo>
                    <a:cubicBezTo>
                      <a:pt x="331942" y="529038"/>
                      <a:pt x="336778" y="543329"/>
                      <a:pt x="331942" y="548093"/>
                    </a:cubicBezTo>
                    <a:cubicBezTo>
                      <a:pt x="327106" y="552856"/>
                      <a:pt x="320634" y="544866"/>
                      <a:pt x="312526" y="548093"/>
                    </a:cubicBezTo>
                    <a:cubicBezTo>
                      <a:pt x="304490" y="551243"/>
                      <a:pt x="288346" y="557620"/>
                      <a:pt x="283510" y="567148"/>
                    </a:cubicBezTo>
                    <a:cubicBezTo>
                      <a:pt x="278673" y="576675"/>
                      <a:pt x="283510" y="587740"/>
                      <a:pt x="283510" y="602031"/>
                    </a:cubicBezTo>
                    <a:cubicBezTo>
                      <a:pt x="283510" y="616322"/>
                      <a:pt x="286781" y="636991"/>
                      <a:pt x="283510" y="652819"/>
                    </a:cubicBezTo>
                    <a:cubicBezTo>
                      <a:pt x="280309" y="668724"/>
                      <a:pt x="269001" y="686165"/>
                      <a:pt x="260965" y="700456"/>
                    </a:cubicBezTo>
                    <a:cubicBezTo>
                      <a:pt x="252857" y="714748"/>
                      <a:pt x="244820" y="727426"/>
                      <a:pt x="236784" y="735416"/>
                    </a:cubicBezTo>
                    <a:cubicBezTo>
                      <a:pt x="230703" y="741352"/>
                      <a:pt x="228303" y="756234"/>
                      <a:pt x="220672" y="753936"/>
                    </a:cubicBezTo>
                    <a:lnTo>
                      <a:pt x="210967" y="744944"/>
                    </a:lnTo>
                    <a:cubicBezTo>
                      <a:pt x="194823" y="722662"/>
                      <a:pt x="157769" y="643291"/>
                      <a:pt x="139989" y="597267"/>
                    </a:cubicBezTo>
                    <a:cubicBezTo>
                      <a:pt x="122281" y="551243"/>
                      <a:pt x="112608" y="495691"/>
                      <a:pt x="104501" y="463958"/>
                    </a:cubicBezTo>
                    <a:cubicBezTo>
                      <a:pt x="96464" y="432149"/>
                      <a:pt x="101300" y="414707"/>
                      <a:pt x="94828" y="409943"/>
                    </a:cubicBezTo>
                    <a:cubicBezTo>
                      <a:pt x="88427" y="405180"/>
                      <a:pt x="77119" y="436912"/>
                      <a:pt x="65811" y="438526"/>
                    </a:cubicBezTo>
                    <a:cubicBezTo>
                      <a:pt x="54503" y="440139"/>
                      <a:pt x="28758" y="425848"/>
                      <a:pt x="22286" y="419471"/>
                    </a:cubicBezTo>
                    <a:cubicBezTo>
                      <a:pt x="15814" y="413170"/>
                      <a:pt x="17450" y="402029"/>
                      <a:pt x="22286" y="397266"/>
                    </a:cubicBezTo>
                    <a:cubicBezTo>
                      <a:pt x="27122" y="392502"/>
                      <a:pt x="54503" y="389351"/>
                      <a:pt x="51303" y="387738"/>
                    </a:cubicBezTo>
                    <a:cubicBezTo>
                      <a:pt x="48102" y="386124"/>
                      <a:pt x="12614" y="387738"/>
                      <a:pt x="4506" y="382974"/>
                    </a:cubicBezTo>
                    <a:cubicBezTo>
                      <a:pt x="-3531" y="378210"/>
                      <a:pt x="1306" y="367069"/>
                      <a:pt x="2941" y="362306"/>
                    </a:cubicBezTo>
                    <a:lnTo>
                      <a:pt x="19014" y="349628"/>
                    </a:lnTo>
                    <a:cubicBezTo>
                      <a:pt x="27122" y="348014"/>
                      <a:pt x="44831" y="351241"/>
                      <a:pt x="52939" y="349628"/>
                    </a:cubicBezTo>
                    <a:cubicBezTo>
                      <a:pt x="60975" y="348014"/>
                      <a:pt x="64176" y="343250"/>
                      <a:pt x="65811" y="338487"/>
                    </a:cubicBezTo>
                    <a:lnTo>
                      <a:pt x="65811" y="319508"/>
                    </a:lnTo>
                    <a:cubicBezTo>
                      <a:pt x="64176" y="314745"/>
                      <a:pt x="54503" y="316281"/>
                      <a:pt x="51303" y="311518"/>
                    </a:cubicBezTo>
                    <a:cubicBezTo>
                      <a:pt x="48102" y="306754"/>
                      <a:pt x="46467" y="294076"/>
                      <a:pt x="41631" y="287699"/>
                    </a:cubicBezTo>
                    <a:cubicBezTo>
                      <a:pt x="36794" y="281398"/>
                      <a:pt x="20650" y="273407"/>
                      <a:pt x="22286" y="268644"/>
                    </a:cubicBezTo>
                    <a:cubicBezTo>
                      <a:pt x="23851" y="263880"/>
                      <a:pt x="46467" y="259116"/>
                      <a:pt x="56139" y="257579"/>
                    </a:cubicBezTo>
                    <a:cubicBezTo>
                      <a:pt x="65811" y="255966"/>
                      <a:pt x="77119" y="263880"/>
                      <a:pt x="85156" y="257579"/>
                    </a:cubicBezTo>
                    <a:cubicBezTo>
                      <a:pt x="93264" y="251202"/>
                      <a:pt x="89992" y="233761"/>
                      <a:pt x="99664" y="221083"/>
                    </a:cubicBezTo>
                    <a:cubicBezTo>
                      <a:pt x="109337" y="208328"/>
                      <a:pt x="133518" y="192500"/>
                      <a:pt x="143190" y="178209"/>
                    </a:cubicBezTo>
                    <a:cubicBezTo>
                      <a:pt x="152933" y="163918"/>
                      <a:pt x="164170" y="141712"/>
                      <a:pt x="162606" y="130571"/>
                    </a:cubicBezTo>
                    <a:cubicBezTo>
                      <a:pt x="160970" y="119430"/>
                      <a:pt x="136789" y="124194"/>
                      <a:pt x="130317" y="114666"/>
                    </a:cubicBezTo>
                    <a:cubicBezTo>
                      <a:pt x="123845" y="105139"/>
                      <a:pt x="123845" y="82933"/>
                      <a:pt x="122281" y="76556"/>
                    </a:cubicBezTo>
                    <a:cubicBezTo>
                      <a:pt x="121076" y="71917"/>
                      <a:pt x="117250" y="74110"/>
                      <a:pt x="115809" y="73406"/>
                    </a:cubicBezTo>
                    <a:cubicBezTo>
                      <a:pt x="117444" y="70256"/>
                      <a:pt x="127117" y="57501"/>
                      <a:pt x="128681" y="52737"/>
                    </a:cubicBezTo>
                    <a:cubicBezTo>
                      <a:pt x="130317" y="47974"/>
                      <a:pt x="128681" y="46437"/>
                      <a:pt x="123845" y="43287"/>
                    </a:cubicBezTo>
                    <a:cubicBezTo>
                      <a:pt x="119009" y="40060"/>
                      <a:pt x="102936" y="33759"/>
                      <a:pt x="99664" y="28995"/>
                    </a:cubicBezTo>
                    <a:cubicBezTo>
                      <a:pt x="96464" y="24231"/>
                      <a:pt x="99664" y="14704"/>
                      <a:pt x="104501" y="9940"/>
                    </a:cubicBezTo>
                    <a:cubicBezTo>
                      <a:pt x="109337" y="5176"/>
                      <a:pt x="125481" y="3563"/>
                      <a:pt x="128681" y="1949"/>
                    </a:cubicBezTo>
                    <a:lnTo>
                      <a:pt x="125706" y="4890"/>
                    </a:lnTo>
                    <a:lnTo>
                      <a:pt x="106136" y="9940"/>
                    </a:lnTo>
                    <a:cubicBezTo>
                      <a:pt x="99664" y="13090"/>
                      <a:pt x="106136" y="21004"/>
                      <a:pt x="106136" y="24231"/>
                    </a:cubicBezTo>
                    <a:lnTo>
                      <a:pt x="125706" y="4890"/>
                    </a:lnTo>
                    <a:cubicBezTo>
                      <a:pt x="135262" y="2946"/>
                      <a:pt x="145405" y="1227"/>
                      <a:pt x="149662" y="41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24" name="Freeform 147">
                <a:extLst>
                  <a:ext uri="{FF2B5EF4-FFF2-40B4-BE49-F238E27FC236}">
                    <a16:creationId xmlns:a16="http://schemas.microsoft.com/office/drawing/2014/main" id="{559ED5C6-3A97-4986-B8EB-2551359A6285}"/>
                  </a:ext>
                </a:extLst>
              </p:cNvPr>
              <p:cNvSpPr>
                <a:spLocks/>
              </p:cNvSpPr>
              <p:nvPr>
                <p:custDataLst>
                  <p:tags r:id="rId112"/>
                </p:custDataLst>
              </p:nvPr>
            </p:nvSpPr>
            <p:spPr bwMode="gray">
              <a:xfrm>
                <a:off x="6629077" y="3929400"/>
                <a:ext cx="188087" cy="352920"/>
              </a:xfrm>
              <a:custGeom>
                <a:avLst/>
                <a:gdLst>
                  <a:gd name="T0" fmla="*/ 65 w 125"/>
                  <a:gd name="T1" fmla="*/ 217 h 229"/>
                  <a:gd name="T2" fmla="*/ 50 w 125"/>
                  <a:gd name="T3" fmla="*/ 208 h 229"/>
                  <a:gd name="T4" fmla="*/ 46 w 125"/>
                  <a:gd name="T5" fmla="*/ 192 h 229"/>
                  <a:gd name="T6" fmla="*/ 43 w 125"/>
                  <a:gd name="T7" fmla="*/ 180 h 229"/>
                  <a:gd name="T8" fmla="*/ 46 w 125"/>
                  <a:gd name="T9" fmla="*/ 168 h 229"/>
                  <a:gd name="T10" fmla="*/ 34 w 125"/>
                  <a:gd name="T11" fmla="*/ 171 h 229"/>
                  <a:gd name="T12" fmla="*/ 28 w 125"/>
                  <a:gd name="T13" fmla="*/ 157 h 229"/>
                  <a:gd name="T14" fmla="*/ 41 w 125"/>
                  <a:gd name="T15" fmla="*/ 142 h 229"/>
                  <a:gd name="T16" fmla="*/ 43 w 125"/>
                  <a:gd name="T17" fmla="*/ 127 h 229"/>
                  <a:gd name="T18" fmla="*/ 44 w 125"/>
                  <a:gd name="T19" fmla="*/ 112 h 229"/>
                  <a:gd name="T20" fmla="*/ 53 w 125"/>
                  <a:gd name="T21" fmla="*/ 108 h 229"/>
                  <a:gd name="T22" fmla="*/ 58 w 125"/>
                  <a:gd name="T23" fmla="*/ 124 h 229"/>
                  <a:gd name="T24" fmla="*/ 71 w 125"/>
                  <a:gd name="T25" fmla="*/ 126 h 229"/>
                  <a:gd name="T26" fmla="*/ 82 w 125"/>
                  <a:gd name="T27" fmla="*/ 139 h 229"/>
                  <a:gd name="T28" fmla="*/ 91 w 125"/>
                  <a:gd name="T29" fmla="*/ 153 h 229"/>
                  <a:gd name="T30" fmla="*/ 101 w 125"/>
                  <a:gd name="T31" fmla="*/ 157 h 229"/>
                  <a:gd name="T32" fmla="*/ 112 w 125"/>
                  <a:gd name="T33" fmla="*/ 159 h 229"/>
                  <a:gd name="T34" fmla="*/ 100 w 125"/>
                  <a:gd name="T35" fmla="*/ 147 h 229"/>
                  <a:gd name="T36" fmla="*/ 83 w 125"/>
                  <a:gd name="T37" fmla="*/ 126 h 229"/>
                  <a:gd name="T38" fmla="*/ 83 w 125"/>
                  <a:gd name="T39" fmla="*/ 100 h 229"/>
                  <a:gd name="T40" fmla="*/ 106 w 125"/>
                  <a:gd name="T41" fmla="*/ 99 h 229"/>
                  <a:gd name="T42" fmla="*/ 122 w 125"/>
                  <a:gd name="T43" fmla="*/ 94 h 229"/>
                  <a:gd name="T44" fmla="*/ 124 w 125"/>
                  <a:gd name="T45" fmla="*/ 73 h 229"/>
                  <a:gd name="T46" fmla="*/ 113 w 125"/>
                  <a:gd name="T47" fmla="*/ 63 h 229"/>
                  <a:gd name="T48" fmla="*/ 115 w 125"/>
                  <a:gd name="T49" fmla="*/ 46 h 229"/>
                  <a:gd name="T50" fmla="*/ 97 w 125"/>
                  <a:gd name="T51" fmla="*/ 33 h 229"/>
                  <a:gd name="T52" fmla="*/ 83 w 125"/>
                  <a:gd name="T53" fmla="*/ 39 h 229"/>
                  <a:gd name="T54" fmla="*/ 68 w 125"/>
                  <a:gd name="T55" fmla="*/ 36 h 229"/>
                  <a:gd name="T56" fmla="*/ 58 w 125"/>
                  <a:gd name="T57" fmla="*/ 46 h 229"/>
                  <a:gd name="T58" fmla="*/ 62 w 125"/>
                  <a:gd name="T59" fmla="*/ 19 h 229"/>
                  <a:gd name="T60" fmla="*/ 50 w 125"/>
                  <a:gd name="T61" fmla="*/ 9 h 229"/>
                  <a:gd name="T62" fmla="*/ 43 w 125"/>
                  <a:gd name="T63" fmla="*/ 0 h 229"/>
                  <a:gd name="T64" fmla="*/ 17 w 125"/>
                  <a:gd name="T65" fmla="*/ 7 h 229"/>
                  <a:gd name="T66" fmla="*/ 5 w 125"/>
                  <a:gd name="T67" fmla="*/ 18 h 229"/>
                  <a:gd name="T68" fmla="*/ 5 w 125"/>
                  <a:gd name="T69" fmla="*/ 37 h 229"/>
                  <a:gd name="T70" fmla="*/ 17 w 125"/>
                  <a:gd name="T71" fmla="*/ 57 h 229"/>
                  <a:gd name="T72" fmla="*/ 16 w 125"/>
                  <a:gd name="T73" fmla="*/ 73 h 229"/>
                  <a:gd name="T74" fmla="*/ 3 w 125"/>
                  <a:gd name="T75" fmla="*/ 63 h 229"/>
                  <a:gd name="T76" fmla="*/ 1 w 125"/>
                  <a:gd name="T77" fmla="*/ 57 h 229"/>
                  <a:gd name="T78" fmla="*/ 7 w 125"/>
                  <a:gd name="T79" fmla="*/ 90 h 229"/>
                  <a:gd name="T80" fmla="*/ 8 w 125"/>
                  <a:gd name="T81" fmla="*/ 100 h 229"/>
                  <a:gd name="T82" fmla="*/ 17 w 125"/>
                  <a:gd name="T83" fmla="*/ 111 h 229"/>
                  <a:gd name="T84" fmla="*/ 5 w 125"/>
                  <a:gd name="T85" fmla="*/ 117 h 229"/>
                  <a:gd name="T86" fmla="*/ 2 w 125"/>
                  <a:gd name="T87" fmla="*/ 124 h 229"/>
                  <a:gd name="T88" fmla="*/ 14 w 125"/>
                  <a:gd name="T89" fmla="*/ 150 h 229"/>
                  <a:gd name="T90" fmla="*/ 14 w 125"/>
                  <a:gd name="T91" fmla="*/ 163 h 229"/>
                  <a:gd name="T92" fmla="*/ 25 w 125"/>
                  <a:gd name="T93" fmla="*/ 192 h 229"/>
                  <a:gd name="T94" fmla="*/ 38 w 125"/>
                  <a:gd name="T95" fmla="*/ 213 h 229"/>
                  <a:gd name="T96" fmla="*/ 58 w 125"/>
                  <a:gd name="T97" fmla="*/ 229 h 229"/>
                  <a:gd name="T98" fmla="*/ 65 w 125"/>
                  <a:gd name="T99" fmla="*/ 217 h 22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25" h="229">
                    <a:moveTo>
                      <a:pt x="65" y="217"/>
                    </a:moveTo>
                    <a:cubicBezTo>
                      <a:pt x="64" y="214"/>
                      <a:pt x="53" y="212"/>
                      <a:pt x="50" y="208"/>
                    </a:cubicBezTo>
                    <a:cubicBezTo>
                      <a:pt x="47" y="204"/>
                      <a:pt x="47" y="197"/>
                      <a:pt x="46" y="192"/>
                    </a:cubicBezTo>
                    <a:cubicBezTo>
                      <a:pt x="45" y="187"/>
                      <a:pt x="43" y="184"/>
                      <a:pt x="43" y="180"/>
                    </a:cubicBezTo>
                    <a:cubicBezTo>
                      <a:pt x="43" y="176"/>
                      <a:pt x="47" y="169"/>
                      <a:pt x="46" y="168"/>
                    </a:cubicBezTo>
                    <a:cubicBezTo>
                      <a:pt x="45" y="167"/>
                      <a:pt x="37" y="173"/>
                      <a:pt x="34" y="171"/>
                    </a:cubicBezTo>
                    <a:cubicBezTo>
                      <a:pt x="31" y="169"/>
                      <a:pt x="27" y="162"/>
                      <a:pt x="28" y="157"/>
                    </a:cubicBezTo>
                    <a:cubicBezTo>
                      <a:pt x="29" y="152"/>
                      <a:pt x="39" y="147"/>
                      <a:pt x="41" y="142"/>
                    </a:cubicBezTo>
                    <a:cubicBezTo>
                      <a:pt x="43" y="137"/>
                      <a:pt x="43" y="132"/>
                      <a:pt x="43" y="127"/>
                    </a:cubicBezTo>
                    <a:cubicBezTo>
                      <a:pt x="43" y="122"/>
                      <a:pt x="42" y="115"/>
                      <a:pt x="44" y="112"/>
                    </a:cubicBezTo>
                    <a:cubicBezTo>
                      <a:pt x="46" y="109"/>
                      <a:pt x="51" y="106"/>
                      <a:pt x="53" y="108"/>
                    </a:cubicBezTo>
                    <a:cubicBezTo>
                      <a:pt x="55" y="110"/>
                      <a:pt x="55" y="121"/>
                      <a:pt x="58" y="124"/>
                    </a:cubicBezTo>
                    <a:cubicBezTo>
                      <a:pt x="61" y="127"/>
                      <a:pt x="67" y="124"/>
                      <a:pt x="71" y="126"/>
                    </a:cubicBezTo>
                    <a:cubicBezTo>
                      <a:pt x="75" y="128"/>
                      <a:pt x="79" y="134"/>
                      <a:pt x="82" y="139"/>
                    </a:cubicBezTo>
                    <a:cubicBezTo>
                      <a:pt x="85" y="144"/>
                      <a:pt x="88" y="150"/>
                      <a:pt x="91" y="153"/>
                    </a:cubicBezTo>
                    <a:cubicBezTo>
                      <a:pt x="94" y="156"/>
                      <a:pt x="97" y="156"/>
                      <a:pt x="101" y="157"/>
                    </a:cubicBezTo>
                    <a:cubicBezTo>
                      <a:pt x="105" y="158"/>
                      <a:pt x="112" y="161"/>
                      <a:pt x="112" y="159"/>
                    </a:cubicBezTo>
                    <a:cubicBezTo>
                      <a:pt x="112" y="157"/>
                      <a:pt x="105" y="152"/>
                      <a:pt x="100" y="147"/>
                    </a:cubicBezTo>
                    <a:cubicBezTo>
                      <a:pt x="95" y="142"/>
                      <a:pt x="86" y="134"/>
                      <a:pt x="83" y="126"/>
                    </a:cubicBezTo>
                    <a:cubicBezTo>
                      <a:pt x="80" y="118"/>
                      <a:pt x="79" y="104"/>
                      <a:pt x="83" y="100"/>
                    </a:cubicBezTo>
                    <a:cubicBezTo>
                      <a:pt x="87" y="96"/>
                      <a:pt x="100" y="100"/>
                      <a:pt x="106" y="99"/>
                    </a:cubicBezTo>
                    <a:cubicBezTo>
                      <a:pt x="112" y="98"/>
                      <a:pt x="119" y="98"/>
                      <a:pt x="122" y="94"/>
                    </a:cubicBezTo>
                    <a:cubicBezTo>
                      <a:pt x="125" y="90"/>
                      <a:pt x="125" y="78"/>
                      <a:pt x="124" y="73"/>
                    </a:cubicBezTo>
                    <a:cubicBezTo>
                      <a:pt x="123" y="68"/>
                      <a:pt x="114" y="67"/>
                      <a:pt x="113" y="63"/>
                    </a:cubicBezTo>
                    <a:cubicBezTo>
                      <a:pt x="112" y="59"/>
                      <a:pt x="118" y="51"/>
                      <a:pt x="115" y="46"/>
                    </a:cubicBezTo>
                    <a:cubicBezTo>
                      <a:pt x="112" y="41"/>
                      <a:pt x="102" y="34"/>
                      <a:pt x="97" y="33"/>
                    </a:cubicBezTo>
                    <a:cubicBezTo>
                      <a:pt x="92" y="32"/>
                      <a:pt x="88" y="39"/>
                      <a:pt x="83" y="39"/>
                    </a:cubicBezTo>
                    <a:cubicBezTo>
                      <a:pt x="78" y="39"/>
                      <a:pt x="72" y="35"/>
                      <a:pt x="68" y="36"/>
                    </a:cubicBezTo>
                    <a:cubicBezTo>
                      <a:pt x="64" y="37"/>
                      <a:pt x="59" y="49"/>
                      <a:pt x="58" y="46"/>
                    </a:cubicBezTo>
                    <a:cubicBezTo>
                      <a:pt x="57" y="43"/>
                      <a:pt x="63" y="25"/>
                      <a:pt x="62" y="19"/>
                    </a:cubicBezTo>
                    <a:cubicBezTo>
                      <a:pt x="61" y="13"/>
                      <a:pt x="53" y="12"/>
                      <a:pt x="50" y="9"/>
                    </a:cubicBezTo>
                    <a:cubicBezTo>
                      <a:pt x="47" y="6"/>
                      <a:pt x="48" y="0"/>
                      <a:pt x="43" y="0"/>
                    </a:cubicBezTo>
                    <a:cubicBezTo>
                      <a:pt x="38" y="0"/>
                      <a:pt x="23" y="4"/>
                      <a:pt x="17" y="7"/>
                    </a:cubicBezTo>
                    <a:cubicBezTo>
                      <a:pt x="11" y="10"/>
                      <a:pt x="7" y="13"/>
                      <a:pt x="5" y="18"/>
                    </a:cubicBezTo>
                    <a:cubicBezTo>
                      <a:pt x="3" y="23"/>
                      <a:pt x="3" y="30"/>
                      <a:pt x="5" y="37"/>
                    </a:cubicBezTo>
                    <a:cubicBezTo>
                      <a:pt x="7" y="44"/>
                      <a:pt x="15" y="51"/>
                      <a:pt x="17" y="57"/>
                    </a:cubicBezTo>
                    <a:cubicBezTo>
                      <a:pt x="19" y="63"/>
                      <a:pt x="18" y="72"/>
                      <a:pt x="16" y="73"/>
                    </a:cubicBezTo>
                    <a:cubicBezTo>
                      <a:pt x="14" y="74"/>
                      <a:pt x="5" y="66"/>
                      <a:pt x="3" y="63"/>
                    </a:cubicBezTo>
                    <a:cubicBezTo>
                      <a:pt x="1" y="60"/>
                      <a:pt x="0" y="53"/>
                      <a:pt x="1" y="57"/>
                    </a:cubicBezTo>
                    <a:cubicBezTo>
                      <a:pt x="2" y="61"/>
                      <a:pt x="6" y="83"/>
                      <a:pt x="7" y="90"/>
                    </a:cubicBezTo>
                    <a:cubicBezTo>
                      <a:pt x="8" y="97"/>
                      <a:pt x="6" y="97"/>
                      <a:pt x="8" y="100"/>
                    </a:cubicBezTo>
                    <a:cubicBezTo>
                      <a:pt x="10" y="103"/>
                      <a:pt x="17" y="108"/>
                      <a:pt x="17" y="111"/>
                    </a:cubicBezTo>
                    <a:cubicBezTo>
                      <a:pt x="17" y="114"/>
                      <a:pt x="7" y="115"/>
                      <a:pt x="5" y="117"/>
                    </a:cubicBezTo>
                    <a:cubicBezTo>
                      <a:pt x="3" y="119"/>
                      <a:pt x="1" y="119"/>
                      <a:pt x="2" y="124"/>
                    </a:cubicBezTo>
                    <a:cubicBezTo>
                      <a:pt x="3" y="129"/>
                      <a:pt x="12" y="144"/>
                      <a:pt x="14" y="150"/>
                    </a:cubicBezTo>
                    <a:cubicBezTo>
                      <a:pt x="16" y="156"/>
                      <a:pt x="12" y="156"/>
                      <a:pt x="14" y="163"/>
                    </a:cubicBezTo>
                    <a:cubicBezTo>
                      <a:pt x="16" y="170"/>
                      <a:pt x="21" y="184"/>
                      <a:pt x="25" y="192"/>
                    </a:cubicBezTo>
                    <a:cubicBezTo>
                      <a:pt x="29" y="200"/>
                      <a:pt x="33" y="207"/>
                      <a:pt x="38" y="213"/>
                    </a:cubicBezTo>
                    <a:cubicBezTo>
                      <a:pt x="43" y="219"/>
                      <a:pt x="53" y="229"/>
                      <a:pt x="58" y="229"/>
                    </a:cubicBezTo>
                    <a:cubicBezTo>
                      <a:pt x="63" y="229"/>
                      <a:pt x="66" y="220"/>
                      <a:pt x="65" y="21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25" name="Freeform 148">
                <a:extLst>
                  <a:ext uri="{FF2B5EF4-FFF2-40B4-BE49-F238E27FC236}">
                    <a16:creationId xmlns:a16="http://schemas.microsoft.com/office/drawing/2014/main" id="{6C7DB320-89B0-473E-ABAC-EDFF9A50359F}"/>
                  </a:ext>
                </a:extLst>
              </p:cNvPr>
              <p:cNvSpPr>
                <a:spLocks/>
              </p:cNvSpPr>
              <p:nvPr>
                <p:custDataLst>
                  <p:tags r:id="rId113"/>
                </p:custDataLst>
              </p:nvPr>
            </p:nvSpPr>
            <p:spPr bwMode="gray">
              <a:xfrm>
                <a:off x="6743113" y="3853884"/>
                <a:ext cx="164391" cy="362166"/>
              </a:xfrm>
              <a:custGeom>
                <a:avLst/>
                <a:gdLst>
                  <a:gd name="T0" fmla="*/ 33 w 109"/>
                  <a:gd name="T1" fmla="*/ 202 h 235"/>
                  <a:gd name="T2" fmla="*/ 49 w 109"/>
                  <a:gd name="T3" fmla="*/ 187 h 235"/>
                  <a:gd name="T4" fmla="*/ 75 w 109"/>
                  <a:gd name="T5" fmla="*/ 176 h 235"/>
                  <a:gd name="T6" fmla="*/ 75 w 109"/>
                  <a:gd name="T7" fmla="*/ 148 h 235"/>
                  <a:gd name="T8" fmla="*/ 54 w 109"/>
                  <a:gd name="T9" fmla="*/ 143 h 235"/>
                  <a:gd name="T10" fmla="*/ 76 w 109"/>
                  <a:gd name="T11" fmla="*/ 139 h 235"/>
                  <a:gd name="T12" fmla="*/ 64 w 109"/>
                  <a:gd name="T13" fmla="*/ 110 h 235"/>
                  <a:gd name="T14" fmla="*/ 45 w 109"/>
                  <a:gd name="T15" fmla="*/ 86 h 235"/>
                  <a:gd name="T16" fmla="*/ 25 w 109"/>
                  <a:gd name="T17" fmla="*/ 70 h 235"/>
                  <a:gd name="T18" fmla="*/ 39 w 109"/>
                  <a:gd name="T19" fmla="*/ 53 h 235"/>
                  <a:gd name="T20" fmla="*/ 27 w 109"/>
                  <a:gd name="T21" fmla="*/ 45 h 235"/>
                  <a:gd name="T22" fmla="*/ 20 w 109"/>
                  <a:gd name="T23" fmla="*/ 38 h 235"/>
                  <a:gd name="T24" fmla="*/ 6 w 109"/>
                  <a:gd name="T25" fmla="*/ 28 h 235"/>
                  <a:gd name="T26" fmla="*/ 0 w 109"/>
                  <a:gd name="T27" fmla="*/ 16 h 235"/>
                  <a:gd name="T28" fmla="*/ 6 w 109"/>
                  <a:gd name="T29" fmla="*/ 7 h 235"/>
                  <a:gd name="T30" fmla="*/ 19 w 109"/>
                  <a:gd name="T31" fmla="*/ 16 h 235"/>
                  <a:gd name="T32" fmla="*/ 34 w 109"/>
                  <a:gd name="T33" fmla="*/ 10 h 235"/>
                  <a:gd name="T34" fmla="*/ 45 w 109"/>
                  <a:gd name="T35" fmla="*/ 4 h 235"/>
                  <a:gd name="T36" fmla="*/ 81 w 109"/>
                  <a:gd name="T37" fmla="*/ 32 h 235"/>
                  <a:gd name="T38" fmla="*/ 63 w 109"/>
                  <a:gd name="T39" fmla="*/ 49 h 235"/>
                  <a:gd name="T40" fmla="*/ 51 w 109"/>
                  <a:gd name="T41" fmla="*/ 65 h 235"/>
                  <a:gd name="T42" fmla="*/ 55 w 109"/>
                  <a:gd name="T43" fmla="*/ 82 h 235"/>
                  <a:gd name="T44" fmla="*/ 79 w 109"/>
                  <a:gd name="T45" fmla="*/ 110 h 235"/>
                  <a:gd name="T46" fmla="*/ 94 w 109"/>
                  <a:gd name="T47" fmla="*/ 130 h 235"/>
                  <a:gd name="T48" fmla="*/ 105 w 109"/>
                  <a:gd name="T49" fmla="*/ 154 h 235"/>
                  <a:gd name="T50" fmla="*/ 105 w 109"/>
                  <a:gd name="T51" fmla="*/ 193 h 235"/>
                  <a:gd name="T52" fmla="*/ 81 w 109"/>
                  <a:gd name="T53" fmla="*/ 197 h 235"/>
                  <a:gd name="T54" fmla="*/ 64 w 109"/>
                  <a:gd name="T55" fmla="*/ 209 h 235"/>
                  <a:gd name="T56" fmla="*/ 61 w 109"/>
                  <a:gd name="T57" fmla="*/ 221 h 235"/>
                  <a:gd name="T58" fmla="*/ 43 w 109"/>
                  <a:gd name="T59" fmla="*/ 235 h 235"/>
                  <a:gd name="T60" fmla="*/ 36 w 109"/>
                  <a:gd name="T61" fmla="*/ 220 h 235"/>
                  <a:gd name="T62" fmla="*/ 33 w 109"/>
                  <a:gd name="T63" fmla="*/ 202 h 2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09" h="235">
                    <a:moveTo>
                      <a:pt x="33" y="202"/>
                    </a:moveTo>
                    <a:cubicBezTo>
                      <a:pt x="35" y="197"/>
                      <a:pt x="42" y="191"/>
                      <a:pt x="49" y="187"/>
                    </a:cubicBezTo>
                    <a:cubicBezTo>
                      <a:pt x="56" y="183"/>
                      <a:pt x="71" y="182"/>
                      <a:pt x="75" y="176"/>
                    </a:cubicBezTo>
                    <a:cubicBezTo>
                      <a:pt x="79" y="170"/>
                      <a:pt x="78" y="153"/>
                      <a:pt x="75" y="148"/>
                    </a:cubicBezTo>
                    <a:cubicBezTo>
                      <a:pt x="72" y="143"/>
                      <a:pt x="54" y="144"/>
                      <a:pt x="54" y="143"/>
                    </a:cubicBezTo>
                    <a:cubicBezTo>
                      <a:pt x="54" y="142"/>
                      <a:pt x="74" y="144"/>
                      <a:pt x="76" y="139"/>
                    </a:cubicBezTo>
                    <a:cubicBezTo>
                      <a:pt x="78" y="134"/>
                      <a:pt x="69" y="119"/>
                      <a:pt x="64" y="110"/>
                    </a:cubicBezTo>
                    <a:cubicBezTo>
                      <a:pt x="59" y="101"/>
                      <a:pt x="51" y="93"/>
                      <a:pt x="45" y="86"/>
                    </a:cubicBezTo>
                    <a:cubicBezTo>
                      <a:pt x="39" y="79"/>
                      <a:pt x="26" y="75"/>
                      <a:pt x="25" y="70"/>
                    </a:cubicBezTo>
                    <a:cubicBezTo>
                      <a:pt x="24" y="65"/>
                      <a:pt x="39" y="57"/>
                      <a:pt x="39" y="53"/>
                    </a:cubicBezTo>
                    <a:cubicBezTo>
                      <a:pt x="39" y="49"/>
                      <a:pt x="30" y="47"/>
                      <a:pt x="27" y="45"/>
                    </a:cubicBezTo>
                    <a:cubicBezTo>
                      <a:pt x="24" y="43"/>
                      <a:pt x="23" y="41"/>
                      <a:pt x="20" y="38"/>
                    </a:cubicBezTo>
                    <a:cubicBezTo>
                      <a:pt x="17" y="35"/>
                      <a:pt x="9" y="32"/>
                      <a:pt x="6" y="28"/>
                    </a:cubicBezTo>
                    <a:cubicBezTo>
                      <a:pt x="3" y="24"/>
                      <a:pt x="0" y="19"/>
                      <a:pt x="0" y="16"/>
                    </a:cubicBezTo>
                    <a:cubicBezTo>
                      <a:pt x="0" y="13"/>
                      <a:pt x="3" y="7"/>
                      <a:pt x="6" y="7"/>
                    </a:cubicBezTo>
                    <a:cubicBezTo>
                      <a:pt x="9" y="7"/>
                      <a:pt x="14" y="15"/>
                      <a:pt x="19" y="16"/>
                    </a:cubicBezTo>
                    <a:cubicBezTo>
                      <a:pt x="24" y="17"/>
                      <a:pt x="30" y="12"/>
                      <a:pt x="34" y="10"/>
                    </a:cubicBezTo>
                    <a:cubicBezTo>
                      <a:pt x="38" y="8"/>
                      <a:pt x="37" y="0"/>
                      <a:pt x="45" y="4"/>
                    </a:cubicBezTo>
                    <a:cubicBezTo>
                      <a:pt x="53" y="8"/>
                      <a:pt x="78" y="25"/>
                      <a:pt x="81" y="32"/>
                    </a:cubicBezTo>
                    <a:cubicBezTo>
                      <a:pt x="84" y="39"/>
                      <a:pt x="68" y="43"/>
                      <a:pt x="63" y="49"/>
                    </a:cubicBezTo>
                    <a:cubicBezTo>
                      <a:pt x="58" y="55"/>
                      <a:pt x="52" y="60"/>
                      <a:pt x="51" y="65"/>
                    </a:cubicBezTo>
                    <a:cubicBezTo>
                      <a:pt x="50" y="70"/>
                      <a:pt x="50" y="75"/>
                      <a:pt x="55" y="82"/>
                    </a:cubicBezTo>
                    <a:cubicBezTo>
                      <a:pt x="60" y="89"/>
                      <a:pt x="72" y="102"/>
                      <a:pt x="79" y="110"/>
                    </a:cubicBezTo>
                    <a:cubicBezTo>
                      <a:pt x="86" y="118"/>
                      <a:pt x="90" y="123"/>
                      <a:pt x="94" y="130"/>
                    </a:cubicBezTo>
                    <a:cubicBezTo>
                      <a:pt x="98" y="137"/>
                      <a:pt x="103" y="144"/>
                      <a:pt x="105" y="154"/>
                    </a:cubicBezTo>
                    <a:cubicBezTo>
                      <a:pt x="107" y="164"/>
                      <a:pt x="109" y="186"/>
                      <a:pt x="105" y="193"/>
                    </a:cubicBezTo>
                    <a:cubicBezTo>
                      <a:pt x="101" y="200"/>
                      <a:pt x="88" y="194"/>
                      <a:pt x="81" y="197"/>
                    </a:cubicBezTo>
                    <a:cubicBezTo>
                      <a:pt x="74" y="200"/>
                      <a:pt x="67" y="205"/>
                      <a:pt x="64" y="209"/>
                    </a:cubicBezTo>
                    <a:cubicBezTo>
                      <a:pt x="61" y="213"/>
                      <a:pt x="65" y="217"/>
                      <a:pt x="61" y="221"/>
                    </a:cubicBezTo>
                    <a:cubicBezTo>
                      <a:pt x="57" y="225"/>
                      <a:pt x="47" y="235"/>
                      <a:pt x="43" y="235"/>
                    </a:cubicBezTo>
                    <a:cubicBezTo>
                      <a:pt x="39" y="235"/>
                      <a:pt x="37" y="225"/>
                      <a:pt x="36" y="220"/>
                    </a:cubicBezTo>
                    <a:cubicBezTo>
                      <a:pt x="35" y="215"/>
                      <a:pt x="31" y="207"/>
                      <a:pt x="33" y="20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26" name="Freeform 154">
                <a:extLst>
                  <a:ext uri="{FF2B5EF4-FFF2-40B4-BE49-F238E27FC236}">
                    <a16:creationId xmlns:a16="http://schemas.microsoft.com/office/drawing/2014/main" id="{DBE4E4EB-911A-4BF0-93BB-6B53625CBBA8}"/>
                  </a:ext>
                </a:extLst>
              </p:cNvPr>
              <p:cNvSpPr>
                <a:spLocks/>
              </p:cNvSpPr>
              <p:nvPr>
                <p:custDataLst>
                  <p:tags r:id="rId114"/>
                </p:custDataLst>
              </p:nvPr>
            </p:nvSpPr>
            <p:spPr bwMode="gray">
              <a:xfrm>
                <a:off x="8169314" y="5274807"/>
                <a:ext cx="271023" cy="402236"/>
              </a:xfrm>
              <a:custGeom>
                <a:avLst/>
                <a:gdLst>
                  <a:gd name="T0" fmla="*/ 36 w 180"/>
                  <a:gd name="T1" fmla="*/ 244 h 261"/>
                  <a:gd name="T2" fmla="*/ 55 w 180"/>
                  <a:gd name="T3" fmla="*/ 237 h 261"/>
                  <a:gd name="T4" fmla="*/ 66 w 180"/>
                  <a:gd name="T5" fmla="*/ 214 h 261"/>
                  <a:gd name="T6" fmla="*/ 81 w 180"/>
                  <a:gd name="T7" fmla="*/ 198 h 261"/>
                  <a:gd name="T8" fmla="*/ 85 w 180"/>
                  <a:gd name="T9" fmla="*/ 186 h 261"/>
                  <a:gd name="T10" fmla="*/ 108 w 180"/>
                  <a:gd name="T11" fmla="*/ 186 h 261"/>
                  <a:gd name="T12" fmla="*/ 96 w 180"/>
                  <a:gd name="T13" fmla="*/ 172 h 261"/>
                  <a:gd name="T14" fmla="*/ 105 w 180"/>
                  <a:gd name="T15" fmla="*/ 156 h 261"/>
                  <a:gd name="T16" fmla="*/ 121 w 180"/>
                  <a:gd name="T17" fmla="*/ 136 h 261"/>
                  <a:gd name="T18" fmla="*/ 129 w 180"/>
                  <a:gd name="T19" fmla="*/ 129 h 261"/>
                  <a:gd name="T20" fmla="*/ 142 w 180"/>
                  <a:gd name="T21" fmla="*/ 135 h 261"/>
                  <a:gd name="T22" fmla="*/ 156 w 180"/>
                  <a:gd name="T23" fmla="*/ 108 h 261"/>
                  <a:gd name="T24" fmla="*/ 162 w 180"/>
                  <a:gd name="T25" fmla="*/ 97 h 261"/>
                  <a:gd name="T26" fmla="*/ 175 w 180"/>
                  <a:gd name="T27" fmla="*/ 82 h 261"/>
                  <a:gd name="T28" fmla="*/ 178 w 180"/>
                  <a:gd name="T29" fmla="*/ 64 h 261"/>
                  <a:gd name="T30" fmla="*/ 162 w 180"/>
                  <a:gd name="T31" fmla="*/ 69 h 261"/>
                  <a:gd name="T32" fmla="*/ 147 w 180"/>
                  <a:gd name="T33" fmla="*/ 60 h 261"/>
                  <a:gd name="T34" fmla="*/ 144 w 180"/>
                  <a:gd name="T35" fmla="*/ 34 h 261"/>
                  <a:gd name="T36" fmla="*/ 135 w 180"/>
                  <a:gd name="T37" fmla="*/ 27 h 261"/>
                  <a:gd name="T38" fmla="*/ 124 w 180"/>
                  <a:gd name="T39" fmla="*/ 19 h 261"/>
                  <a:gd name="T40" fmla="*/ 112 w 180"/>
                  <a:gd name="T41" fmla="*/ 9 h 261"/>
                  <a:gd name="T42" fmla="*/ 100 w 180"/>
                  <a:gd name="T43" fmla="*/ 3 h 261"/>
                  <a:gd name="T44" fmla="*/ 103 w 180"/>
                  <a:gd name="T45" fmla="*/ 27 h 261"/>
                  <a:gd name="T46" fmla="*/ 121 w 180"/>
                  <a:gd name="T47" fmla="*/ 52 h 261"/>
                  <a:gd name="T48" fmla="*/ 130 w 180"/>
                  <a:gd name="T49" fmla="*/ 72 h 261"/>
                  <a:gd name="T50" fmla="*/ 123 w 180"/>
                  <a:gd name="T51" fmla="*/ 84 h 261"/>
                  <a:gd name="T52" fmla="*/ 114 w 180"/>
                  <a:gd name="T53" fmla="*/ 91 h 261"/>
                  <a:gd name="T54" fmla="*/ 136 w 180"/>
                  <a:gd name="T55" fmla="*/ 115 h 261"/>
                  <a:gd name="T56" fmla="*/ 121 w 180"/>
                  <a:gd name="T57" fmla="*/ 132 h 261"/>
                  <a:gd name="T58" fmla="*/ 103 w 180"/>
                  <a:gd name="T59" fmla="*/ 129 h 261"/>
                  <a:gd name="T60" fmla="*/ 99 w 180"/>
                  <a:gd name="T61" fmla="*/ 117 h 261"/>
                  <a:gd name="T62" fmla="*/ 79 w 180"/>
                  <a:gd name="T63" fmla="*/ 129 h 261"/>
                  <a:gd name="T64" fmla="*/ 79 w 180"/>
                  <a:gd name="T65" fmla="*/ 142 h 261"/>
                  <a:gd name="T66" fmla="*/ 75 w 180"/>
                  <a:gd name="T67" fmla="*/ 157 h 261"/>
                  <a:gd name="T68" fmla="*/ 45 w 180"/>
                  <a:gd name="T69" fmla="*/ 186 h 261"/>
                  <a:gd name="T70" fmla="*/ 28 w 180"/>
                  <a:gd name="T71" fmla="*/ 189 h 261"/>
                  <a:gd name="T72" fmla="*/ 4 w 180"/>
                  <a:gd name="T73" fmla="*/ 210 h 261"/>
                  <a:gd name="T74" fmla="*/ 3 w 180"/>
                  <a:gd name="T75" fmla="*/ 229 h 261"/>
                  <a:gd name="T76" fmla="*/ 15 w 180"/>
                  <a:gd name="T77" fmla="*/ 237 h 261"/>
                  <a:gd name="T78" fmla="*/ 19 w 180"/>
                  <a:gd name="T79" fmla="*/ 258 h 261"/>
                  <a:gd name="T80" fmla="*/ 33 w 180"/>
                  <a:gd name="T81" fmla="*/ 256 h 261"/>
                  <a:gd name="T82" fmla="*/ 36 w 180"/>
                  <a:gd name="T83" fmla="*/ 244 h 2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80" h="261">
                    <a:moveTo>
                      <a:pt x="36" y="244"/>
                    </a:moveTo>
                    <a:cubicBezTo>
                      <a:pt x="40" y="241"/>
                      <a:pt x="50" y="242"/>
                      <a:pt x="55" y="237"/>
                    </a:cubicBezTo>
                    <a:cubicBezTo>
                      <a:pt x="60" y="232"/>
                      <a:pt x="62" y="220"/>
                      <a:pt x="66" y="214"/>
                    </a:cubicBezTo>
                    <a:cubicBezTo>
                      <a:pt x="70" y="208"/>
                      <a:pt x="78" y="203"/>
                      <a:pt x="81" y="198"/>
                    </a:cubicBezTo>
                    <a:cubicBezTo>
                      <a:pt x="84" y="193"/>
                      <a:pt x="81" y="188"/>
                      <a:pt x="85" y="186"/>
                    </a:cubicBezTo>
                    <a:cubicBezTo>
                      <a:pt x="89" y="184"/>
                      <a:pt x="106" y="188"/>
                      <a:pt x="108" y="186"/>
                    </a:cubicBezTo>
                    <a:cubicBezTo>
                      <a:pt x="110" y="184"/>
                      <a:pt x="97" y="177"/>
                      <a:pt x="96" y="172"/>
                    </a:cubicBezTo>
                    <a:cubicBezTo>
                      <a:pt x="95" y="167"/>
                      <a:pt x="101" y="162"/>
                      <a:pt x="105" y="156"/>
                    </a:cubicBezTo>
                    <a:cubicBezTo>
                      <a:pt x="109" y="150"/>
                      <a:pt x="117" y="141"/>
                      <a:pt x="121" y="136"/>
                    </a:cubicBezTo>
                    <a:cubicBezTo>
                      <a:pt x="125" y="131"/>
                      <a:pt x="126" y="129"/>
                      <a:pt x="129" y="129"/>
                    </a:cubicBezTo>
                    <a:cubicBezTo>
                      <a:pt x="132" y="129"/>
                      <a:pt x="138" y="138"/>
                      <a:pt x="142" y="135"/>
                    </a:cubicBezTo>
                    <a:cubicBezTo>
                      <a:pt x="146" y="132"/>
                      <a:pt x="153" y="114"/>
                      <a:pt x="156" y="108"/>
                    </a:cubicBezTo>
                    <a:cubicBezTo>
                      <a:pt x="159" y="102"/>
                      <a:pt x="159" y="101"/>
                      <a:pt x="162" y="97"/>
                    </a:cubicBezTo>
                    <a:cubicBezTo>
                      <a:pt x="165" y="93"/>
                      <a:pt x="172" y="87"/>
                      <a:pt x="175" y="82"/>
                    </a:cubicBezTo>
                    <a:cubicBezTo>
                      <a:pt x="178" y="77"/>
                      <a:pt x="180" y="66"/>
                      <a:pt x="178" y="64"/>
                    </a:cubicBezTo>
                    <a:cubicBezTo>
                      <a:pt x="176" y="62"/>
                      <a:pt x="167" y="70"/>
                      <a:pt x="162" y="69"/>
                    </a:cubicBezTo>
                    <a:cubicBezTo>
                      <a:pt x="157" y="68"/>
                      <a:pt x="150" y="66"/>
                      <a:pt x="147" y="60"/>
                    </a:cubicBezTo>
                    <a:cubicBezTo>
                      <a:pt x="144" y="54"/>
                      <a:pt x="146" y="39"/>
                      <a:pt x="144" y="34"/>
                    </a:cubicBezTo>
                    <a:cubicBezTo>
                      <a:pt x="142" y="29"/>
                      <a:pt x="138" y="29"/>
                      <a:pt x="135" y="27"/>
                    </a:cubicBezTo>
                    <a:cubicBezTo>
                      <a:pt x="132" y="25"/>
                      <a:pt x="128" y="22"/>
                      <a:pt x="124" y="19"/>
                    </a:cubicBezTo>
                    <a:cubicBezTo>
                      <a:pt x="120" y="16"/>
                      <a:pt x="116" y="12"/>
                      <a:pt x="112" y="9"/>
                    </a:cubicBezTo>
                    <a:cubicBezTo>
                      <a:pt x="108" y="6"/>
                      <a:pt x="101" y="0"/>
                      <a:pt x="100" y="3"/>
                    </a:cubicBezTo>
                    <a:cubicBezTo>
                      <a:pt x="99" y="6"/>
                      <a:pt x="100" y="19"/>
                      <a:pt x="103" y="27"/>
                    </a:cubicBezTo>
                    <a:cubicBezTo>
                      <a:pt x="106" y="35"/>
                      <a:pt x="117" y="45"/>
                      <a:pt x="121" y="52"/>
                    </a:cubicBezTo>
                    <a:cubicBezTo>
                      <a:pt x="125" y="59"/>
                      <a:pt x="130" y="67"/>
                      <a:pt x="130" y="72"/>
                    </a:cubicBezTo>
                    <a:cubicBezTo>
                      <a:pt x="130" y="77"/>
                      <a:pt x="126" y="81"/>
                      <a:pt x="123" y="84"/>
                    </a:cubicBezTo>
                    <a:cubicBezTo>
                      <a:pt x="120" y="87"/>
                      <a:pt x="112" y="86"/>
                      <a:pt x="114" y="91"/>
                    </a:cubicBezTo>
                    <a:cubicBezTo>
                      <a:pt x="116" y="96"/>
                      <a:pt x="135" y="108"/>
                      <a:pt x="136" y="115"/>
                    </a:cubicBezTo>
                    <a:cubicBezTo>
                      <a:pt x="137" y="122"/>
                      <a:pt x="126" y="130"/>
                      <a:pt x="121" y="132"/>
                    </a:cubicBezTo>
                    <a:cubicBezTo>
                      <a:pt x="116" y="134"/>
                      <a:pt x="107" y="131"/>
                      <a:pt x="103" y="129"/>
                    </a:cubicBezTo>
                    <a:cubicBezTo>
                      <a:pt x="99" y="127"/>
                      <a:pt x="103" y="117"/>
                      <a:pt x="99" y="117"/>
                    </a:cubicBezTo>
                    <a:cubicBezTo>
                      <a:pt x="95" y="117"/>
                      <a:pt x="82" y="125"/>
                      <a:pt x="79" y="129"/>
                    </a:cubicBezTo>
                    <a:cubicBezTo>
                      <a:pt x="76" y="133"/>
                      <a:pt x="80" y="137"/>
                      <a:pt x="79" y="142"/>
                    </a:cubicBezTo>
                    <a:cubicBezTo>
                      <a:pt x="78" y="147"/>
                      <a:pt x="81" y="150"/>
                      <a:pt x="75" y="157"/>
                    </a:cubicBezTo>
                    <a:cubicBezTo>
                      <a:pt x="69" y="164"/>
                      <a:pt x="53" y="181"/>
                      <a:pt x="45" y="186"/>
                    </a:cubicBezTo>
                    <a:cubicBezTo>
                      <a:pt x="37" y="191"/>
                      <a:pt x="35" y="185"/>
                      <a:pt x="28" y="189"/>
                    </a:cubicBezTo>
                    <a:cubicBezTo>
                      <a:pt x="21" y="193"/>
                      <a:pt x="8" y="203"/>
                      <a:pt x="4" y="210"/>
                    </a:cubicBezTo>
                    <a:cubicBezTo>
                      <a:pt x="0" y="217"/>
                      <a:pt x="1" y="225"/>
                      <a:pt x="3" y="229"/>
                    </a:cubicBezTo>
                    <a:cubicBezTo>
                      <a:pt x="5" y="233"/>
                      <a:pt x="12" y="232"/>
                      <a:pt x="15" y="237"/>
                    </a:cubicBezTo>
                    <a:cubicBezTo>
                      <a:pt x="18" y="242"/>
                      <a:pt x="16" y="255"/>
                      <a:pt x="19" y="258"/>
                    </a:cubicBezTo>
                    <a:cubicBezTo>
                      <a:pt x="22" y="261"/>
                      <a:pt x="30" y="258"/>
                      <a:pt x="33" y="256"/>
                    </a:cubicBezTo>
                    <a:cubicBezTo>
                      <a:pt x="36" y="254"/>
                      <a:pt x="32" y="247"/>
                      <a:pt x="36" y="244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27" name="Freeform 164">
                <a:extLst>
                  <a:ext uri="{FF2B5EF4-FFF2-40B4-BE49-F238E27FC236}">
                    <a16:creationId xmlns:a16="http://schemas.microsoft.com/office/drawing/2014/main" id="{DCDBE66A-16C1-4CDE-B4BB-C0E89E789B41}"/>
                  </a:ext>
                </a:extLst>
              </p:cNvPr>
              <p:cNvSpPr>
                <a:spLocks/>
              </p:cNvSpPr>
              <p:nvPr>
                <p:custDataLst>
                  <p:tags r:id="rId115"/>
                </p:custDataLst>
              </p:nvPr>
            </p:nvSpPr>
            <p:spPr bwMode="gray">
              <a:xfrm>
                <a:off x="7126691" y="3917071"/>
                <a:ext cx="167353" cy="360534"/>
              </a:xfrm>
              <a:custGeom>
                <a:avLst/>
                <a:gdLst/>
                <a:ahLst/>
                <a:cxnLst/>
                <a:rect l="l" t="t" r="r" b="b"/>
                <a:pathLst>
                  <a:path w="179388" h="371381">
                    <a:moveTo>
                      <a:pt x="84324" y="270723"/>
                    </a:moveTo>
                    <a:lnTo>
                      <a:pt x="84038" y="271462"/>
                    </a:lnTo>
                    <a:cubicBezTo>
                      <a:pt x="78442" y="272731"/>
                      <a:pt x="79725" y="272085"/>
                      <a:pt x="84324" y="270723"/>
                    </a:cubicBezTo>
                    <a:close/>
                    <a:moveTo>
                      <a:pt x="54140" y="47625"/>
                    </a:moveTo>
                    <a:cubicBezTo>
                      <a:pt x="58584" y="47228"/>
                      <a:pt x="62220" y="48418"/>
                      <a:pt x="67877" y="53975"/>
                    </a:cubicBezTo>
                    <a:cubicBezTo>
                      <a:pt x="69493" y="65087"/>
                      <a:pt x="69493" y="74612"/>
                      <a:pt x="64645" y="84137"/>
                    </a:cubicBezTo>
                    <a:cubicBezTo>
                      <a:pt x="72725" y="103187"/>
                      <a:pt x="71109" y="115887"/>
                      <a:pt x="50099" y="120650"/>
                    </a:cubicBezTo>
                    <a:cubicBezTo>
                      <a:pt x="32322" y="142875"/>
                      <a:pt x="48483" y="144462"/>
                      <a:pt x="72725" y="146050"/>
                    </a:cubicBezTo>
                    <a:cubicBezTo>
                      <a:pt x="79190" y="174625"/>
                      <a:pt x="79190" y="168275"/>
                      <a:pt x="117976" y="169862"/>
                    </a:cubicBezTo>
                    <a:cubicBezTo>
                      <a:pt x="113128" y="193675"/>
                      <a:pt x="121208" y="201612"/>
                      <a:pt x="142218" y="211137"/>
                    </a:cubicBezTo>
                    <a:cubicBezTo>
                      <a:pt x="145450" y="236537"/>
                      <a:pt x="148682" y="239712"/>
                      <a:pt x="159995" y="258762"/>
                    </a:cubicBezTo>
                    <a:cubicBezTo>
                      <a:pt x="161611" y="290513"/>
                      <a:pt x="161611" y="303213"/>
                      <a:pt x="179388" y="327025"/>
                    </a:cubicBezTo>
                    <a:cubicBezTo>
                      <a:pt x="156763" y="341313"/>
                      <a:pt x="176156" y="352425"/>
                      <a:pt x="142218" y="355600"/>
                    </a:cubicBezTo>
                    <a:lnTo>
                      <a:pt x="137370" y="371078"/>
                    </a:lnTo>
                    <a:cubicBezTo>
                      <a:pt x="134945" y="372269"/>
                      <a:pt x="130905" y="369888"/>
                      <a:pt x="122824" y="365125"/>
                    </a:cubicBezTo>
                    <a:cubicBezTo>
                      <a:pt x="114744" y="354013"/>
                      <a:pt x="105047" y="346075"/>
                      <a:pt x="98583" y="331788"/>
                    </a:cubicBezTo>
                    <a:cubicBezTo>
                      <a:pt x="98583" y="315913"/>
                      <a:pt x="124441" y="276225"/>
                      <a:pt x="122824" y="266700"/>
                    </a:cubicBezTo>
                    <a:cubicBezTo>
                      <a:pt x="122554" y="260449"/>
                      <a:pt x="94803" y="267516"/>
                      <a:pt x="84324" y="270723"/>
                    </a:cubicBezTo>
                    <a:cubicBezTo>
                      <a:pt x="100983" y="262770"/>
                      <a:pt x="61496" y="226831"/>
                      <a:pt x="69493" y="209550"/>
                    </a:cubicBezTo>
                    <a:cubicBezTo>
                      <a:pt x="59796" y="200025"/>
                      <a:pt x="32322" y="215900"/>
                      <a:pt x="25857" y="212725"/>
                    </a:cubicBezTo>
                    <a:cubicBezTo>
                      <a:pt x="33938" y="207962"/>
                      <a:pt x="40402" y="207962"/>
                      <a:pt x="30706" y="193675"/>
                    </a:cubicBezTo>
                    <a:cubicBezTo>
                      <a:pt x="27474" y="188912"/>
                      <a:pt x="16161" y="182562"/>
                      <a:pt x="16161" y="182562"/>
                    </a:cubicBezTo>
                    <a:cubicBezTo>
                      <a:pt x="21009" y="155575"/>
                      <a:pt x="12929" y="147637"/>
                      <a:pt x="0" y="127000"/>
                    </a:cubicBezTo>
                    <a:cubicBezTo>
                      <a:pt x="4848" y="117475"/>
                      <a:pt x="9696" y="114300"/>
                      <a:pt x="14545" y="106362"/>
                    </a:cubicBezTo>
                    <a:cubicBezTo>
                      <a:pt x="14545" y="93662"/>
                      <a:pt x="12929" y="80962"/>
                      <a:pt x="16161" y="69850"/>
                    </a:cubicBezTo>
                    <a:cubicBezTo>
                      <a:pt x="17777" y="61912"/>
                      <a:pt x="35554" y="60325"/>
                      <a:pt x="35554" y="50800"/>
                    </a:cubicBezTo>
                    <a:cubicBezTo>
                      <a:pt x="44443" y="50006"/>
                      <a:pt x="49695" y="48022"/>
                      <a:pt x="54140" y="47625"/>
                    </a:cubicBezTo>
                    <a:close/>
                    <a:moveTo>
                      <a:pt x="55562" y="0"/>
                    </a:moveTo>
                    <a:cubicBezTo>
                      <a:pt x="60325" y="12700"/>
                      <a:pt x="53975" y="22225"/>
                      <a:pt x="69850" y="26988"/>
                    </a:cubicBezTo>
                    <a:cubicBezTo>
                      <a:pt x="58738" y="41275"/>
                      <a:pt x="53975" y="26988"/>
                      <a:pt x="46037" y="17463"/>
                    </a:cubicBezTo>
                    <a:cubicBezTo>
                      <a:pt x="49212" y="1588"/>
                      <a:pt x="46037" y="7938"/>
                      <a:pt x="55562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28" name="Freeform 166">
                <a:extLst>
                  <a:ext uri="{FF2B5EF4-FFF2-40B4-BE49-F238E27FC236}">
                    <a16:creationId xmlns:a16="http://schemas.microsoft.com/office/drawing/2014/main" id="{A9AD636E-3FA1-4C1F-B6E6-01036FD8B09D}"/>
                  </a:ext>
                </a:extLst>
              </p:cNvPr>
              <p:cNvSpPr>
                <a:spLocks/>
              </p:cNvSpPr>
              <p:nvPr>
                <p:custDataLst>
                  <p:tags r:id="rId116"/>
                </p:custDataLst>
              </p:nvPr>
            </p:nvSpPr>
            <p:spPr bwMode="gray">
              <a:xfrm>
                <a:off x="7234804" y="3323735"/>
                <a:ext cx="137733" cy="146408"/>
              </a:xfrm>
              <a:custGeom>
                <a:avLst/>
                <a:gdLst>
                  <a:gd name="T0" fmla="*/ 1 w 91"/>
                  <a:gd name="T1" fmla="*/ 61 h 95"/>
                  <a:gd name="T2" fmla="*/ 12 w 91"/>
                  <a:gd name="T3" fmla="*/ 63 h 95"/>
                  <a:gd name="T4" fmla="*/ 9 w 91"/>
                  <a:gd name="T5" fmla="*/ 84 h 95"/>
                  <a:gd name="T6" fmla="*/ 4 w 91"/>
                  <a:gd name="T7" fmla="*/ 94 h 95"/>
                  <a:gd name="T8" fmla="*/ 24 w 91"/>
                  <a:gd name="T9" fmla="*/ 90 h 95"/>
                  <a:gd name="T10" fmla="*/ 51 w 91"/>
                  <a:gd name="T11" fmla="*/ 69 h 95"/>
                  <a:gd name="T12" fmla="*/ 58 w 91"/>
                  <a:gd name="T13" fmla="*/ 52 h 95"/>
                  <a:gd name="T14" fmla="*/ 79 w 91"/>
                  <a:gd name="T15" fmla="*/ 37 h 95"/>
                  <a:gd name="T16" fmla="*/ 91 w 91"/>
                  <a:gd name="T17" fmla="*/ 13 h 95"/>
                  <a:gd name="T18" fmla="*/ 78 w 91"/>
                  <a:gd name="T19" fmla="*/ 1 h 95"/>
                  <a:gd name="T20" fmla="*/ 72 w 91"/>
                  <a:gd name="T21" fmla="*/ 9 h 95"/>
                  <a:gd name="T22" fmla="*/ 55 w 91"/>
                  <a:gd name="T23" fmla="*/ 13 h 95"/>
                  <a:gd name="T24" fmla="*/ 46 w 91"/>
                  <a:gd name="T25" fmla="*/ 24 h 95"/>
                  <a:gd name="T26" fmla="*/ 31 w 91"/>
                  <a:gd name="T27" fmla="*/ 28 h 95"/>
                  <a:gd name="T28" fmla="*/ 6 w 91"/>
                  <a:gd name="T29" fmla="*/ 46 h 95"/>
                  <a:gd name="T30" fmla="*/ 1 w 91"/>
                  <a:gd name="T31" fmla="*/ 61 h 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91" h="95">
                    <a:moveTo>
                      <a:pt x="1" y="61"/>
                    </a:moveTo>
                    <a:cubicBezTo>
                      <a:pt x="2" y="64"/>
                      <a:pt x="11" y="59"/>
                      <a:pt x="12" y="63"/>
                    </a:cubicBezTo>
                    <a:cubicBezTo>
                      <a:pt x="13" y="67"/>
                      <a:pt x="10" y="79"/>
                      <a:pt x="9" y="84"/>
                    </a:cubicBezTo>
                    <a:cubicBezTo>
                      <a:pt x="8" y="89"/>
                      <a:pt x="2" y="93"/>
                      <a:pt x="4" y="94"/>
                    </a:cubicBezTo>
                    <a:cubicBezTo>
                      <a:pt x="6" y="95"/>
                      <a:pt x="16" y="94"/>
                      <a:pt x="24" y="90"/>
                    </a:cubicBezTo>
                    <a:cubicBezTo>
                      <a:pt x="32" y="86"/>
                      <a:pt x="45" y="75"/>
                      <a:pt x="51" y="69"/>
                    </a:cubicBezTo>
                    <a:cubicBezTo>
                      <a:pt x="57" y="63"/>
                      <a:pt x="53" y="57"/>
                      <a:pt x="58" y="52"/>
                    </a:cubicBezTo>
                    <a:cubicBezTo>
                      <a:pt x="63" y="47"/>
                      <a:pt x="74" y="43"/>
                      <a:pt x="79" y="37"/>
                    </a:cubicBezTo>
                    <a:cubicBezTo>
                      <a:pt x="84" y="31"/>
                      <a:pt x="91" y="19"/>
                      <a:pt x="91" y="13"/>
                    </a:cubicBezTo>
                    <a:cubicBezTo>
                      <a:pt x="91" y="7"/>
                      <a:pt x="81" y="2"/>
                      <a:pt x="78" y="1"/>
                    </a:cubicBezTo>
                    <a:cubicBezTo>
                      <a:pt x="75" y="0"/>
                      <a:pt x="76" y="7"/>
                      <a:pt x="72" y="9"/>
                    </a:cubicBezTo>
                    <a:cubicBezTo>
                      <a:pt x="68" y="11"/>
                      <a:pt x="59" y="10"/>
                      <a:pt x="55" y="13"/>
                    </a:cubicBezTo>
                    <a:cubicBezTo>
                      <a:pt x="51" y="16"/>
                      <a:pt x="50" y="21"/>
                      <a:pt x="46" y="24"/>
                    </a:cubicBezTo>
                    <a:cubicBezTo>
                      <a:pt x="42" y="27"/>
                      <a:pt x="38" y="24"/>
                      <a:pt x="31" y="28"/>
                    </a:cubicBezTo>
                    <a:cubicBezTo>
                      <a:pt x="24" y="32"/>
                      <a:pt x="11" y="42"/>
                      <a:pt x="6" y="46"/>
                    </a:cubicBezTo>
                    <a:cubicBezTo>
                      <a:pt x="1" y="50"/>
                      <a:pt x="0" y="58"/>
                      <a:pt x="1" y="6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29" name="Freeform 168">
                <a:extLst>
                  <a:ext uri="{FF2B5EF4-FFF2-40B4-BE49-F238E27FC236}">
                    <a16:creationId xmlns:a16="http://schemas.microsoft.com/office/drawing/2014/main" id="{3F81234C-2D56-4FDB-BC31-5C73C3AA964D}"/>
                  </a:ext>
                </a:extLst>
              </p:cNvPr>
              <p:cNvSpPr>
                <a:spLocks/>
              </p:cNvSpPr>
              <p:nvPr>
                <p:custDataLst>
                  <p:tags r:id="rId117"/>
                </p:custDataLst>
              </p:nvPr>
            </p:nvSpPr>
            <p:spPr bwMode="gray">
              <a:xfrm>
                <a:off x="7248134" y="3430073"/>
                <a:ext cx="105151" cy="149490"/>
              </a:xfrm>
              <a:custGeom>
                <a:avLst/>
                <a:gdLst>
                  <a:gd name="T0" fmla="*/ 0 w 69"/>
                  <a:gd name="T1" fmla="*/ 24 h 97"/>
                  <a:gd name="T2" fmla="*/ 24 w 69"/>
                  <a:gd name="T3" fmla="*/ 15 h 97"/>
                  <a:gd name="T4" fmla="*/ 39 w 69"/>
                  <a:gd name="T5" fmla="*/ 0 h 97"/>
                  <a:gd name="T6" fmla="*/ 58 w 69"/>
                  <a:gd name="T7" fmla="*/ 21 h 97"/>
                  <a:gd name="T8" fmla="*/ 69 w 69"/>
                  <a:gd name="T9" fmla="*/ 45 h 97"/>
                  <a:gd name="T10" fmla="*/ 34 w 69"/>
                  <a:gd name="T11" fmla="*/ 87 h 97"/>
                  <a:gd name="T12" fmla="*/ 22 w 69"/>
                  <a:gd name="T13" fmla="*/ 94 h 97"/>
                  <a:gd name="T14" fmla="*/ 21 w 69"/>
                  <a:gd name="T15" fmla="*/ 54 h 97"/>
                  <a:gd name="T16" fmla="*/ 7 w 69"/>
                  <a:gd name="T17" fmla="*/ 30 h 97"/>
                  <a:gd name="T18" fmla="*/ 0 w 69"/>
                  <a:gd name="T19" fmla="*/ 24 h 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9" h="97">
                    <a:moveTo>
                      <a:pt x="0" y="24"/>
                    </a:moveTo>
                    <a:cubicBezTo>
                      <a:pt x="19" y="21"/>
                      <a:pt x="11" y="25"/>
                      <a:pt x="24" y="15"/>
                    </a:cubicBezTo>
                    <a:cubicBezTo>
                      <a:pt x="32" y="9"/>
                      <a:pt x="28" y="2"/>
                      <a:pt x="39" y="0"/>
                    </a:cubicBezTo>
                    <a:cubicBezTo>
                      <a:pt x="49" y="2"/>
                      <a:pt x="48" y="16"/>
                      <a:pt x="58" y="21"/>
                    </a:cubicBezTo>
                    <a:cubicBezTo>
                      <a:pt x="64" y="28"/>
                      <a:pt x="64" y="37"/>
                      <a:pt x="69" y="45"/>
                    </a:cubicBezTo>
                    <a:cubicBezTo>
                      <a:pt x="66" y="74"/>
                      <a:pt x="65" y="83"/>
                      <a:pt x="34" y="87"/>
                    </a:cubicBezTo>
                    <a:cubicBezTo>
                      <a:pt x="26" y="91"/>
                      <a:pt x="30" y="97"/>
                      <a:pt x="22" y="94"/>
                    </a:cubicBezTo>
                    <a:cubicBezTo>
                      <a:pt x="20" y="81"/>
                      <a:pt x="13" y="69"/>
                      <a:pt x="21" y="54"/>
                    </a:cubicBezTo>
                    <a:cubicBezTo>
                      <a:pt x="19" y="42"/>
                      <a:pt x="20" y="33"/>
                      <a:pt x="7" y="30"/>
                    </a:cubicBezTo>
                    <a:cubicBezTo>
                      <a:pt x="2" y="26"/>
                      <a:pt x="4" y="28"/>
                      <a:pt x="0" y="24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30" name="Freeform 169">
                <a:extLst>
                  <a:ext uri="{FF2B5EF4-FFF2-40B4-BE49-F238E27FC236}">
                    <a16:creationId xmlns:a16="http://schemas.microsoft.com/office/drawing/2014/main" id="{951CE8FF-0D4C-4BC4-B266-C5808B79A4C4}"/>
                  </a:ext>
                </a:extLst>
              </p:cNvPr>
              <p:cNvSpPr>
                <a:spLocks/>
              </p:cNvSpPr>
              <p:nvPr>
                <p:custDataLst>
                  <p:tags r:id="rId118"/>
                </p:custDataLst>
              </p:nvPr>
            </p:nvSpPr>
            <p:spPr bwMode="gray">
              <a:xfrm>
                <a:off x="6746075" y="4068102"/>
                <a:ext cx="115518" cy="104797"/>
              </a:xfrm>
              <a:custGeom>
                <a:avLst/>
                <a:gdLst>
                  <a:gd name="T0" fmla="*/ 47 w 77"/>
                  <a:gd name="T1" fmla="*/ 3 h 68"/>
                  <a:gd name="T2" fmla="*/ 76 w 77"/>
                  <a:gd name="T3" fmla="*/ 10 h 68"/>
                  <a:gd name="T4" fmla="*/ 68 w 77"/>
                  <a:gd name="T5" fmla="*/ 37 h 68"/>
                  <a:gd name="T6" fmla="*/ 56 w 77"/>
                  <a:gd name="T7" fmla="*/ 46 h 68"/>
                  <a:gd name="T8" fmla="*/ 44 w 77"/>
                  <a:gd name="T9" fmla="*/ 48 h 68"/>
                  <a:gd name="T10" fmla="*/ 35 w 77"/>
                  <a:gd name="T11" fmla="*/ 61 h 68"/>
                  <a:gd name="T12" fmla="*/ 23 w 77"/>
                  <a:gd name="T13" fmla="*/ 61 h 68"/>
                  <a:gd name="T14" fmla="*/ 8 w 77"/>
                  <a:gd name="T15" fmla="*/ 39 h 68"/>
                  <a:gd name="T16" fmla="*/ 44 w 77"/>
                  <a:gd name="T17" fmla="*/ 7 h 68"/>
                  <a:gd name="T18" fmla="*/ 47 w 77"/>
                  <a:gd name="T19" fmla="*/ 3 h 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77" h="68">
                    <a:moveTo>
                      <a:pt x="47" y="3"/>
                    </a:moveTo>
                    <a:cubicBezTo>
                      <a:pt x="57" y="5"/>
                      <a:pt x="67" y="3"/>
                      <a:pt x="76" y="10"/>
                    </a:cubicBezTo>
                    <a:cubicBezTo>
                      <a:pt x="75" y="20"/>
                      <a:pt x="77" y="32"/>
                      <a:pt x="68" y="37"/>
                    </a:cubicBezTo>
                    <a:cubicBezTo>
                      <a:pt x="64" y="43"/>
                      <a:pt x="63" y="45"/>
                      <a:pt x="56" y="46"/>
                    </a:cubicBezTo>
                    <a:cubicBezTo>
                      <a:pt x="52" y="49"/>
                      <a:pt x="47" y="46"/>
                      <a:pt x="44" y="48"/>
                    </a:cubicBezTo>
                    <a:cubicBezTo>
                      <a:pt x="41" y="50"/>
                      <a:pt x="38" y="59"/>
                      <a:pt x="35" y="61"/>
                    </a:cubicBezTo>
                    <a:cubicBezTo>
                      <a:pt x="31" y="68"/>
                      <a:pt x="30" y="65"/>
                      <a:pt x="23" y="61"/>
                    </a:cubicBezTo>
                    <a:cubicBezTo>
                      <a:pt x="18" y="54"/>
                      <a:pt x="13" y="46"/>
                      <a:pt x="8" y="39"/>
                    </a:cubicBezTo>
                    <a:cubicBezTo>
                      <a:pt x="0" y="0"/>
                      <a:pt x="1" y="10"/>
                      <a:pt x="44" y="7"/>
                    </a:cubicBezTo>
                    <a:cubicBezTo>
                      <a:pt x="50" y="4"/>
                      <a:pt x="51" y="5"/>
                      <a:pt x="47" y="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31" name="Freeform 170">
                <a:extLst>
                  <a:ext uri="{FF2B5EF4-FFF2-40B4-BE49-F238E27FC236}">
                    <a16:creationId xmlns:a16="http://schemas.microsoft.com/office/drawing/2014/main" id="{6F4DF5C6-13D4-4C5C-9DAB-AEC8FA6244F7}"/>
                  </a:ext>
                </a:extLst>
              </p:cNvPr>
              <p:cNvSpPr>
                <a:spLocks/>
              </p:cNvSpPr>
              <p:nvPr>
                <p:custDataLst>
                  <p:tags r:id="rId119"/>
                </p:custDataLst>
              </p:nvPr>
            </p:nvSpPr>
            <p:spPr bwMode="gray">
              <a:xfrm>
                <a:off x="6685355" y="3883166"/>
                <a:ext cx="173277" cy="195724"/>
              </a:xfrm>
              <a:custGeom>
                <a:avLst/>
                <a:gdLst>
                  <a:gd name="T0" fmla="*/ 11 w 115"/>
                  <a:gd name="T1" fmla="*/ 15 h 127"/>
                  <a:gd name="T2" fmla="*/ 35 w 115"/>
                  <a:gd name="T3" fmla="*/ 6 h 127"/>
                  <a:gd name="T4" fmla="*/ 38 w 115"/>
                  <a:gd name="T5" fmla="*/ 1 h 127"/>
                  <a:gd name="T6" fmla="*/ 44 w 115"/>
                  <a:gd name="T7" fmla="*/ 9 h 127"/>
                  <a:gd name="T8" fmla="*/ 65 w 115"/>
                  <a:gd name="T9" fmla="*/ 22 h 127"/>
                  <a:gd name="T10" fmla="*/ 75 w 115"/>
                  <a:gd name="T11" fmla="*/ 33 h 127"/>
                  <a:gd name="T12" fmla="*/ 63 w 115"/>
                  <a:gd name="T13" fmla="*/ 48 h 127"/>
                  <a:gd name="T14" fmla="*/ 89 w 115"/>
                  <a:gd name="T15" fmla="*/ 70 h 127"/>
                  <a:gd name="T16" fmla="*/ 96 w 115"/>
                  <a:gd name="T17" fmla="*/ 85 h 127"/>
                  <a:gd name="T18" fmla="*/ 108 w 115"/>
                  <a:gd name="T19" fmla="*/ 99 h 127"/>
                  <a:gd name="T20" fmla="*/ 115 w 115"/>
                  <a:gd name="T21" fmla="*/ 111 h 127"/>
                  <a:gd name="T22" fmla="*/ 110 w 115"/>
                  <a:gd name="T23" fmla="*/ 124 h 127"/>
                  <a:gd name="T24" fmla="*/ 90 w 115"/>
                  <a:gd name="T25" fmla="*/ 123 h 127"/>
                  <a:gd name="T26" fmla="*/ 83 w 115"/>
                  <a:gd name="T27" fmla="*/ 103 h 127"/>
                  <a:gd name="T28" fmla="*/ 75 w 115"/>
                  <a:gd name="T29" fmla="*/ 73 h 127"/>
                  <a:gd name="T30" fmla="*/ 59 w 115"/>
                  <a:gd name="T31" fmla="*/ 61 h 127"/>
                  <a:gd name="T32" fmla="*/ 44 w 115"/>
                  <a:gd name="T33" fmla="*/ 69 h 127"/>
                  <a:gd name="T34" fmla="*/ 24 w 115"/>
                  <a:gd name="T35" fmla="*/ 69 h 127"/>
                  <a:gd name="T36" fmla="*/ 27 w 115"/>
                  <a:gd name="T37" fmla="*/ 51 h 127"/>
                  <a:gd name="T38" fmla="*/ 9 w 115"/>
                  <a:gd name="T39" fmla="*/ 36 h 127"/>
                  <a:gd name="T40" fmla="*/ 8 w 115"/>
                  <a:gd name="T41" fmla="*/ 25 h 127"/>
                  <a:gd name="T42" fmla="*/ 11 w 115"/>
                  <a:gd name="T43" fmla="*/ 15 h 1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115" h="127">
                    <a:moveTo>
                      <a:pt x="11" y="15"/>
                    </a:moveTo>
                    <a:cubicBezTo>
                      <a:pt x="31" y="11"/>
                      <a:pt x="23" y="8"/>
                      <a:pt x="35" y="6"/>
                    </a:cubicBezTo>
                    <a:cubicBezTo>
                      <a:pt x="36" y="4"/>
                      <a:pt x="36" y="2"/>
                      <a:pt x="38" y="1"/>
                    </a:cubicBezTo>
                    <a:cubicBezTo>
                      <a:pt x="42" y="0"/>
                      <a:pt x="43" y="8"/>
                      <a:pt x="44" y="9"/>
                    </a:cubicBezTo>
                    <a:cubicBezTo>
                      <a:pt x="49" y="16"/>
                      <a:pt x="57" y="20"/>
                      <a:pt x="65" y="22"/>
                    </a:cubicBezTo>
                    <a:cubicBezTo>
                      <a:pt x="71" y="27"/>
                      <a:pt x="74" y="25"/>
                      <a:pt x="75" y="33"/>
                    </a:cubicBezTo>
                    <a:cubicBezTo>
                      <a:pt x="73" y="43"/>
                      <a:pt x="71" y="43"/>
                      <a:pt x="63" y="48"/>
                    </a:cubicBezTo>
                    <a:cubicBezTo>
                      <a:pt x="69" y="59"/>
                      <a:pt x="76" y="67"/>
                      <a:pt x="89" y="70"/>
                    </a:cubicBezTo>
                    <a:cubicBezTo>
                      <a:pt x="94" y="76"/>
                      <a:pt x="93" y="80"/>
                      <a:pt x="96" y="85"/>
                    </a:cubicBezTo>
                    <a:cubicBezTo>
                      <a:pt x="99" y="90"/>
                      <a:pt x="105" y="95"/>
                      <a:pt x="108" y="99"/>
                    </a:cubicBezTo>
                    <a:cubicBezTo>
                      <a:pt x="110" y="103"/>
                      <a:pt x="115" y="107"/>
                      <a:pt x="115" y="111"/>
                    </a:cubicBezTo>
                    <a:cubicBezTo>
                      <a:pt x="115" y="115"/>
                      <a:pt x="114" y="122"/>
                      <a:pt x="110" y="124"/>
                    </a:cubicBezTo>
                    <a:cubicBezTo>
                      <a:pt x="103" y="124"/>
                      <a:pt x="95" y="127"/>
                      <a:pt x="90" y="123"/>
                    </a:cubicBezTo>
                    <a:cubicBezTo>
                      <a:pt x="81" y="117"/>
                      <a:pt x="94" y="108"/>
                      <a:pt x="83" y="103"/>
                    </a:cubicBezTo>
                    <a:cubicBezTo>
                      <a:pt x="74" y="91"/>
                      <a:pt x="80" y="92"/>
                      <a:pt x="75" y="73"/>
                    </a:cubicBezTo>
                    <a:cubicBezTo>
                      <a:pt x="74" y="68"/>
                      <a:pt x="63" y="64"/>
                      <a:pt x="59" y="61"/>
                    </a:cubicBezTo>
                    <a:cubicBezTo>
                      <a:pt x="54" y="60"/>
                      <a:pt x="50" y="68"/>
                      <a:pt x="44" y="69"/>
                    </a:cubicBezTo>
                    <a:cubicBezTo>
                      <a:pt x="38" y="70"/>
                      <a:pt x="27" y="72"/>
                      <a:pt x="24" y="69"/>
                    </a:cubicBezTo>
                    <a:cubicBezTo>
                      <a:pt x="17" y="68"/>
                      <a:pt x="29" y="56"/>
                      <a:pt x="27" y="51"/>
                    </a:cubicBezTo>
                    <a:cubicBezTo>
                      <a:pt x="25" y="46"/>
                      <a:pt x="12" y="40"/>
                      <a:pt x="9" y="36"/>
                    </a:cubicBezTo>
                    <a:cubicBezTo>
                      <a:pt x="5" y="30"/>
                      <a:pt x="0" y="28"/>
                      <a:pt x="8" y="25"/>
                    </a:cubicBezTo>
                    <a:cubicBezTo>
                      <a:pt x="9" y="18"/>
                      <a:pt x="8" y="21"/>
                      <a:pt x="11" y="1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32" name="Freeform 171">
                <a:extLst>
                  <a:ext uri="{FF2B5EF4-FFF2-40B4-BE49-F238E27FC236}">
                    <a16:creationId xmlns:a16="http://schemas.microsoft.com/office/drawing/2014/main" id="{6DDAEA16-F0EA-4F86-AF71-B63B157237CF}"/>
                  </a:ext>
                </a:extLst>
              </p:cNvPr>
              <p:cNvSpPr>
                <a:spLocks/>
              </p:cNvSpPr>
              <p:nvPr>
                <p:custDataLst>
                  <p:tags r:id="rId120"/>
                </p:custDataLst>
              </p:nvPr>
            </p:nvSpPr>
            <p:spPr bwMode="gray">
              <a:xfrm>
                <a:off x="7003769" y="4297730"/>
                <a:ext cx="25177" cy="27740"/>
              </a:xfrm>
              <a:custGeom>
                <a:avLst/>
                <a:gdLst>
                  <a:gd name="T0" fmla="*/ 0 w 17"/>
                  <a:gd name="T1" fmla="*/ 9 h 18"/>
                  <a:gd name="T2" fmla="*/ 14 w 17"/>
                  <a:gd name="T3" fmla="*/ 13 h 18"/>
                  <a:gd name="T4" fmla="*/ 6 w 17"/>
                  <a:gd name="T5" fmla="*/ 3 h 18"/>
                  <a:gd name="T6" fmla="*/ 0 w 17"/>
                  <a:gd name="T7" fmla="*/ 9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8">
                    <a:moveTo>
                      <a:pt x="0" y="9"/>
                    </a:moveTo>
                    <a:cubicBezTo>
                      <a:pt x="3" y="18"/>
                      <a:pt x="6" y="18"/>
                      <a:pt x="14" y="13"/>
                    </a:cubicBezTo>
                    <a:cubicBezTo>
                      <a:pt x="17" y="3"/>
                      <a:pt x="17" y="0"/>
                      <a:pt x="6" y="3"/>
                    </a:cubicBezTo>
                    <a:cubicBezTo>
                      <a:pt x="2" y="10"/>
                      <a:pt x="4" y="9"/>
                      <a:pt x="0" y="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33" name="Freeform 172">
                <a:extLst>
                  <a:ext uri="{FF2B5EF4-FFF2-40B4-BE49-F238E27FC236}">
                    <a16:creationId xmlns:a16="http://schemas.microsoft.com/office/drawing/2014/main" id="{768335D1-B5C6-44A4-BE3A-3FD08AE15FDC}"/>
                  </a:ext>
                </a:extLst>
              </p:cNvPr>
              <p:cNvSpPr>
                <a:spLocks/>
              </p:cNvSpPr>
              <p:nvPr>
                <p:custDataLst>
                  <p:tags r:id="rId121"/>
                </p:custDataLst>
              </p:nvPr>
            </p:nvSpPr>
            <p:spPr bwMode="gray">
              <a:xfrm>
                <a:off x="7116324" y="3813815"/>
                <a:ext cx="75531" cy="89386"/>
              </a:xfrm>
              <a:custGeom>
                <a:avLst/>
                <a:gdLst>
                  <a:gd name="T0" fmla="*/ 4 w 50"/>
                  <a:gd name="T1" fmla="*/ 24 h 58"/>
                  <a:gd name="T2" fmla="*/ 16 w 50"/>
                  <a:gd name="T3" fmla="*/ 22 h 58"/>
                  <a:gd name="T4" fmla="*/ 22 w 50"/>
                  <a:gd name="T5" fmla="*/ 12 h 58"/>
                  <a:gd name="T6" fmla="*/ 37 w 50"/>
                  <a:gd name="T7" fmla="*/ 0 h 58"/>
                  <a:gd name="T8" fmla="*/ 38 w 50"/>
                  <a:gd name="T9" fmla="*/ 22 h 58"/>
                  <a:gd name="T10" fmla="*/ 25 w 50"/>
                  <a:gd name="T11" fmla="*/ 39 h 58"/>
                  <a:gd name="T12" fmla="*/ 17 w 50"/>
                  <a:gd name="T13" fmla="*/ 46 h 58"/>
                  <a:gd name="T14" fmla="*/ 4 w 50"/>
                  <a:gd name="T15" fmla="*/ 30 h 58"/>
                  <a:gd name="T16" fmla="*/ 4 w 50"/>
                  <a:gd name="T17" fmla="*/ 2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58">
                    <a:moveTo>
                      <a:pt x="4" y="24"/>
                    </a:moveTo>
                    <a:cubicBezTo>
                      <a:pt x="8" y="23"/>
                      <a:pt x="13" y="25"/>
                      <a:pt x="16" y="22"/>
                    </a:cubicBezTo>
                    <a:cubicBezTo>
                      <a:pt x="32" y="8"/>
                      <a:pt x="6" y="15"/>
                      <a:pt x="22" y="12"/>
                    </a:cubicBezTo>
                    <a:cubicBezTo>
                      <a:pt x="29" y="7"/>
                      <a:pt x="28" y="2"/>
                      <a:pt x="37" y="0"/>
                    </a:cubicBezTo>
                    <a:cubicBezTo>
                      <a:pt x="50" y="2"/>
                      <a:pt x="44" y="14"/>
                      <a:pt x="38" y="22"/>
                    </a:cubicBezTo>
                    <a:cubicBezTo>
                      <a:pt x="34" y="40"/>
                      <a:pt x="40" y="36"/>
                      <a:pt x="25" y="39"/>
                    </a:cubicBezTo>
                    <a:cubicBezTo>
                      <a:pt x="24" y="45"/>
                      <a:pt x="22" y="58"/>
                      <a:pt x="17" y="46"/>
                    </a:cubicBezTo>
                    <a:cubicBezTo>
                      <a:pt x="15" y="37"/>
                      <a:pt x="11" y="35"/>
                      <a:pt x="4" y="30"/>
                    </a:cubicBezTo>
                    <a:cubicBezTo>
                      <a:pt x="2" y="24"/>
                      <a:pt x="0" y="26"/>
                      <a:pt x="4" y="24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34" name="Freeform 205">
                <a:extLst>
                  <a:ext uri="{FF2B5EF4-FFF2-40B4-BE49-F238E27FC236}">
                    <a16:creationId xmlns:a16="http://schemas.microsoft.com/office/drawing/2014/main" id="{B6D2600D-2A0C-444A-83B8-34F105126D87}"/>
                  </a:ext>
                </a:extLst>
              </p:cNvPr>
              <p:cNvSpPr>
                <a:spLocks/>
              </p:cNvSpPr>
              <p:nvPr>
                <p:custDataLst>
                  <p:tags r:id="rId122"/>
                </p:custDataLst>
              </p:nvPr>
            </p:nvSpPr>
            <p:spPr bwMode="gray">
              <a:xfrm>
                <a:off x="7900255" y="4647567"/>
                <a:ext cx="46522" cy="36987"/>
              </a:xfrm>
              <a:custGeom>
                <a:avLst/>
                <a:gdLst>
                  <a:gd name="T0" fmla="*/ 1 w 31"/>
                  <a:gd name="T1" fmla="*/ 0 h 24"/>
                  <a:gd name="T2" fmla="*/ 12 w 31"/>
                  <a:gd name="T3" fmla="*/ 3 h 24"/>
                  <a:gd name="T4" fmla="*/ 31 w 31"/>
                  <a:gd name="T5" fmla="*/ 14 h 24"/>
                  <a:gd name="T6" fmla="*/ 3 w 31"/>
                  <a:gd name="T7" fmla="*/ 14 h 24"/>
                  <a:gd name="T8" fmla="*/ 1 w 31"/>
                  <a:gd name="T9" fmla="*/ 0 h 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" h="24">
                    <a:moveTo>
                      <a:pt x="1" y="0"/>
                    </a:moveTo>
                    <a:cubicBezTo>
                      <a:pt x="5" y="1"/>
                      <a:pt x="9" y="1"/>
                      <a:pt x="12" y="3"/>
                    </a:cubicBezTo>
                    <a:cubicBezTo>
                      <a:pt x="25" y="11"/>
                      <a:pt x="8" y="10"/>
                      <a:pt x="31" y="14"/>
                    </a:cubicBezTo>
                    <a:cubicBezTo>
                      <a:pt x="24" y="24"/>
                      <a:pt x="12" y="16"/>
                      <a:pt x="3" y="14"/>
                    </a:cubicBezTo>
                    <a:cubicBezTo>
                      <a:pt x="0" y="7"/>
                      <a:pt x="4" y="7"/>
                      <a:pt x="1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35" name="Freeform 206">
                <a:extLst>
                  <a:ext uri="{FF2B5EF4-FFF2-40B4-BE49-F238E27FC236}">
                    <a16:creationId xmlns:a16="http://schemas.microsoft.com/office/drawing/2014/main" id="{D4D0EBAF-C7C3-48E6-870A-A1EE01058E28}"/>
                  </a:ext>
                </a:extLst>
              </p:cNvPr>
              <p:cNvSpPr>
                <a:spLocks/>
              </p:cNvSpPr>
              <p:nvPr>
                <p:custDataLst>
                  <p:tags r:id="rId123"/>
                </p:custDataLst>
              </p:nvPr>
            </p:nvSpPr>
            <p:spPr bwMode="gray">
              <a:xfrm>
                <a:off x="7637635" y="4468796"/>
                <a:ext cx="220600" cy="195724"/>
              </a:xfrm>
              <a:custGeom>
                <a:avLst/>
                <a:gdLst>
                  <a:gd name="T0" fmla="*/ 0 w 123"/>
                  <a:gd name="T1" fmla="*/ 80 h 106"/>
                  <a:gd name="T2" fmla="*/ 0 w 123"/>
                  <a:gd name="T3" fmla="*/ 33 h 106"/>
                  <a:gd name="T4" fmla="*/ 0 w 123"/>
                  <a:gd name="T5" fmla="*/ 0 h 106"/>
                  <a:gd name="T6" fmla="*/ 32 w 123"/>
                  <a:gd name="T7" fmla="*/ 9 h 106"/>
                  <a:gd name="T8" fmla="*/ 57 w 123"/>
                  <a:gd name="T9" fmla="*/ 25 h 106"/>
                  <a:gd name="T10" fmla="*/ 57 w 123"/>
                  <a:gd name="T11" fmla="*/ 33 h 106"/>
                  <a:gd name="T12" fmla="*/ 88 w 123"/>
                  <a:gd name="T13" fmla="*/ 49 h 106"/>
                  <a:gd name="T14" fmla="*/ 72 w 123"/>
                  <a:gd name="T15" fmla="*/ 57 h 106"/>
                  <a:gd name="T16" fmla="*/ 81 w 123"/>
                  <a:gd name="T17" fmla="*/ 57 h 106"/>
                  <a:gd name="T18" fmla="*/ 88 w 123"/>
                  <a:gd name="T19" fmla="*/ 65 h 106"/>
                  <a:gd name="T20" fmla="*/ 97 w 123"/>
                  <a:gd name="T21" fmla="*/ 80 h 106"/>
                  <a:gd name="T22" fmla="*/ 104 w 123"/>
                  <a:gd name="T23" fmla="*/ 80 h 106"/>
                  <a:gd name="T24" fmla="*/ 104 w 123"/>
                  <a:gd name="T25" fmla="*/ 90 h 106"/>
                  <a:gd name="T26" fmla="*/ 122 w 123"/>
                  <a:gd name="T27" fmla="*/ 99 h 106"/>
                  <a:gd name="T28" fmla="*/ 122 w 123"/>
                  <a:gd name="T29" fmla="*/ 105 h 106"/>
                  <a:gd name="T30" fmla="*/ 81 w 123"/>
                  <a:gd name="T31" fmla="*/ 99 h 106"/>
                  <a:gd name="T32" fmla="*/ 63 w 123"/>
                  <a:gd name="T33" fmla="*/ 65 h 106"/>
                  <a:gd name="T34" fmla="*/ 47 w 123"/>
                  <a:gd name="T35" fmla="*/ 65 h 106"/>
                  <a:gd name="T36" fmla="*/ 40 w 123"/>
                  <a:gd name="T37" fmla="*/ 65 h 106"/>
                  <a:gd name="T38" fmla="*/ 23 w 123"/>
                  <a:gd name="T39" fmla="*/ 74 h 106"/>
                  <a:gd name="T40" fmla="*/ 32 w 123"/>
                  <a:gd name="T41" fmla="*/ 80 h 106"/>
                  <a:gd name="T42" fmla="*/ 15 w 123"/>
                  <a:gd name="T43" fmla="*/ 80 h 106"/>
                  <a:gd name="T44" fmla="*/ 0 w 123"/>
                  <a:gd name="T45" fmla="*/ 80 h 10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123" h="106">
                    <a:moveTo>
                      <a:pt x="0" y="80"/>
                    </a:moveTo>
                    <a:lnTo>
                      <a:pt x="0" y="33"/>
                    </a:lnTo>
                    <a:lnTo>
                      <a:pt x="0" y="0"/>
                    </a:lnTo>
                    <a:lnTo>
                      <a:pt x="32" y="9"/>
                    </a:lnTo>
                    <a:lnTo>
                      <a:pt x="57" y="25"/>
                    </a:lnTo>
                    <a:lnTo>
                      <a:pt x="57" y="33"/>
                    </a:lnTo>
                    <a:lnTo>
                      <a:pt x="88" y="49"/>
                    </a:lnTo>
                    <a:lnTo>
                      <a:pt x="72" y="57"/>
                    </a:lnTo>
                    <a:lnTo>
                      <a:pt x="81" y="57"/>
                    </a:lnTo>
                    <a:lnTo>
                      <a:pt x="88" y="65"/>
                    </a:lnTo>
                    <a:lnTo>
                      <a:pt x="97" y="80"/>
                    </a:lnTo>
                    <a:lnTo>
                      <a:pt x="104" y="80"/>
                    </a:lnTo>
                    <a:lnTo>
                      <a:pt x="104" y="90"/>
                    </a:lnTo>
                    <a:lnTo>
                      <a:pt x="122" y="99"/>
                    </a:lnTo>
                    <a:lnTo>
                      <a:pt x="122" y="105"/>
                    </a:lnTo>
                    <a:lnTo>
                      <a:pt x="81" y="99"/>
                    </a:lnTo>
                    <a:lnTo>
                      <a:pt x="63" y="65"/>
                    </a:lnTo>
                    <a:lnTo>
                      <a:pt x="47" y="65"/>
                    </a:lnTo>
                    <a:lnTo>
                      <a:pt x="40" y="65"/>
                    </a:lnTo>
                    <a:lnTo>
                      <a:pt x="23" y="74"/>
                    </a:lnTo>
                    <a:lnTo>
                      <a:pt x="32" y="80"/>
                    </a:lnTo>
                    <a:lnTo>
                      <a:pt x="15" y="80"/>
                    </a:lnTo>
                    <a:lnTo>
                      <a:pt x="0" y="80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36" name="Freeform 207">
                <a:extLst>
                  <a:ext uri="{FF2B5EF4-FFF2-40B4-BE49-F238E27FC236}">
                    <a16:creationId xmlns:a16="http://schemas.microsoft.com/office/drawing/2014/main" id="{633D8A5C-81E9-41FE-B1BD-A4AC5C603C3C}"/>
                  </a:ext>
                </a:extLst>
              </p:cNvPr>
              <p:cNvSpPr>
                <a:spLocks/>
              </p:cNvSpPr>
              <p:nvPr>
                <p:custDataLst>
                  <p:tags r:id="rId124"/>
                </p:custDataLst>
              </p:nvPr>
            </p:nvSpPr>
            <p:spPr bwMode="gray">
              <a:xfrm>
                <a:off x="7796707" y="4498078"/>
                <a:ext cx="102047" cy="61645"/>
              </a:xfrm>
              <a:custGeom>
                <a:avLst/>
                <a:gdLst>
                  <a:gd name="T0" fmla="*/ 0 w 57"/>
                  <a:gd name="T1" fmla="*/ 16 h 33"/>
                  <a:gd name="T2" fmla="*/ 16 w 57"/>
                  <a:gd name="T3" fmla="*/ 32 h 33"/>
                  <a:gd name="T4" fmla="*/ 34 w 57"/>
                  <a:gd name="T5" fmla="*/ 32 h 33"/>
                  <a:gd name="T6" fmla="*/ 49 w 57"/>
                  <a:gd name="T7" fmla="*/ 23 h 33"/>
                  <a:gd name="T8" fmla="*/ 56 w 57"/>
                  <a:gd name="T9" fmla="*/ 8 h 33"/>
                  <a:gd name="T10" fmla="*/ 56 w 57"/>
                  <a:gd name="T11" fmla="*/ 0 h 33"/>
                  <a:gd name="T12" fmla="*/ 49 w 57"/>
                  <a:gd name="T13" fmla="*/ 0 h 33"/>
                  <a:gd name="T14" fmla="*/ 49 w 57"/>
                  <a:gd name="T15" fmla="*/ 16 h 33"/>
                  <a:gd name="T16" fmla="*/ 41 w 57"/>
                  <a:gd name="T17" fmla="*/ 16 h 33"/>
                  <a:gd name="T18" fmla="*/ 34 w 57"/>
                  <a:gd name="T19" fmla="*/ 16 h 33"/>
                  <a:gd name="T20" fmla="*/ 0 w 57"/>
                  <a:gd name="T21" fmla="*/ 16 h 3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</a:cxnLst>
                <a:rect l="0" t="0" r="r" b="b"/>
                <a:pathLst>
                  <a:path w="57" h="33">
                    <a:moveTo>
                      <a:pt x="0" y="16"/>
                    </a:moveTo>
                    <a:lnTo>
                      <a:pt x="16" y="32"/>
                    </a:lnTo>
                    <a:lnTo>
                      <a:pt x="34" y="32"/>
                    </a:lnTo>
                    <a:lnTo>
                      <a:pt x="49" y="23"/>
                    </a:lnTo>
                    <a:lnTo>
                      <a:pt x="56" y="8"/>
                    </a:lnTo>
                    <a:lnTo>
                      <a:pt x="56" y="0"/>
                    </a:lnTo>
                    <a:lnTo>
                      <a:pt x="49" y="0"/>
                    </a:lnTo>
                    <a:lnTo>
                      <a:pt x="49" y="16"/>
                    </a:lnTo>
                    <a:lnTo>
                      <a:pt x="41" y="16"/>
                    </a:lnTo>
                    <a:lnTo>
                      <a:pt x="34" y="16"/>
                    </a:lnTo>
                    <a:lnTo>
                      <a:pt x="0" y="16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37" name="Freeform 208">
                <a:extLst>
                  <a:ext uri="{FF2B5EF4-FFF2-40B4-BE49-F238E27FC236}">
                    <a16:creationId xmlns:a16="http://schemas.microsoft.com/office/drawing/2014/main" id="{A0638115-9FD8-4150-A09C-86D5A0EA0E80}"/>
                  </a:ext>
                </a:extLst>
              </p:cNvPr>
              <p:cNvSpPr>
                <a:spLocks/>
              </p:cNvSpPr>
              <p:nvPr>
                <p:custDataLst>
                  <p:tags r:id="rId125"/>
                </p:custDataLst>
              </p:nvPr>
            </p:nvSpPr>
            <p:spPr bwMode="gray">
              <a:xfrm>
                <a:off x="7870241" y="4485749"/>
                <a:ext cx="45020" cy="30823"/>
              </a:xfrm>
              <a:custGeom>
                <a:avLst/>
                <a:gdLst>
                  <a:gd name="T0" fmla="*/ 0 w 25"/>
                  <a:gd name="T1" fmla="*/ 0 h 17"/>
                  <a:gd name="T2" fmla="*/ 15 w 25"/>
                  <a:gd name="T3" fmla="*/ 8 h 17"/>
                  <a:gd name="T4" fmla="*/ 24 w 25"/>
                  <a:gd name="T5" fmla="*/ 16 h 17"/>
                  <a:gd name="T6" fmla="*/ 24 w 25"/>
                  <a:gd name="T7" fmla="*/ 8 h 17"/>
                  <a:gd name="T8" fmla="*/ 0 w 25"/>
                  <a:gd name="T9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5" h="17">
                    <a:moveTo>
                      <a:pt x="0" y="0"/>
                    </a:moveTo>
                    <a:lnTo>
                      <a:pt x="15" y="8"/>
                    </a:lnTo>
                    <a:lnTo>
                      <a:pt x="24" y="16"/>
                    </a:lnTo>
                    <a:lnTo>
                      <a:pt x="24" y="8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38" name="Freeform 209">
                <a:extLst>
                  <a:ext uri="{FF2B5EF4-FFF2-40B4-BE49-F238E27FC236}">
                    <a16:creationId xmlns:a16="http://schemas.microsoft.com/office/drawing/2014/main" id="{5BE1BF35-7F85-4370-83D4-5866C4D2BA29}"/>
                  </a:ext>
                </a:extLst>
              </p:cNvPr>
              <p:cNvSpPr>
                <a:spLocks/>
              </p:cNvSpPr>
              <p:nvPr>
                <p:custDataLst>
                  <p:tags r:id="rId126"/>
                </p:custDataLst>
              </p:nvPr>
            </p:nvSpPr>
            <p:spPr bwMode="gray">
              <a:xfrm>
                <a:off x="7957280" y="4528901"/>
                <a:ext cx="33015" cy="44693"/>
              </a:xfrm>
              <a:custGeom>
                <a:avLst/>
                <a:gdLst>
                  <a:gd name="T0" fmla="*/ 0 w 18"/>
                  <a:gd name="T1" fmla="*/ 0 h 25"/>
                  <a:gd name="T2" fmla="*/ 8 w 18"/>
                  <a:gd name="T3" fmla="*/ 24 h 25"/>
                  <a:gd name="T4" fmla="*/ 17 w 18"/>
                  <a:gd name="T5" fmla="*/ 16 h 25"/>
                  <a:gd name="T6" fmla="*/ 0 w 18"/>
                  <a:gd name="T7" fmla="*/ 0 h 2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8" h="25">
                    <a:moveTo>
                      <a:pt x="0" y="0"/>
                    </a:moveTo>
                    <a:lnTo>
                      <a:pt x="8" y="24"/>
                    </a:lnTo>
                    <a:lnTo>
                      <a:pt x="17" y="1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39" name="Freeform 210">
                <a:extLst>
                  <a:ext uri="{FF2B5EF4-FFF2-40B4-BE49-F238E27FC236}">
                    <a16:creationId xmlns:a16="http://schemas.microsoft.com/office/drawing/2014/main" id="{F4B50899-6919-476A-A6B2-152B4B0F5855}"/>
                  </a:ext>
                </a:extLst>
              </p:cNvPr>
              <p:cNvSpPr>
                <a:spLocks/>
              </p:cNvSpPr>
              <p:nvPr>
                <p:custDataLst>
                  <p:tags r:id="rId127"/>
                </p:custDataLst>
              </p:nvPr>
            </p:nvSpPr>
            <p:spPr bwMode="gray">
              <a:xfrm>
                <a:off x="8059326" y="4615204"/>
                <a:ext cx="30014" cy="30823"/>
              </a:xfrm>
              <a:custGeom>
                <a:avLst/>
                <a:gdLst>
                  <a:gd name="T0" fmla="*/ 0 w 17"/>
                  <a:gd name="T1" fmla="*/ 0 h 17"/>
                  <a:gd name="T2" fmla="*/ 0 w 17"/>
                  <a:gd name="T3" fmla="*/ 16 h 17"/>
                  <a:gd name="T4" fmla="*/ 16 w 17"/>
                  <a:gd name="T5" fmla="*/ 16 h 17"/>
                  <a:gd name="T6" fmla="*/ 0 w 17"/>
                  <a:gd name="T7" fmla="*/ 0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7">
                    <a:moveTo>
                      <a:pt x="0" y="0"/>
                    </a:moveTo>
                    <a:lnTo>
                      <a:pt x="0" y="16"/>
                    </a:lnTo>
                    <a:lnTo>
                      <a:pt x="16" y="16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40" name="Freeform 213">
                <a:extLst>
                  <a:ext uri="{FF2B5EF4-FFF2-40B4-BE49-F238E27FC236}">
                    <a16:creationId xmlns:a16="http://schemas.microsoft.com/office/drawing/2014/main" id="{B761C07C-4600-4FD3-88CC-89D7B57CEE44}"/>
                  </a:ext>
                </a:extLst>
              </p:cNvPr>
              <p:cNvSpPr>
                <a:spLocks/>
              </p:cNvSpPr>
              <p:nvPr>
                <p:custDataLst>
                  <p:tags r:id="rId128"/>
                </p:custDataLst>
              </p:nvPr>
            </p:nvSpPr>
            <p:spPr bwMode="gray">
              <a:xfrm>
                <a:off x="6698683" y="4240709"/>
                <a:ext cx="439563" cy="133816"/>
              </a:xfrm>
              <a:custGeom>
                <a:avLst/>
                <a:gdLst/>
                <a:ahLst/>
                <a:cxnLst/>
                <a:rect l="l" t="t" r="r" b="b"/>
                <a:pathLst>
                  <a:path w="471173" h="137842">
                    <a:moveTo>
                      <a:pt x="406205" y="0"/>
                    </a:moveTo>
                    <a:lnTo>
                      <a:pt x="423398" y="16764"/>
                    </a:lnTo>
                    <a:lnTo>
                      <a:pt x="423398" y="33528"/>
                    </a:lnTo>
                    <a:lnTo>
                      <a:pt x="471173" y="46562"/>
                    </a:lnTo>
                    <a:lnTo>
                      <a:pt x="436787" y="46562"/>
                    </a:lnTo>
                    <a:lnTo>
                      <a:pt x="452053" y="63326"/>
                    </a:lnTo>
                    <a:lnTo>
                      <a:pt x="436787" y="63326"/>
                    </a:lnTo>
                    <a:lnTo>
                      <a:pt x="392841" y="63326"/>
                    </a:lnTo>
                    <a:lnTo>
                      <a:pt x="346993" y="121078"/>
                    </a:lnTo>
                    <a:lnTo>
                      <a:pt x="329800" y="137842"/>
                    </a:lnTo>
                    <a:lnTo>
                      <a:pt x="299218" y="121078"/>
                    </a:lnTo>
                    <a:lnTo>
                      <a:pt x="282025" y="137842"/>
                    </a:lnTo>
                    <a:lnTo>
                      <a:pt x="251468" y="137842"/>
                    </a:lnTo>
                    <a:lnTo>
                      <a:pt x="222813" y="121078"/>
                    </a:lnTo>
                    <a:lnTo>
                      <a:pt x="270563" y="121078"/>
                    </a:lnTo>
                    <a:lnTo>
                      <a:pt x="270563" y="93138"/>
                    </a:lnTo>
                    <a:lnTo>
                      <a:pt x="299218" y="93138"/>
                    </a:lnTo>
                    <a:lnTo>
                      <a:pt x="329800" y="63326"/>
                    </a:lnTo>
                    <a:lnTo>
                      <a:pt x="346993" y="63326"/>
                    </a:lnTo>
                    <a:lnTo>
                      <a:pt x="358455" y="63326"/>
                    </a:lnTo>
                    <a:lnTo>
                      <a:pt x="375648" y="46562"/>
                    </a:lnTo>
                    <a:lnTo>
                      <a:pt x="358455" y="46562"/>
                    </a:lnTo>
                    <a:lnTo>
                      <a:pt x="375648" y="33528"/>
                    </a:lnTo>
                    <a:close/>
                    <a:moveTo>
                      <a:pt x="0" y="0"/>
                    </a:moveTo>
                    <a:lnTo>
                      <a:pt x="17728" y="16764"/>
                    </a:lnTo>
                    <a:lnTo>
                      <a:pt x="35457" y="33528"/>
                    </a:lnTo>
                    <a:lnTo>
                      <a:pt x="47275" y="16764"/>
                    </a:lnTo>
                    <a:lnTo>
                      <a:pt x="84701" y="46562"/>
                    </a:lnTo>
                    <a:lnTo>
                      <a:pt x="84701" y="93138"/>
                    </a:lnTo>
                    <a:lnTo>
                      <a:pt x="96520" y="137842"/>
                    </a:lnTo>
                    <a:lnTo>
                      <a:pt x="84701" y="137842"/>
                    </a:lnTo>
                    <a:lnTo>
                      <a:pt x="35457" y="93138"/>
                    </a:lnTo>
                    <a:lnTo>
                      <a:pt x="0" y="63326"/>
                    </a:lnTo>
                    <a:lnTo>
                      <a:pt x="0" y="1676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41" name="Freeform 215">
                <a:extLst>
                  <a:ext uri="{FF2B5EF4-FFF2-40B4-BE49-F238E27FC236}">
                    <a16:creationId xmlns:a16="http://schemas.microsoft.com/office/drawing/2014/main" id="{EC849566-AB12-4A11-ACDE-27EE146C023B}"/>
                  </a:ext>
                </a:extLst>
              </p:cNvPr>
              <p:cNvSpPr>
                <a:spLocks/>
              </p:cNvSpPr>
              <p:nvPr>
                <p:custDataLst>
                  <p:tags r:id="rId129"/>
                </p:custDataLst>
              </p:nvPr>
            </p:nvSpPr>
            <p:spPr bwMode="gray">
              <a:xfrm>
                <a:off x="7007469" y="4285402"/>
                <a:ext cx="45188" cy="30823"/>
              </a:xfrm>
              <a:custGeom>
                <a:avLst/>
                <a:gdLst>
                  <a:gd name="T0" fmla="*/ 0 w 25"/>
                  <a:gd name="T1" fmla="*/ 16 h 17"/>
                  <a:gd name="T2" fmla="*/ 9 w 25"/>
                  <a:gd name="T3" fmla="*/ 16 h 17"/>
                  <a:gd name="T4" fmla="*/ 15 w 25"/>
                  <a:gd name="T5" fmla="*/ 16 h 17"/>
                  <a:gd name="T6" fmla="*/ 24 w 25"/>
                  <a:gd name="T7" fmla="*/ 0 h 17"/>
                  <a:gd name="T8" fmla="*/ 15 w 25"/>
                  <a:gd name="T9" fmla="*/ 0 h 17"/>
                  <a:gd name="T10" fmla="*/ 0 w 25"/>
                  <a:gd name="T11" fmla="*/ 16 h 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5" h="17">
                    <a:moveTo>
                      <a:pt x="0" y="16"/>
                    </a:moveTo>
                    <a:lnTo>
                      <a:pt x="9" y="16"/>
                    </a:lnTo>
                    <a:lnTo>
                      <a:pt x="15" y="16"/>
                    </a:lnTo>
                    <a:lnTo>
                      <a:pt x="24" y="0"/>
                    </a:lnTo>
                    <a:lnTo>
                      <a:pt x="15" y="0"/>
                    </a:lnTo>
                    <a:lnTo>
                      <a:pt x="0" y="16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42" name="Freeform 236">
                <a:extLst>
                  <a:ext uri="{FF2B5EF4-FFF2-40B4-BE49-F238E27FC236}">
                    <a16:creationId xmlns:a16="http://schemas.microsoft.com/office/drawing/2014/main" id="{D048133F-D1E1-4097-B9A4-837BDDDE9ECD}"/>
                  </a:ext>
                </a:extLst>
              </p:cNvPr>
              <p:cNvSpPr>
                <a:spLocks/>
              </p:cNvSpPr>
              <p:nvPr>
                <p:custDataLst>
                  <p:tags r:id="rId130"/>
                </p:custDataLst>
              </p:nvPr>
            </p:nvSpPr>
            <p:spPr bwMode="gray">
              <a:xfrm>
                <a:off x="4043256" y="1694759"/>
                <a:ext cx="29620" cy="32364"/>
              </a:xfrm>
              <a:custGeom>
                <a:avLst/>
                <a:gdLst>
                  <a:gd name="T0" fmla="*/ 0 w 17"/>
                  <a:gd name="T1" fmla="*/ 0 h 18"/>
                  <a:gd name="T2" fmla="*/ 0 w 17"/>
                  <a:gd name="T3" fmla="*/ 17 h 18"/>
                  <a:gd name="T4" fmla="*/ 16 w 17"/>
                  <a:gd name="T5" fmla="*/ 17 h 18"/>
                  <a:gd name="T6" fmla="*/ 0 w 17"/>
                  <a:gd name="T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8">
                    <a:moveTo>
                      <a:pt x="0" y="0"/>
                    </a:moveTo>
                    <a:lnTo>
                      <a:pt x="0" y="17"/>
                    </a:lnTo>
                    <a:lnTo>
                      <a:pt x="16" y="17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43" name="Freeform 237">
                <a:extLst>
                  <a:ext uri="{FF2B5EF4-FFF2-40B4-BE49-F238E27FC236}">
                    <a16:creationId xmlns:a16="http://schemas.microsoft.com/office/drawing/2014/main" id="{4EE77FFB-9861-4299-9478-62ECE479A243}"/>
                  </a:ext>
                </a:extLst>
              </p:cNvPr>
              <p:cNvSpPr>
                <a:spLocks/>
              </p:cNvSpPr>
              <p:nvPr>
                <p:custDataLst>
                  <p:tags r:id="rId131"/>
                </p:custDataLst>
              </p:nvPr>
            </p:nvSpPr>
            <p:spPr bwMode="gray">
              <a:xfrm>
                <a:off x="4043256" y="1694759"/>
                <a:ext cx="29620" cy="32364"/>
              </a:xfrm>
              <a:custGeom>
                <a:avLst/>
                <a:gdLst>
                  <a:gd name="T0" fmla="*/ 0 w 17"/>
                  <a:gd name="T1" fmla="*/ 0 h 18"/>
                  <a:gd name="T2" fmla="*/ 0 w 17"/>
                  <a:gd name="T3" fmla="*/ 17 h 18"/>
                  <a:gd name="T4" fmla="*/ 16 w 17"/>
                  <a:gd name="T5" fmla="*/ 17 h 18"/>
                  <a:gd name="T6" fmla="*/ 0 w 17"/>
                  <a:gd name="T7" fmla="*/ 0 h 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7" h="18">
                    <a:moveTo>
                      <a:pt x="0" y="0"/>
                    </a:moveTo>
                    <a:lnTo>
                      <a:pt x="0" y="17"/>
                    </a:lnTo>
                    <a:lnTo>
                      <a:pt x="16" y="17"/>
                    </a:lnTo>
                    <a:lnTo>
                      <a:pt x="0" y="0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44" name="Freeform 311">
                <a:extLst>
                  <a:ext uri="{FF2B5EF4-FFF2-40B4-BE49-F238E27FC236}">
                    <a16:creationId xmlns:a16="http://schemas.microsoft.com/office/drawing/2014/main" id="{DDB9E46E-010B-42B2-9E55-642FF6748E11}"/>
                  </a:ext>
                </a:extLst>
              </p:cNvPr>
              <p:cNvSpPr>
                <a:spLocks/>
              </p:cNvSpPr>
              <p:nvPr>
                <p:custDataLst>
                  <p:tags r:id="rId132"/>
                </p:custDataLst>
              </p:nvPr>
            </p:nvSpPr>
            <p:spPr bwMode="gray">
              <a:xfrm>
                <a:off x="3898118" y="2349741"/>
                <a:ext cx="254732" cy="174148"/>
              </a:xfrm>
              <a:custGeom>
                <a:avLst/>
                <a:gdLst>
                  <a:gd name="T0" fmla="*/ 32 w 169"/>
                  <a:gd name="T1" fmla="*/ 1 h 113"/>
                  <a:gd name="T2" fmla="*/ 50 w 169"/>
                  <a:gd name="T3" fmla="*/ 17 h 113"/>
                  <a:gd name="T4" fmla="*/ 60 w 169"/>
                  <a:gd name="T5" fmla="*/ 31 h 113"/>
                  <a:gd name="T6" fmla="*/ 72 w 169"/>
                  <a:gd name="T7" fmla="*/ 25 h 113"/>
                  <a:gd name="T8" fmla="*/ 114 w 169"/>
                  <a:gd name="T9" fmla="*/ 13 h 113"/>
                  <a:gd name="T10" fmla="*/ 152 w 169"/>
                  <a:gd name="T11" fmla="*/ 11 h 113"/>
                  <a:gd name="T12" fmla="*/ 148 w 169"/>
                  <a:gd name="T13" fmla="*/ 23 h 113"/>
                  <a:gd name="T14" fmla="*/ 166 w 169"/>
                  <a:gd name="T15" fmla="*/ 45 h 113"/>
                  <a:gd name="T16" fmla="*/ 158 w 169"/>
                  <a:gd name="T17" fmla="*/ 67 h 113"/>
                  <a:gd name="T18" fmla="*/ 134 w 169"/>
                  <a:gd name="T19" fmla="*/ 87 h 113"/>
                  <a:gd name="T20" fmla="*/ 116 w 169"/>
                  <a:gd name="T21" fmla="*/ 95 h 113"/>
                  <a:gd name="T22" fmla="*/ 112 w 169"/>
                  <a:gd name="T23" fmla="*/ 107 h 113"/>
                  <a:gd name="T24" fmla="*/ 94 w 169"/>
                  <a:gd name="T25" fmla="*/ 113 h 113"/>
                  <a:gd name="T26" fmla="*/ 54 w 169"/>
                  <a:gd name="T27" fmla="*/ 97 h 113"/>
                  <a:gd name="T28" fmla="*/ 24 w 169"/>
                  <a:gd name="T29" fmla="*/ 107 h 113"/>
                  <a:gd name="T30" fmla="*/ 38 w 169"/>
                  <a:gd name="T31" fmla="*/ 85 h 113"/>
                  <a:gd name="T32" fmla="*/ 16 w 169"/>
                  <a:gd name="T33" fmla="*/ 69 h 113"/>
                  <a:gd name="T34" fmla="*/ 2 w 169"/>
                  <a:gd name="T35" fmla="*/ 55 h 113"/>
                  <a:gd name="T36" fmla="*/ 26 w 169"/>
                  <a:gd name="T37" fmla="*/ 53 h 113"/>
                  <a:gd name="T38" fmla="*/ 24 w 169"/>
                  <a:gd name="T39" fmla="*/ 47 h 113"/>
                  <a:gd name="T40" fmla="*/ 0 w 169"/>
                  <a:gd name="T41" fmla="*/ 41 h 113"/>
                  <a:gd name="T42" fmla="*/ 4 w 169"/>
                  <a:gd name="T43" fmla="*/ 29 h 113"/>
                  <a:gd name="T44" fmla="*/ 16 w 169"/>
                  <a:gd name="T45" fmla="*/ 21 h 113"/>
                  <a:gd name="T46" fmla="*/ 28 w 169"/>
                  <a:gd name="T47" fmla="*/ 5 h 113"/>
                  <a:gd name="T48" fmla="*/ 32 w 169"/>
                  <a:gd name="T49" fmla="*/ 1 h 11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169" h="113">
                    <a:moveTo>
                      <a:pt x="32" y="1"/>
                    </a:moveTo>
                    <a:cubicBezTo>
                      <a:pt x="35" y="6"/>
                      <a:pt x="45" y="15"/>
                      <a:pt x="50" y="17"/>
                    </a:cubicBezTo>
                    <a:cubicBezTo>
                      <a:pt x="53" y="45"/>
                      <a:pt x="50" y="43"/>
                      <a:pt x="60" y="31"/>
                    </a:cubicBezTo>
                    <a:cubicBezTo>
                      <a:pt x="63" y="27"/>
                      <a:pt x="68" y="26"/>
                      <a:pt x="72" y="25"/>
                    </a:cubicBezTo>
                    <a:cubicBezTo>
                      <a:pt x="81" y="11"/>
                      <a:pt x="99" y="14"/>
                      <a:pt x="114" y="13"/>
                    </a:cubicBezTo>
                    <a:cubicBezTo>
                      <a:pt x="126" y="5"/>
                      <a:pt x="131" y="0"/>
                      <a:pt x="152" y="11"/>
                    </a:cubicBezTo>
                    <a:cubicBezTo>
                      <a:pt x="156" y="13"/>
                      <a:pt x="148" y="23"/>
                      <a:pt x="148" y="23"/>
                    </a:cubicBezTo>
                    <a:cubicBezTo>
                      <a:pt x="157" y="29"/>
                      <a:pt x="158" y="37"/>
                      <a:pt x="166" y="45"/>
                    </a:cubicBezTo>
                    <a:cubicBezTo>
                      <a:pt x="169" y="54"/>
                      <a:pt x="168" y="64"/>
                      <a:pt x="158" y="67"/>
                    </a:cubicBezTo>
                    <a:cubicBezTo>
                      <a:pt x="147" y="84"/>
                      <a:pt x="161" y="84"/>
                      <a:pt x="134" y="87"/>
                    </a:cubicBezTo>
                    <a:cubicBezTo>
                      <a:pt x="127" y="89"/>
                      <a:pt x="123" y="93"/>
                      <a:pt x="116" y="95"/>
                    </a:cubicBezTo>
                    <a:cubicBezTo>
                      <a:pt x="115" y="99"/>
                      <a:pt x="113" y="103"/>
                      <a:pt x="112" y="107"/>
                    </a:cubicBezTo>
                    <a:cubicBezTo>
                      <a:pt x="110" y="113"/>
                      <a:pt x="94" y="113"/>
                      <a:pt x="94" y="113"/>
                    </a:cubicBezTo>
                    <a:cubicBezTo>
                      <a:pt x="77" y="111"/>
                      <a:pt x="69" y="102"/>
                      <a:pt x="54" y="97"/>
                    </a:cubicBezTo>
                    <a:cubicBezTo>
                      <a:pt x="26" y="100"/>
                      <a:pt x="41" y="101"/>
                      <a:pt x="24" y="107"/>
                    </a:cubicBezTo>
                    <a:cubicBezTo>
                      <a:pt x="21" y="98"/>
                      <a:pt x="32" y="93"/>
                      <a:pt x="38" y="85"/>
                    </a:cubicBezTo>
                    <a:cubicBezTo>
                      <a:pt x="28" y="79"/>
                      <a:pt x="29" y="72"/>
                      <a:pt x="16" y="69"/>
                    </a:cubicBezTo>
                    <a:cubicBezTo>
                      <a:pt x="9" y="64"/>
                      <a:pt x="9" y="60"/>
                      <a:pt x="2" y="55"/>
                    </a:cubicBezTo>
                    <a:cubicBezTo>
                      <a:pt x="10" y="54"/>
                      <a:pt x="18" y="56"/>
                      <a:pt x="26" y="53"/>
                    </a:cubicBezTo>
                    <a:cubicBezTo>
                      <a:pt x="28" y="52"/>
                      <a:pt x="26" y="48"/>
                      <a:pt x="24" y="47"/>
                    </a:cubicBezTo>
                    <a:cubicBezTo>
                      <a:pt x="17" y="43"/>
                      <a:pt x="0" y="41"/>
                      <a:pt x="0" y="41"/>
                    </a:cubicBezTo>
                    <a:cubicBezTo>
                      <a:pt x="1" y="37"/>
                      <a:pt x="0" y="31"/>
                      <a:pt x="4" y="29"/>
                    </a:cubicBezTo>
                    <a:cubicBezTo>
                      <a:pt x="8" y="26"/>
                      <a:pt x="16" y="21"/>
                      <a:pt x="16" y="21"/>
                    </a:cubicBezTo>
                    <a:cubicBezTo>
                      <a:pt x="19" y="13"/>
                      <a:pt x="21" y="10"/>
                      <a:pt x="28" y="5"/>
                    </a:cubicBezTo>
                    <a:cubicBezTo>
                      <a:pt x="38" y="8"/>
                      <a:pt x="38" y="9"/>
                      <a:pt x="32" y="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45" name="Freeform 312">
                <a:extLst>
                  <a:ext uri="{FF2B5EF4-FFF2-40B4-BE49-F238E27FC236}">
                    <a16:creationId xmlns:a16="http://schemas.microsoft.com/office/drawing/2014/main" id="{E24CA857-8528-4C77-AA55-BAC89EFC7423}"/>
                  </a:ext>
                </a:extLst>
              </p:cNvPr>
              <p:cNvSpPr>
                <a:spLocks/>
              </p:cNvSpPr>
              <p:nvPr>
                <p:custDataLst>
                  <p:tags r:id="rId133"/>
                </p:custDataLst>
              </p:nvPr>
            </p:nvSpPr>
            <p:spPr bwMode="gray">
              <a:xfrm>
                <a:off x="2910292" y="1574551"/>
                <a:ext cx="1130001" cy="1106532"/>
              </a:xfrm>
              <a:custGeom>
                <a:avLst/>
                <a:gdLst>
                  <a:gd name="T0" fmla="*/ 188 w 763"/>
                  <a:gd name="T1" fmla="*/ 119 h 718"/>
                  <a:gd name="T2" fmla="*/ 209 w 763"/>
                  <a:gd name="T3" fmla="*/ 172 h 718"/>
                  <a:gd name="T4" fmla="*/ 210 w 763"/>
                  <a:gd name="T5" fmla="*/ 248 h 718"/>
                  <a:gd name="T6" fmla="*/ 228 w 763"/>
                  <a:gd name="T7" fmla="*/ 287 h 718"/>
                  <a:gd name="T8" fmla="*/ 248 w 763"/>
                  <a:gd name="T9" fmla="*/ 299 h 718"/>
                  <a:gd name="T10" fmla="*/ 276 w 763"/>
                  <a:gd name="T11" fmla="*/ 324 h 718"/>
                  <a:gd name="T12" fmla="*/ 222 w 763"/>
                  <a:gd name="T13" fmla="*/ 332 h 718"/>
                  <a:gd name="T14" fmla="*/ 238 w 763"/>
                  <a:gd name="T15" fmla="*/ 380 h 718"/>
                  <a:gd name="T16" fmla="*/ 276 w 763"/>
                  <a:gd name="T17" fmla="*/ 354 h 718"/>
                  <a:gd name="T18" fmla="*/ 276 w 763"/>
                  <a:gd name="T19" fmla="*/ 410 h 718"/>
                  <a:gd name="T20" fmla="*/ 237 w 763"/>
                  <a:gd name="T21" fmla="*/ 427 h 718"/>
                  <a:gd name="T22" fmla="*/ 256 w 763"/>
                  <a:gd name="T23" fmla="*/ 525 h 718"/>
                  <a:gd name="T24" fmla="*/ 303 w 763"/>
                  <a:gd name="T25" fmla="*/ 669 h 718"/>
                  <a:gd name="T26" fmla="*/ 353 w 763"/>
                  <a:gd name="T27" fmla="*/ 690 h 718"/>
                  <a:gd name="T28" fmla="*/ 392 w 763"/>
                  <a:gd name="T29" fmla="*/ 707 h 718"/>
                  <a:gd name="T30" fmla="*/ 411 w 763"/>
                  <a:gd name="T31" fmla="*/ 629 h 718"/>
                  <a:gd name="T32" fmla="*/ 440 w 763"/>
                  <a:gd name="T33" fmla="*/ 559 h 718"/>
                  <a:gd name="T34" fmla="*/ 442 w 763"/>
                  <a:gd name="T35" fmla="*/ 542 h 718"/>
                  <a:gd name="T36" fmla="*/ 486 w 763"/>
                  <a:gd name="T37" fmla="*/ 525 h 718"/>
                  <a:gd name="T38" fmla="*/ 591 w 763"/>
                  <a:gd name="T39" fmla="*/ 429 h 718"/>
                  <a:gd name="T40" fmla="*/ 698 w 763"/>
                  <a:gd name="T41" fmla="*/ 361 h 718"/>
                  <a:gd name="T42" fmla="*/ 672 w 763"/>
                  <a:gd name="T43" fmla="*/ 337 h 718"/>
                  <a:gd name="T44" fmla="*/ 670 w 763"/>
                  <a:gd name="T45" fmla="*/ 315 h 718"/>
                  <a:gd name="T46" fmla="*/ 679 w 763"/>
                  <a:gd name="T47" fmla="*/ 284 h 718"/>
                  <a:gd name="T48" fmla="*/ 697 w 763"/>
                  <a:gd name="T49" fmla="*/ 337 h 718"/>
                  <a:gd name="T50" fmla="*/ 722 w 763"/>
                  <a:gd name="T51" fmla="*/ 283 h 718"/>
                  <a:gd name="T52" fmla="*/ 720 w 763"/>
                  <a:gd name="T53" fmla="*/ 248 h 718"/>
                  <a:gd name="T54" fmla="*/ 698 w 763"/>
                  <a:gd name="T55" fmla="*/ 200 h 718"/>
                  <a:gd name="T56" fmla="*/ 737 w 763"/>
                  <a:gd name="T57" fmla="*/ 159 h 718"/>
                  <a:gd name="T58" fmla="*/ 756 w 763"/>
                  <a:gd name="T59" fmla="*/ 143 h 718"/>
                  <a:gd name="T60" fmla="*/ 746 w 763"/>
                  <a:gd name="T61" fmla="*/ 112 h 718"/>
                  <a:gd name="T62" fmla="*/ 751 w 763"/>
                  <a:gd name="T63" fmla="*/ 65 h 718"/>
                  <a:gd name="T64" fmla="*/ 727 w 763"/>
                  <a:gd name="T65" fmla="*/ 19 h 718"/>
                  <a:gd name="T66" fmla="*/ 4 w 763"/>
                  <a:gd name="T67" fmla="*/ 0 h 718"/>
                  <a:gd name="T68" fmla="*/ 4 w 763"/>
                  <a:gd name="T69" fmla="*/ 33 h 718"/>
                  <a:gd name="T70" fmla="*/ 57 w 763"/>
                  <a:gd name="T71" fmla="*/ 30 h 718"/>
                  <a:gd name="T72" fmla="*/ 172 w 763"/>
                  <a:gd name="T73" fmla="*/ 61 h 7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763" h="718">
                    <a:moveTo>
                      <a:pt x="172" y="71"/>
                    </a:moveTo>
                    <a:lnTo>
                      <a:pt x="188" y="119"/>
                    </a:lnTo>
                    <a:lnTo>
                      <a:pt x="191" y="150"/>
                    </a:lnTo>
                    <a:lnTo>
                      <a:pt x="209" y="172"/>
                    </a:lnTo>
                    <a:lnTo>
                      <a:pt x="203" y="230"/>
                    </a:lnTo>
                    <a:lnTo>
                      <a:pt x="210" y="248"/>
                    </a:lnTo>
                    <a:lnTo>
                      <a:pt x="210" y="290"/>
                    </a:lnTo>
                    <a:lnTo>
                      <a:pt x="228" y="287"/>
                    </a:lnTo>
                    <a:lnTo>
                      <a:pt x="237" y="265"/>
                    </a:lnTo>
                    <a:lnTo>
                      <a:pt x="248" y="299"/>
                    </a:lnTo>
                    <a:lnTo>
                      <a:pt x="266" y="305"/>
                    </a:lnTo>
                    <a:lnTo>
                      <a:pt x="276" y="324"/>
                    </a:lnTo>
                    <a:lnTo>
                      <a:pt x="231" y="314"/>
                    </a:lnTo>
                    <a:lnTo>
                      <a:pt x="222" y="332"/>
                    </a:lnTo>
                    <a:lnTo>
                      <a:pt x="220" y="361"/>
                    </a:lnTo>
                    <a:lnTo>
                      <a:pt x="238" y="380"/>
                    </a:lnTo>
                    <a:lnTo>
                      <a:pt x="257" y="373"/>
                    </a:lnTo>
                    <a:lnTo>
                      <a:pt x="276" y="354"/>
                    </a:lnTo>
                    <a:lnTo>
                      <a:pt x="287" y="380"/>
                    </a:lnTo>
                    <a:lnTo>
                      <a:pt x="276" y="410"/>
                    </a:lnTo>
                    <a:lnTo>
                      <a:pt x="260" y="410"/>
                    </a:lnTo>
                    <a:lnTo>
                      <a:pt x="237" y="427"/>
                    </a:lnTo>
                    <a:lnTo>
                      <a:pt x="238" y="510"/>
                    </a:lnTo>
                    <a:lnTo>
                      <a:pt x="256" y="525"/>
                    </a:lnTo>
                    <a:lnTo>
                      <a:pt x="268" y="575"/>
                    </a:lnTo>
                    <a:lnTo>
                      <a:pt x="303" y="669"/>
                    </a:lnTo>
                    <a:lnTo>
                      <a:pt x="324" y="690"/>
                    </a:lnTo>
                    <a:lnTo>
                      <a:pt x="353" y="690"/>
                    </a:lnTo>
                    <a:lnTo>
                      <a:pt x="381" y="718"/>
                    </a:lnTo>
                    <a:lnTo>
                      <a:pt x="392" y="707"/>
                    </a:lnTo>
                    <a:lnTo>
                      <a:pt x="411" y="646"/>
                    </a:lnTo>
                    <a:lnTo>
                      <a:pt x="411" y="629"/>
                    </a:lnTo>
                    <a:lnTo>
                      <a:pt x="430" y="603"/>
                    </a:lnTo>
                    <a:lnTo>
                      <a:pt x="440" y="559"/>
                    </a:lnTo>
                    <a:lnTo>
                      <a:pt x="430" y="545"/>
                    </a:lnTo>
                    <a:lnTo>
                      <a:pt x="442" y="542"/>
                    </a:lnTo>
                    <a:lnTo>
                      <a:pt x="446" y="523"/>
                    </a:lnTo>
                    <a:lnTo>
                      <a:pt x="486" y="525"/>
                    </a:lnTo>
                    <a:lnTo>
                      <a:pt x="574" y="427"/>
                    </a:lnTo>
                    <a:lnTo>
                      <a:pt x="591" y="429"/>
                    </a:lnTo>
                    <a:lnTo>
                      <a:pt x="635" y="408"/>
                    </a:lnTo>
                    <a:lnTo>
                      <a:pt x="698" y="361"/>
                    </a:lnTo>
                    <a:lnTo>
                      <a:pt x="709" y="343"/>
                    </a:lnTo>
                    <a:lnTo>
                      <a:pt x="672" y="337"/>
                    </a:lnTo>
                    <a:lnTo>
                      <a:pt x="647" y="343"/>
                    </a:lnTo>
                    <a:lnTo>
                      <a:pt x="670" y="315"/>
                    </a:lnTo>
                    <a:lnTo>
                      <a:pt x="661" y="293"/>
                    </a:lnTo>
                    <a:lnTo>
                      <a:pt x="679" y="284"/>
                    </a:lnTo>
                    <a:lnTo>
                      <a:pt x="688" y="326"/>
                    </a:lnTo>
                    <a:lnTo>
                      <a:pt x="697" y="337"/>
                    </a:lnTo>
                    <a:lnTo>
                      <a:pt x="720" y="326"/>
                    </a:lnTo>
                    <a:lnTo>
                      <a:pt x="722" y="283"/>
                    </a:lnTo>
                    <a:lnTo>
                      <a:pt x="678" y="230"/>
                    </a:lnTo>
                    <a:lnTo>
                      <a:pt x="720" y="248"/>
                    </a:lnTo>
                    <a:lnTo>
                      <a:pt x="720" y="208"/>
                    </a:lnTo>
                    <a:lnTo>
                      <a:pt x="698" y="200"/>
                    </a:lnTo>
                    <a:lnTo>
                      <a:pt x="737" y="178"/>
                    </a:lnTo>
                    <a:lnTo>
                      <a:pt x="737" y="159"/>
                    </a:lnTo>
                    <a:lnTo>
                      <a:pt x="726" y="152"/>
                    </a:lnTo>
                    <a:lnTo>
                      <a:pt x="756" y="143"/>
                    </a:lnTo>
                    <a:lnTo>
                      <a:pt x="763" y="115"/>
                    </a:lnTo>
                    <a:lnTo>
                      <a:pt x="746" y="112"/>
                    </a:lnTo>
                    <a:lnTo>
                      <a:pt x="757" y="87"/>
                    </a:lnTo>
                    <a:lnTo>
                      <a:pt x="751" y="65"/>
                    </a:lnTo>
                    <a:lnTo>
                      <a:pt x="747" y="33"/>
                    </a:lnTo>
                    <a:lnTo>
                      <a:pt x="727" y="19"/>
                    </a:lnTo>
                    <a:lnTo>
                      <a:pt x="727" y="3"/>
                    </a:lnTo>
                    <a:lnTo>
                      <a:pt x="4" y="0"/>
                    </a:lnTo>
                    <a:lnTo>
                      <a:pt x="0" y="15"/>
                    </a:lnTo>
                    <a:lnTo>
                      <a:pt x="4" y="33"/>
                    </a:lnTo>
                    <a:lnTo>
                      <a:pt x="49" y="42"/>
                    </a:lnTo>
                    <a:lnTo>
                      <a:pt x="57" y="30"/>
                    </a:lnTo>
                    <a:lnTo>
                      <a:pt x="118" y="34"/>
                    </a:lnTo>
                    <a:lnTo>
                      <a:pt x="172" y="61"/>
                    </a:lnTo>
                    <a:lnTo>
                      <a:pt x="172" y="71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46" name="Freeform 320">
                <a:extLst>
                  <a:ext uri="{FF2B5EF4-FFF2-40B4-BE49-F238E27FC236}">
                    <a16:creationId xmlns:a16="http://schemas.microsoft.com/office/drawing/2014/main" id="{868BF32E-7949-426B-ADDF-96C41CF80EFA}"/>
                  </a:ext>
                </a:extLst>
              </p:cNvPr>
              <p:cNvSpPr>
                <a:spLocks/>
              </p:cNvSpPr>
              <p:nvPr>
                <p:custDataLst>
                  <p:tags r:id="rId134"/>
                </p:custDataLst>
              </p:nvPr>
            </p:nvSpPr>
            <p:spPr bwMode="gray">
              <a:xfrm>
                <a:off x="4246152" y="3326817"/>
                <a:ext cx="74050" cy="166442"/>
              </a:xfrm>
              <a:custGeom>
                <a:avLst/>
                <a:gdLst>
                  <a:gd name="T0" fmla="*/ 9 w 50"/>
                  <a:gd name="T1" fmla="*/ 0 h 111"/>
                  <a:gd name="T2" fmla="*/ 25 w 50"/>
                  <a:gd name="T3" fmla="*/ 17 h 111"/>
                  <a:gd name="T4" fmla="*/ 46 w 50"/>
                  <a:gd name="T5" fmla="*/ 20 h 111"/>
                  <a:gd name="T6" fmla="*/ 46 w 50"/>
                  <a:gd name="T7" fmla="*/ 33 h 111"/>
                  <a:gd name="T8" fmla="*/ 40 w 50"/>
                  <a:gd name="T9" fmla="*/ 47 h 111"/>
                  <a:gd name="T10" fmla="*/ 28 w 50"/>
                  <a:gd name="T11" fmla="*/ 111 h 111"/>
                  <a:gd name="T12" fmla="*/ 4 w 50"/>
                  <a:gd name="T13" fmla="*/ 86 h 111"/>
                  <a:gd name="T14" fmla="*/ 9 w 50"/>
                  <a:gd name="T15" fmla="*/ 63 h 111"/>
                  <a:gd name="T16" fmla="*/ 7 w 50"/>
                  <a:gd name="T17" fmla="*/ 12 h 111"/>
                  <a:gd name="T18" fmla="*/ 9 w 50"/>
                  <a:gd name="T19" fmla="*/ 0 h 1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0" h="111">
                    <a:moveTo>
                      <a:pt x="9" y="0"/>
                    </a:moveTo>
                    <a:cubicBezTo>
                      <a:pt x="12" y="1"/>
                      <a:pt x="19" y="14"/>
                      <a:pt x="25" y="17"/>
                    </a:cubicBezTo>
                    <a:cubicBezTo>
                      <a:pt x="31" y="20"/>
                      <a:pt x="42" y="17"/>
                      <a:pt x="46" y="20"/>
                    </a:cubicBezTo>
                    <a:cubicBezTo>
                      <a:pt x="50" y="25"/>
                      <a:pt x="49" y="27"/>
                      <a:pt x="46" y="33"/>
                    </a:cubicBezTo>
                    <a:cubicBezTo>
                      <a:pt x="45" y="39"/>
                      <a:pt x="43" y="42"/>
                      <a:pt x="40" y="47"/>
                    </a:cubicBezTo>
                    <a:cubicBezTo>
                      <a:pt x="38" y="68"/>
                      <a:pt x="41" y="93"/>
                      <a:pt x="28" y="111"/>
                    </a:cubicBezTo>
                    <a:cubicBezTo>
                      <a:pt x="3" y="109"/>
                      <a:pt x="16" y="103"/>
                      <a:pt x="4" y="86"/>
                    </a:cubicBezTo>
                    <a:cubicBezTo>
                      <a:pt x="2" y="77"/>
                      <a:pt x="0" y="68"/>
                      <a:pt x="9" y="63"/>
                    </a:cubicBezTo>
                    <a:cubicBezTo>
                      <a:pt x="10" y="41"/>
                      <a:pt x="15" y="31"/>
                      <a:pt x="7" y="12"/>
                    </a:cubicBezTo>
                    <a:cubicBezTo>
                      <a:pt x="8" y="8"/>
                      <a:pt x="9" y="0"/>
                      <a:pt x="9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47" name="Freeform 331">
                <a:extLst>
                  <a:ext uri="{FF2B5EF4-FFF2-40B4-BE49-F238E27FC236}">
                    <a16:creationId xmlns:a16="http://schemas.microsoft.com/office/drawing/2014/main" id="{C62C8ACF-3CB5-42A4-B0C1-169E79DAF09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6999326" y="4652601"/>
                <a:ext cx="867030" cy="802519"/>
              </a:xfrm>
              <a:custGeom>
                <a:avLst/>
                <a:gdLst/>
                <a:ahLst/>
                <a:cxnLst/>
                <a:rect l="l" t="t" r="r" b="b"/>
                <a:pathLst>
                  <a:path w="929381" h="826665">
                    <a:moveTo>
                      <a:pt x="693000" y="752264"/>
                    </a:moveTo>
                    <a:cubicBezTo>
                      <a:pt x="698193" y="754675"/>
                      <a:pt x="703711" y="759498"/>
                      <a:pt x="709229" y="760531"/>
                    </a:cubicBezTo>
                    <a:cubicBezTo>
                      <a:pt x="711826" y="761909"/>
                      <a:pt x="717993" y="762598"/>
                      <a:pt x="717993" y="762598"/>
                    </a:cubicBezTo>
                    <a:cubicBezTo>
                      <a:pt x="721239" y="764320"/>
                      <a:pt x="725459" y="763975"/>
                      <a:pt x="729029" y="764664"/>
                    </a:cubicBezTo>
                    <a:cubicBezTo>
                      <a:pt x="734547" y="767075"/>
                      <a:pt x="739741" y="765353"/>
                      <a:pt x="746233" y="765353"/>
                    </a:cubicBezTo>
                    <a:cubicBezTo>
                      <a:pt x="747856" y="764320"/>
                      <a:pt x="749154" y="763631"/>
                      <a:pt x="751102" y="763287"/>
                    </a:cubicBezTo>
                    <a:cubicBezTo>
                      <a:pt x="753049" y="761564"/>
                      <a:pt x="756295" y="759842"/>
                      <a:pt x="758892" y="759153"/>
                    </a:cubicBezTo>
                    <a:cubicBezTo>
                      <a:pt x="762138" y="757431"/>
                      <a:pt x="766033" y="758120"/>
                      <a:pt x="769603" y="758464"/>
                    </a:cubicBezTo>
                    <a:cubicBezTo>
                      <a:pt x="770577" y="763287"/>
                      <a:pt x="771226" y="768109"/>
                      <a:pt x="768954" y="772931"/>
                    </a:cubicBezTo>
                    <a:cubicBezTo>
                      <a:pt x="768305" y="776720"/>
                      <a:pt x="768305" y="780509"/>
                      <a:pt x="767007" y="783954"/>
                    </a:cubicBezTo>
                    <a:cubicBezTo>
                      <a:pt x="766682" y="786709"/>
                      <a:pt x="765059" y="788776"/>
                      <a:pt x="763111" y="790498"/>
                    </a:cubicBezTo>
                    <a:cubicBezTo>
                      <a:pt x="761813" y="792909"/>
                      <a:pt x="761489" y="795320"/>
                      <a:pt x="760190" y="797731"/>
                    </a:cubicBezTo>
                    <a:cubicBezTo>
                      <a:pt x="759866" y="799798"/>
                      <a:pt x="758892" y="800832"/>
                      <a:pt x="758243" y="802554"/>
                    </a:cubicBezTo>
                    <a:cubicBezTo>
                      <a:pt x="757593" y="805654"/>
                      <a:pt x="758892" y="809443"/>
                      <a:pt x="755321" y="810132"/>
                    </a:cubicBezTo>
                    <a:cubicBezTo>
                      <a:pt x="752238" y="811337"/>
                      <a:pt x="750777" y="810993"/>
                      <a:pt x="745584" y="811854"/>
                    </a:cubicBezTo>
                    <a:lnTo>
                      <a:pt x="740390" y="815987"/>
                    </a:lnTo>
                    <a:cubicBezTo>
                      <a:pt x="739416" y="817021"/>
                      <a:pt x="739416" y="816676"/>
                      <a:pt x="737793" y="818054"/>
                    </a:cubicBezTo>
                    <a:cubicBezTo>
                      <a:pt x="736170" y="819432"/>
                      <a:pt x="735521" y="822187"/>
                      <a:pt x="733574" y="823565"/>
                    </a:cubicBezTo>
                    <a:cubicBezTo>
                      <a:pt x="732600" y="825632"/>
                      <a:pt x="732275" y="826321"/>
                      <a:pt x="730003" y="826665"/>
                    </a:cubicBezTo>
                    <a:cubicBezTo>
                      <a:pt x="719292" y="826321"/>
                      <a:pt x="720915" y="826665"/>
                      <a:pt x="714423" y="822532"/>
                    </a:cubicBezTo>
                    <a:cubicBezTo>
                      <a:pt x="712800" y="820121"/>
                      <a:pt x="711826" y="818743"/>
                      <a:pt x="709554" y="817365"/>
                    </a:cubicBezTo>
                    <a:cubicBezTo>
                      <a:pt x="707931" y="814954"/>
                      <a:pt x="707606" y="813576"/>
                      <a:pt x="704685" y="812887"/>
                    </a:cubicBezTo>
                    <a:cubicBezTo>
                      <a:pt x="702088" y="810821"/>
                      <a:pt x="699167" y="806343"/>
                      <a:pt x="697869" y="802898"/>
                    </a:cubicBezTo>
                    <a:cubicBezTo>
                      <a:pt x="697544" y="799454"/>
                      <a:pt x="696570" y="794976"/>
                      <a:pt x="700465" y="794287"/>
                    </a:cubicBezTo>
                    <a:cubicBezTo>
                      <a:pt x="702413" y="793254"/>
                      <a:pt x="701764" y="792220"/>
                      <a:pt x="700790" y="790154"/>
                    </a:cubicBezTo>
                    <a:cubicBezTo>
                      <a:pt x="700465" y="787742"/>
                      <a:pt x="699167" y="785676"/>
                      <a:pt x="697544" y="783954"/>
                    </a:cubicBezTo>
                    <a:cubicBezTo>
                      <a:pt x="696570" y="781542"/>
                      <a:pt x="695272" y="779820"/>
                      <a:pt x="693974" y="777753"/>
                    </a:cubicBezTo>
                    <a:cubicBezTo>
                      <a:pt x="693649" y="775342"/>
                      <a:pt x="693000" y="774998"/>
                      <a:pt x="691052" y="773964"/>
                    </a:cubicBezTo>
                    <a:cubicBezTo>
                      <a:pt x="690728" y="771553"/>
                      <a:pt x="690403" y="770864"/>
                      <a:pt x="688780" y="769487"/>
                    </a:cubicBezTo>
                    <a:cubicBezTo>
                      <a:pt x="687806" y="767075"/>
                      <a:pt x="687482" y="764664"/>
                      <a:pt x="687157" y="762253"/>
                    </a:cubicBezTo>
                    <a:cubicBezTo>
                      <a:pt x="687806" y="758464"/>
                      <a:pt x="687157" y="756053"/>
                      <a:pt x="689754" y="753986"/>
                    </a:cubicBezTo>
                    <a:cubicBezTo>
                      <a:pt x="691052" y="751575"/>
                      <a:pt x="690079" y="752264"/>
                      <a:pt x="693000" y="752264"/>
                    </a:cubicBezTo>
                    <a:close/>
                    <a:moveTo>
                      <a:pt x="0" y="395067"/>
                    </a:moveTo>
                    <a:cubicBezTo>
                      <a:pt x="1288" y="397374"/>
                      <a:pt x="2497" y="399746"/>
                      <a:pt x="3037" y="402446"/>
                    </a:cubicBezTo>
                    <a:cubicBezTo>
                      <a:pt x="891" y="400845"/>
                      <a:pt x="184" y="395849"/>
                      <a:pt x="0" y="395067"/>
                    </a:cubicBezTo>
                    <a:close/>
                    <a:moveTo>
                      <a:pt x="681395" y="757"/>
                    </a:moveTo>
                    <a:cubicBezTo>
                      <a:pt x="682613" y="-1224"/>
                      <a:pt x="686183" y="671"/>
                      <a:pt x="694623" y="6526"/>
                    </a:cubicBezTo>
                    <a:cubicBezTo>
                      <a:pt x="698193" y="12382"/>
                      <a:pt x="697869" y="15826"/>
                      <a:pt x="704036" y="18237"/>
                    </a:cubicBezTo>
                    <a:cubicBezTo>
                      <a:pt x="705984" y="38216"/>
                      <a:pt x="704036" y="29604"/>
                      <a:pt x="708905" y="44760"/>
                    </a:cubicBezTo>
                    <a:cubicBezTo>
                      <a:pt x="710528" y="49582"/>
                      <a:pt x="713449" y="59572"/>
                      <a:pt x="713449" y="59572"/>
                    </a:cubicBezTo>
                    <a:cubicBezTo>
                      <a:pt x="715072" y="70938"/>
                      <a:pt x="713774" y="91606"/>
                      <a:pt x="725784" y="96083"/>
                    </a:cubicBezTo>
                    <a:cubicBezTo>
                      <a:pt x="736820" y="91950"/>
                      <a:pt x="731951" y="88161"/>
                      <a:pt x="740065" y="90917"/>
                    </a:cubicBezTo>
                    <a:cubicBezTo>
                      <a:pt x="743636" y="97117"/>
                      <a:pt x="747206" y="96428"/>
                      <a:pt x="750777" y="102628"/>
                    </a:cubicBezTo>
                    <a:cubicBezTo>
                      <a:pt x="751426" y="108484"/>
                      <a:pt x="751426" y="114684"/>
                      <a:pt x="752400" y="120539"/>
                    </a:cubicBezTo>
                    <a:cubicBezTo>
                      <a:pt x="753049" y="123984"/>
                      <a:pt x="755646" y="130529"/>
                      <a:pt x="755646" y="130529"/>
                    </a:cubicBezTo>
                    <a:cubicBezTo>
                      <a:pt x="756295" y="136384"/>
                      <a:pt x="758892" y="146718"/>
                      <a:pt x="760839" y="152573"/>
                    </a:cubicBezTo>
                    <a:cubicBezTo>
                      <a:pt x="762787" y="158429"/>
                      <a:pt x="766357" y="162907"/>
                      <a:pt x="767980" y="167040"/>
                    </a:cubicBezTo>
                    <a:cubicBezTo>
                      <a:pt x="768954" y="170485"/>
                      <a:pt x="771226" y="173585"/>
                      <a:pt x="771226" y="177029"/>
                    </a:cubicBezTo>
                    <a:cubicBezTo>
                      <a:pt x="771551" y="187363"/>
                      <a:pt x="770577" y="198041"/>
                      <a:pt x="772524" y="208374"/>
                    </a:cubicBezTo>
                    <a:cubicBezTo>
                      <a:pt x="772849" y="210441"/>
                      <a:pt x="775770" y="210441"/>
                      <a:pt x="777393" y="211475"/>
                    </a:cubicBezTo>
                    <a:cubicBezTo>
                      <a:pt x="784859" y="216641"/>
                      <a:pt x="792649" y="218708"/>
                      <a:pt x="800764" y="221464"/>
                    </a:cubicBezTo>
                    <a:cubicBezTo>
                      <a:pt x="803685" y="223875"/>
                      <a:pt x="807580" y="225253"/>
                      <a:pt x="810177" y="228008"/>
                    </a:cubicBezTo>
                    <a:lnTo>
                      <a:pt x="813098" y="233132"/>
                    </a:lnTo>
                    <a:cubicBezTo>
                      <a:pt x="812855" y="233433"/>
                      <a:pt x="812936" y="233175"/>
                      <a:pt x="817967" y="234897"/>
                    </a:cubicBezTo>
                    <a:cubicBezTo>
                      <a:pt x="821538" y="240753"/>
                      <a:pt x="824134" y="242820"/>
                      <a:pt x="830302" y="244542"/>
                    </a:cubicBezTo>
                    <a:cubicBezTo>
                      <a:pt x="837118" y="249709"/>
                      <a:pt x="834521" y="251431"/>
                      <a:pt x="830302" y="257975"/>
                    </a:cubicBezTo>
                    <a:cubicBezTo>
                      <a:pt x="834846" y="262798"/>
                      <a:pt x="837442" y="267620"/>
                      <a:pt x="842636" y="271065"/>
                    </a:cubicBezTo>
                    <a:cubicBezTo>
                      <a:pt x="843610" y="282087"/>
                      <a:pt x="840364" y="293798"/>
                      <a:pt x="850426" y="297587"/>
                    </a:cubicBezTo>
                    <a:cubicBezTo>
                      <a:pt x="859190" y="294487"/>
                      <a:pt x="862761" y="299999"/>
                      <a:pt x="870875" y="302410"/>
                    </a:cubicBezTo>
                    <a:cubicBezTo>
                      <a:pt x="875744" y="305165"/>
                      <a:pt x="869901" y="315499"/>
                      <a:pt x="876718" y="325488"/>
                    </a:cubicBezTo>
                    <a:cubicBezTo>
                      <a:pt x="883534" y="335477"/>
                      <a:pt x="904957" y="354422"/>
                      <a:pt x="911449" y="362000"/>
                    </a:cubicBezTo>
                    <a:cubicBezTo>
                      <a:pt x="917616" y="369233"/>
                      <a:pt x="912423" y="360966"/>
                      <a:pt x="915020" y="370955"/>
                    </a:cubicBezTo>
                    <a:cubicBezTo>
                      <a:pt x="917941" y="370267"/>
                      <a:pt x="928328" y="356488"/>
                      <a:pt x="929301" y="358211"/>
                    </a:cubicBezTo>
                    <a:cubicBezTo>
                      <a:pt x="930275" y="359933"/>
                      <a:pt x="922160" y="371300"/>
                      <a:pt x="920538" y="381289"/>
                    </a:cubicBezTo>
                    <a:cubicBezTo>
                      <a:pt x="918915" y="391278"/>
                      <a:pt x="918590" y="406089"/>
                      <a:pt x="919564" y="417456"/>
                    </a:cubicBezTo>
                    <a:cubicBezTo>
                      <a:pt x="920538" y="428823"/>
                      <a:pt x="926380" y="437090"/>
                      <a:pt x="925406" y="450179"/>
                    </a:cubicBezTo>
                    <a:cubicBezTo>
                      <a:pt x="924108" y="463268"/>
                      <a:pt x="914046" y="483247"/>
                      <a:pt x="912747" y="495991"/>
                    </a:cubicBezTo>
                    <a:cubicBezTo>
                      <a:pt x="908528" y="509425"/>
                      <a:pt x="903983" y="523547"/>
                      <a:pt x="900413" y="530781"/>
                    </a:cubicBezTo>
                    <a:cubicBezTo>
                      <a:pt x="897816" y="534225"/>
                      <a:pt x="893921" y="535948"/>
                      <a:pt x="891000" y="539048"/>
                    </a:cubicBezTo>
                    <a:cubicBezTo>
                      <a:pt x="888728" y="545592"/>
                      <a:pt x="890675" y="551103"/>
                      <a:pt x="884833" y="553515"/>
                    </a:cubicBezTo>
                    <a:cubicBezTo>
                      <a:pt x="880613" y="560059"/>
                      <a:pt x="871849" y="562126"/>
                      <a:pt x="867629" y="568670"/>
                    </a:cubicBezTo>
                    <a:cubicBezTo>
                      <a:pt x="865357" y="576248"/>
                      <a:pt x="863734" y="576248"/>
                      <a:pt x="857242" y="578660"/>
                    </a:cubicBezTo>
                    <a:cubicBezTo>
                      <a:pt x="854321" y="582104"/>
                      <a:pt x="854970" y="587271"/>
                      <a:pt x="852698" y="592093"/>
                    </a:cubicBezTo>
                    <a:cubicBezTo>
                      <a:pt x="850426" y="596915"/>
                      <a:pt x="847505" y="601738"/>
                      <a:pt x="844259" y="606905"/>
                    </a:cubicBezTo>
                    <a:cubicBezTo>
                      <a:pt x="841987" y="614138"/>
                      <a:pt x="841013" y="620683"/>
                      <a:pt x="833547" y="623438"/>
                    </a:cubicBezTo>
                    <a:cubicBezTo>
                      <a:pt x="830626" y="627572"/>
                      <a:pt x="828354" y="623094"/>
                      <a:pt x="825757" y="631705"/>
                    </a:cubicBezTo>
                    <a:cubicBezTo>
                      <a:pt x="823810" y="639627"/>
                      <a:pt x="823161" y="667528"/>
                      <a:pt x="817967" y="676139"/>
                    </a:cubicBezTo>
                    <a:cubicBezTo>
                      <a:pt x="816020" y="684062"/>
                      <a:pt x="798167" y="683717"/>
                      <a:pt x="794597" y="684406"/>
                    </a:cubicBezTo>
                    <a:cubicBezTo>
                      <a:pt x="787131" y="686817"/>
                      <a:pt x="777069" y="684062"/>
                      <a:pt x="769603" y="686817"/>
                    </a:cubicBezTo>
                    <a:cubicBezTo>
                      <a:pt x="762138" y="689573"/>
                      <a:pt x="755321" y="697151"/>
                      <a:pt x="749154" y="700940"/>
                    </a:cubicBezTo>
                    <a:cubicBezTo>
                      <a:pt x="741688" y="706451"/>
                      <a:pt x="742662" y="707140"/>
                      <a:pt x="732924" y="710584"/>
                    </a:cubicBezTo>
                    <a:cubicBezTo>
                      <a:pt x="727731" y="710929"/>
                      <a:pt x="722862" y="706106"/>
                      <a:pt x="717993" y="702662"/>
                    </a:cubicBezTo>
                    <a:lnTo>
                      <a:pt x="710406" y="693921"/>
                    </a:lnTo>
                    <a:cubicBezTo>
                      <a:pt x="709310" y="692759"/>
                      <a:pt x="708418" y="692328"/>
                      <a:pt x="704036" y="689573"/>
                    </a:cubicBezTo>
                    <a:cubicBezTo>
                      <a:pt x="698031" y="691360"/>
                      <a:pt x="704360" y="689487"/>
                      <a:pt x="694623" y="694395"/>
                    </a:cubicBezTo>
                    <a:cubicBezTo>
                      <a:pt x="688131" y="697495"/>
                      <a:pt x="672550" y="706795"/>
                      <a:pt x="665085" y="707484"/>
                    </a:cubicBezTo>
                    <a:cubicBezTo>
                      <a:pt x="655347" y="705418"/>
                      <a:pt x="660540" y="707484"/>
                      <a:pt x="649504" y="699217"/>
                    </a:cubicBezTo>
                    <a:cubicBezTo>
                      <a:pt x="639442" y="696117"/>
                      <a:pt x="646583" y="697840"/>
                      <a:pt x="627757" y="696117"/>
                    </a:cubicBezTo>
                    <a:cubicBezTo>
                      <a:pt x="621914" y="691640"/>
                      <a:pt x="615747" y="690262"/>
                      <a:pt x="608931" y="687851"/>
                    </a:cubicBezTo>
                    <a:cubicBezTo>
                      <a:pt x="602439" y="683028"/>
                      <a:pt x="600816" y="675106"/>
                      <a:pt x="593350" y="673039"/>
                    </a:cubicBezTo>
                    <a:lnTo>
                      <a:pt x="590683" y="668637"/>
                    </a:lnTo>
                    <a:cubicBezTo>
                      <a:pt x="589496" y="666602"/>
                      <a:pt x="592052" y="669509"/>
                      <a:pt x="592052" y="657883"/>
                    </a:cubicBezTo>
                    <a:cubicBezTo>
                      <a:pt x="592052" y="646516"/>
                      <a:pt x="582963" y="633772"/>
                      <a:pt x="573226" y="629983"/>
                    </a:cubicBezTo>
                    <a:cubicBezTo>
                      <a:pt x="572252" y="628260"/>
                      <a:pt x="571927" y="625505"/>
                      <a:pt x="569980" y="624816"/>
                    </a:cubicBezTo>
                    <a:cubicBezTo>
                      <a:pt x="566085" y="623094"/>
                      <a:pt x="561216" y="630672"/>
                      <a:pt x="557645" y="628260"/>
                    </a:cubicBezTo>
                    <a:cubicBezTo>
                      <a:pt x="555049" y="626538"/>
                      <a:pt x="561865" y="617583"/>
                      <a:pt x="565436" y="615171"/>
                    </a:cubicBezTo>
                    <a:cubicBezTo>
                      <a:pt x="564137" y="606905"/>
                      <a:pt x="561865" y="602771"/>
                      <a:pt x="559268" y="595193"/>
                    </a:cubicBezTo>
                    <a:cubicBezTo>
                      <a:pt x="558295" y="596915"/>
                      <a:pt x="557321" y="598638"/>
                      <a:pt x="556022" y="600015"/>
                    </a:cubicBezTo>
                    <a:cubicBezTo>
                      <a:pt x="554724" y="601049"/>
                      <a:pt x="552452" y="600360"/>
                      <a:pt x="551478" y="601738"/>
                    </a:cubicBezTo>
                    <a:cubicBezTo>
                      <a:pt x="544013" y="610005"/>
                      <a:pt x="556347" y="604838"/>
                      <a:pt x="545311" y="608282"/>
                    </a:cubicBezTo>
                    <a:lnTo>
                      <a:pt x="543688" y="616549"/>
                    </a:lnTo>
                    <a:lnTo>
                      <a:pt x="532693" y="617927"/>
                    </a:lnTo>
                    <a:cubicBezTo>
                      <a:pt x="530948" y="616377"/>
                      <a:pt x="530542" y="613277"/>
                      <a:pt x="529731" y="610005"/>
                    </a:cubicBezTo>
                    <a:cubicBezTo>
                      <a:pt x="534275" y="608282"/>
                      <a:pt x="541091" y="611382"/>
                      <a:pt x="543688" y="606905"/>
                    </a:cubicBezTo>
                    <a:cubicBezTo>
                      <a:pt x="546934" y="603804"/>
                      <a:pt x="543039" y="599327"/>
                      <a:pt x="545636" y="591749"/>
                    </a:cubicBezTo>
                    <a:cubicBezTo>
                      <a:pt x="547259" y="586582"/>
                      <a:pt x="552127" y="581071"/>
                      <a:pt x="554400" y="576248"/>
                    </a:cubicBezTo>
                    <a:lnTo>
                      <a:pt x="559268" y="562126"/>
                    </a:lnTo>
                    <a:lnTo>
                      <a:pt x="556469" y="552352"/>
                    </a:lnTo>
                    <a:cubicBezTo>
                      <a:pt x="555860" y="551706"/>
                      <a:pt x="554887" y="553515"/>
                      <a:pt x="551478" y="557304"/>
                    </a:cubicBezTo>
                    <a:lnTo>
                      <a:pt x="548800" y="566044"/>
                    </a:lnTo>
                    <a:cubicBezTo>
                      <a:pt x="548232" y="567206"/>
                      <a:pt x="547259" y="567637"/>
                      <a:pt x="543688" y="570393"/>
                    </a:cubicBezTo>
                    <a:cubicBezTo>
                      <a:pt x="541091" y="577626"/>
                      <a:pt x="538495" y="576937"/>
                      <a:pt x="532652" y="580382"/>
                    </a:cubicBezTo>
                    <a:cubicBezTo>
                      <a:pt x="529406" y="582448"/>
                      <a:pt x="523239" y="586926"/>
                      <a:pt x="523239" y="586926"/>
                    </a:cubicBezTo>
                    <a:cubicBezTo>
                      <a:pt x="516422" y="597604"/>
                      <a:pt x="518045" y="596915"/>
                      <a:pt x="507659" y="600015"/>
                    </a:cubicBezTo>
                    <a:cubicBezTo>
                      <a:pt x="503114" y="608282"/>
                      <a:pt x="500193" y="608627"/>
                      <a:pt x="493701" y="601738"/>
                    </a:cubicBezTo>
                    <a:cubicBezTo>
                      <a:pt x="490780" y="587615"/>
                      <a:pt x="490780" y="572115"/>
                      <a:pt x="476498" y="566948"/>
                    </a:cubicBezTo>
                    <a:cubicBezTo>
                      <a:pt x="471304" y="561437"/>
                      <a:pt x="468059" y="559715"/>
                      <a:pt x="470331" y="552137"/>
                    </a:cubicBezTo>
                    <a:cubicBezTo>
                      <a:pt x="466760" y="541803"/>
                      <a:pt x="470655" y="548348"/>
                      <a:pt x="453127" y="545592"/>
                    </a:cubicBezTo>
                    <a:cubicBezTo>
                      <a:pt x="447934" y="543870"/>
                      <a:pt x="445013" y="538703"/>
                      <a:pt x="439819" y="537325"/>
                    </a:cubicBezTo>
                    <a:cubicBezTo>
                      <a:pt x="434626" y="535948"/>
                      <a:pt x="426836" y="539392"/>
                      <a:pt x="421967" y="537325"/>
                    </a:cubicBezTo>
                    <a:cubicBezTo>
                      <a:pt x="419045" y="532503"/>
                      <a:pt x="409632" y="525614"/>
                      <a:pt x="409632" y="525614"/>
                    </a:cubicBezTo>
                    <a:cubicBezTo>
                      <a:pt x="390482" y="526303"/>
                      <a:pt x="369708" y="521136"/>
                      <a:pt x="351855" y="529059"/>
                    </a:cubicBezTo>
                    <a:cubicBezTo>
                      <a:pt x="348609" y="530436"/>
                      <a:pt x="346337" y="534225"/>
                      <a:pt x="342767" y="535603"/>
                    </a:cubicBezTo>
                    <a:cubicBezTo>
                      <a:pt x="339521" y="536636"/>
                      <a:pt x="336600" y="538014"/>
                      <a:pt x="333354" y="539048"/>
                    </a:cubicBezTo>
                    <a:cubicBezTo>
                      <a:pt x="320046" y="543870"/>
                      <a:pt x="291157" y="545592"/>
                      <a:pt x="291157" y="545592"/>
                    </a:cubicBezTo>
                    <a:cubicBezTo>
                      <a:pt x="283367" y="548348"/>
                      <a:pt x="273954" y="550415"/>
                      <a:pt x="267462" y="555926"/>
                    </a:cubicBezTo>
                    <a:cubicBezTo>
                      <a:pt x="259347" y="560059"/>
                      <a:pt x="249934" y="558337"/>
                      <a:pt x="243767" y="563159"/>
                    </a:cubicBezTo>
                    <a:cubicBezTo>
                      <a:pt x="242469" y="565226"/>
                      <a:pt x="234029" y="583137"/>
                      <a:pt x="230459" y="585204"/>
                    </a:cubicBezTo>
                    <a:cubicBezTo>
                      <a:pt x="214878" y="588993"/>
                      <a:pt x="167813" y="583137"/>
                      <a:pt x="149311" y="585204"/>
                    </a:cubicBezTo>
                    <a:cubicBezTo>
                      <a:pt x="132757" y="585893"/>
                      <a:pt x="136003" y="596227"/>
                      <a:pt x="131134" y="598293"/>
                    </a:cubicBezTo>
                    <a:cubicBezTo>
                      <a:pt x="126265" y="600360"/>
                      <a:pt x="124967" y="596227"/>
                      <a:pt x="119773" y="598638"/>
                    </a:cubicBezTo>
                    <a:cubicBezTo>
                      <a:pt x="114255" y="599671"/>
                      <a:pt x="109062" y="611038"/>
                      <a:pt x="99649" y="613449"/>
                    </a:cubicBezTo>
                    <a:cubicBezTo>
                      <a:pt x="90236" y="615860"/>
                      <a:pt x="72059" y="614827"/>
                      <a:pt x="63619" y="613449"/>
                    </a:cubicBezTo>
                    <a:cubicBezTo>
                      <a:pt x="53233" y="605871"/>
                      <a:pt x="58101" y="608282"/>
                      <a:pt x="49662" y="605182"/>
                    </a:cubicBezTo>
                    <a:cubicBezTo>
                      <a:pt x="45442" y="597604"/>
                      <a:pt x="42521" y="596915"/>
                      <a:pt x="34082" y="595193"/>
                    </a:cubicBezTo>
                    <a:cubicBezTo>
                      <a:pt x="33108" y="592093"/>
                      <a:pt x="28564" y="583482"/>
                      <a:pt x="32459" y="580382"/>
                    </a:cubicBezTo>
                    <a:cubicBezTo>
                      <a:pt x="36678" y="577282"/>
                      <a:pt x="42196" y="576593"/>
                      <a:pt x="46741" y="573837"/>
                    </a:cubicBezTo>
                    <a:lnTo>
                      <a:pt x="51285" y="563848"/>
                    </a:lnTo>
                    <a:cubicBezTo>
                      <a:pt x="50960" y="560404"/>
                      <a:pt x="48039" y="553859"/>
                      <a:pt x="48039" y="553859"/>
                    </a:cubicBezTo>
                    <a:cubicBezTo>
                      <a:pt x="50960" y="545592"/>
                      <a:pt x="52583" y="537325"/>
                      <a:pt x="49662" y="529059"/>
                    </a:cubicBezTo>
                    <a:cubicBezTo>
                      <a:pt x="47390" y="522514"/>
                      <a:pt x="45118" y="519069"/>
                      <a:pt x="40249" y="514247"/>
                    </a:cubicBezTo>
                    <a:cubicBezTo>
                      <a:pt x="39275" y="510803"/>
                      <a:pt x="36678" y="507703"/>
                      <a:pt x="35705" y="504258"/>
                    </a:cubicBezTo>
                    <a:cubicBezTo>
                      <a:pt x="32783" y="491169"/>
                      <a:pt x="35055" y="477391"/>
                      <a:pt x="31160" y="464646"/>
                    </a:cubicBezTo>
                    <a:cubicBezTo>
                      <a:pt x="28888" y="456724"/>
                      <a:pt x="22721" y="452246"/>
                      <a:pt x="20124" y="444668"/>
                    </a:cubicBezTo>
                    <a:cubicBezTo>
                      <a:pt x="17852" y="437435"/>
                      <a:pt x="16554" y="431234"/>
                      <a:pt x="12334" y="425034"/>
                    </a:cubicBezTo>
                    <a:lnTo>
                      <a:pt x="3037" y="402446"/>
                    </a:lnTo>
                    <a:cubicBezTo>
                      <a:pt x="4102" y="404212"/>
                      <a:pt x="6140" y="403876"/>
                      <a:pt x="9088" y="398512"/>
                    </a:cubicBezTo>
                    <a:cubicBezTo>
                      <a:pt x="10711" y="395756"/>
                      <a:pt x="8115" y="391967"/>
                      <a:pt x="7790" y="388522"/>
                    </a:cubicBezTo>
                    <a:cubicBezTo>
                      <a:pt x="11584" y="383571"/>
                      <a:pt x="12497" y="393000"/>
                      <a:pt x="13957" y="395067"/>
                    </a:cubicBezTo>
                    <a:cubicBezTo>
                      <a:pt x="14931" y="396445"/>
                      <a:pt x="16878" y="396100"/>
                      <a:pt x="18501" y="396789"/>
                    </a:cubicBezTo>
                    <a:cubicBezTo>
                      <a:pt x="28888" y="393000"/>
                      <a:pt x="23370" y="382667"/>
                      <a:pt x="18501" y="375433"/>
                    </a:cubicBezTo>
                    <a:cubicBezTo>
                      <a:pt x="16229" y="368544"/>
                      <a:pt x="13308" y="369233"/>
                      <a:pt x="7790" y="365444"/>
                    </a:cubicBezTo>
                    <a:cubicBezTo>
                      <a:pt x="7141" y="363722"/>
                      <a:pt x="6492" y="362000"/>
                      <a:pt x="6167" y="360277"/>
                    </a:cubicBezTo>
                    <a:cubicBezTo>
                      <a:pt x="5518" y="358211"/>
                      <a:pt x="5193" y="355800"/>
                      <a:pt x="4544" y="353733"/>
                    </a:cubicBezTo>
                    <a:cubicBezTo>
                      <a:pt x="3570" y="350288"/>
                      <a:pt x="1298" y="343744"/>
                      <a:pt x="1298" y="343744"/>
                    </a:cubicBezTo>
                    <a:cubicBezTo>
                      <a:pt x="2596" y="333066"/>
                      <a:pt x="5842" y="329277"/>
                      <a:pt x="11036" y="321010"/>
                    </a:cubicBezTo>
                    <a:cubicBezTo>
                      <a:pt x="13957" y="309988"/>
                      <a:pt x="8764" y="285187"/>
                      <a:pt x="20124" y="281054"/>
                    </a:cubicBezTo>
                    <a:cubicBezTo>
                      <a:pt x="17528" y="289665"/>
                      <a:pt x="12334" y="297243"/>
                      <a:pt x="23370" y="301032"/>
                    </a:cubicBezTo>
                    <a:cubicBezTo>
                      <a:pt x="29537" y="290009"/>
                      <a:pt x="33757" y="284154"/>
                      <a:pt x="44469" y="276576"/>
                    </a:cubicBezTo>
                    <a:cubicBezTo>
                      <a:pt x="49662" y="271065"/>
                      <a:pt x="51285" y="270376"/>
                      <a:pt x="54531" y="267965"/>
                    </a:cubicBezTo>
                    <a:cubicBezTo>
                      <a:pt x="57777" y="265898"/>
                      <a:pt x="63619" y="261076"/>
                      <a:pt x="63619" y="261076"/>
                    </a:cubicBezTo>
                    <a:cubicBezTo>
                      <a:pt x="65892" y="254531"/>
                      <a:pt x="70436" y="255564"/>
                      <a:pt x="76603" y="253842"/>
                    </a:cubicBezTo>
                    <a:cubicBezTo>
                      <a:pt x="83744" y="248331"/>
                      <a:pt x="88288" y="248331"/>
                      <a:pt x="96403" y="251431"/>
                    </a:cubicBezTo>
                    <a:cubicBezTo>
                      <a:pt x="99973" y="250742"/>
                      <a:pt x="103869" y="250742"/>
                      <a:pt x="107439" y="249709"/>
                    </a:cubicBezTo>
                    <a:cubicBezTo>
                      <a:pt x="109062" y="249020"/>
                      <a:pt x="110685" y="247642"/>
                      <a:pt x="111983" y="246264"/>
                    </a:cubicBezTo>
                    <a:cubicBezTo>
                      <a:pt x="113282" y="244886"/>
                      <a:pt x="113606" y="242131"/>
                      <a:pt x="115229" y="241442"/>
                    </a:cubicBezTo>
                    <a:cubicBezTo>
                      <a:pt x="120098" y="239720"/>
                      <a:pt x="125616" y="240408"/>
                      <a:pt x="130810" y="239720"/>
                    </a:cubicBezTo>
                    <a:cubicBezTo>
                      <a:pt x="136003" y="238342"/>
                      <a:pt x="140223" y="236275"/>
                      <a:pt x="146714" y="235242"/>
                    </a:cubicBezTo>
                    <a:cubicBezTo>
                      <a:pt x="153206" y="234208"/>
                      <a:pt x="163269" y="235242"/>
                      <a:pt x="169760" y="233175"/>
                    </a:cubicBezTo>
                    <a:cubicBezTo>
                      <a:pt x="178849" y="230419"/>
                      <a:pt x="181121" y="226975"/>
                      <a:pt x="185341" y="223186"/>
                    </a:cubicBezTo>
                    <a:cubicBezTo>
                      <a:pt x="190534" y="219397"/>
                      <a:pt x="192482" y="216297"/>
                      <a:pt x="194754" y="210097"/>
                    </a:cubicBezTo>
                    <a:cubicBezTo>
                      <a:pt x="198324" y="206308"/>
                      <a:pt x="198973" y="198730"/>
                      <a:pt x="202219" y="195285"/>
                    </a:cubicBezTo>
                    <a:cubicBezTo>
                      <a:pt x="205465" y="191841"/>
                      <a:pt x="213580" y="194596"/>
                      <a:pt x="214878" y="190119"/>
                    </a:cubicBezTo>
                    <a:cubicBezTo>
                      <a:pt x="216501" y="186330"/>
                      <a:pt x="209360" y="172896"/>
                      <a:pt x="210659" y="167385"/>
                    </a:cubicBezTo>
                    <a:cubicBezTo>
                      <a:pt x="211957" y="161874"/>
                      <a:pt x="218773" y="158429"/>
                      <a:pt x="222669" y="157051"/>
                    </a:cubicBezTo>
                    <a:lnTo>
                      <a:pt x="228389" y="147751"/>
                    </a:lnTo>
                    <a:cubicBezTo>
                      <a:pt x="230378" y="148354"/>
                      <a:pt x="232406" y="152229"/>
                      <a:pt x="234354" y="158085"/>
                    </a:cubicBezTo>
                    <a:cubicBezTo>
                      <a:pt x="235977" y="162907"/>
                      <a:pt x="240521" y="170485"/>
                      <a:pt x="242144" y="175307"/>
                    </a:cubicBezTo>
                    <a:cubicBezTo>
                      <a:pt x="244741" y="177718"/>
                      <a:pt x="244741" y="173240"/>
                      <a:pt x="246039" y="171174"/>
                    </a:cubicBezTo>
                    <a:cubicBezTo>
                      <a:pt x="247337" y="169107"/>
                      <a:pt x="249934" y="167040"/>
                      <a:pt x="249285" y="163596"/>
                    </a:cubicBezTo>
                    <a:cubicBezTo>
                      <a:pt x="254478" y="154985"/>
                      <a:pt x="249609" y="154985"/>
                      <a:pt x="242793" y="150507"/>
                    </a:cubicBezTo>
                    <a:lnTo>
                      <a:pt x="244391" y="143935"/>
                    </a:lnTo>
                    <a:cubicBezTo>
                      <a:pt x="245471" y="141142"/>
                      <a:pt x="246688" y="147407"/>
                      <a:pt x="263242" y="142240"/>
                    </a:cubicBezTo>
                    <a:cubicBezTo>
                      <a:pt x="268111" y="140862"/>
                      <a:pt x="269409" y="127428"/>
                      <a:pt x="269409" y="127428"/>
                    </a:cubicBezTo>
                    <a:lnTo>
                      <a:pt x="266164" y="122262"/>
                    </a:lnTo>
                    <a:cubicBezTo>
                      <a:pt x="267787" y="119851"/>
                      <a:pt x="271357" y="121573"/>
                      <a:pt x="273954" y="120539"/>
                    </a:cubicBezTo>
                    <a:cubicBezTo>
                      <a:pt x="275577" y="119851"/>
                      <a:pt x="277200" y="118473"/>
                      <a:pt x="278823" y="117439"/>
                    </a:cubicBezTo>
                    <a:cubicBezTo>
                      <a:pt x="280121" y="116750"/>
                      <a:pt x="281744" y="116406"/>
                      <a:pt x="283367" y="115717"/>
                    </a:cubicBezTo>
                    <a:cubicBezTo>
                      <a:pt x="284665" y="111584"/>
                      <a:pt x="284341" y="106417"/>
                      <a:pt x="286613" y="102628"/>
                    </a:cubicBezTo>
                    <a:cubicBezTo>
                      <a:pt x="288560" y="99528"/>
                      <a:pt x="293105" y="99528"/>
                      <a:pt x="296026" y="97461"/>
                    </a:cubicBezTo>
                    <a:cubicBezTo>
                      <a:pt x="298298" y="88850"/>
                      <a:pt x="304465" y="88505"/>
                      <a:pt x="311606" y="86094"/>
                    </a:cubicBezTo>
                    <a:cubicBezTo>
                      <a:pt x="314528" y="85061"/>
                      <a:pt x="320695" y="82650"/>
                      <a:pt x="320695" y="82650"/>
                    </a:cubicBezTo>
                    <a:cubicBezTo>
                      <a:pt x="325564" y="75416"/>
                      <a:pt x="324265" y="79894"/>
                      <a:pt x="331406" y="82650"/>
                    </a:cubicBezTo>
                    <a:cubicBezTo>
                      <a:pt x="339196" y="94361"/>
                      <a:pt x="351531" y="101250"/>
                      <a:pt x="364514" y="105728"/>
                    </a:cubicBezTo>
                    <a:cubicBezTo>
                      <a:pt x="372305" y="109517"/>
                      <a:pt x="381068" y="108828"/>
                      <a:pt x="384314" y="106072"/>
                    </a:cubicBezTo>
                    <a:cubicBezTo>
                      <a:pt x="387236" y="104350"/>
                      <a:pt x="382042" y="97806"/>
                      <a:pt x="382042" y="95050"/>
                    </a:cubicBezTo>
                    <a:cubicBezTo>
                      <a:pt x="382042" y="92294"/>
                      <a:pt x="383341" y="90917"/>
                      <a:pt x="384639" y="89194"/>
                    </a:cubicBezTo>
                    <a:cubicBezTo>
                      <a:pt x="385937" y="85750"/>
                      <a:pt x="385937" y="87472"/>
                      <a:pt x="389183" y="84372"/>
                    </a:cubicBezTo>
                    <a:lnTo>
                      <a:pt x="393727" y="73350"/>
                    </a:lnTo>
                    <a:cubicBezTo>
                      <a:pt x="396000" y="71283"/>
                      <a:pt x="401518" y="73350"/>
                      <a:pt x="403465" y="70938"/>
                    </a:cubicBezTo>
                    <a:lnTo>
                      <a:pt x="398840" y="61035"/>
                    </a:lnTo>
                    <a:cubicBezTo>
                      <a:pt x="398272" y="59658"/>
                      <a:pt x="399732" y="59399"/>
                      <a:pt x="406386" y="57849"/>
                    </a:cubicBezTo>
                    <a:cubicBezTo>
                      <a:pt x="409632" y="52683"/>
                      <a:pt x="415800" y="44760"/>
                      <a:pt x="420668" y="43038"/>
                    </a:cubicBezTo>
                    <a:cubicBezTo>
                      <a:pt x="422941" y="39249"/>
                      <a:pt x="422616" y="37182"/>
                      <a:pt x="427809" y="37871"/>
                    </a:cubicBezTo>
                    <a:lnTo>
                      <a:pt x="435600" y="42005"/>
                    </a:lnTo>
                    <a:cubicBezTo>
                      <a:pt x="442416" y="41316"/>
                      <a:pt x="453777" y="41316"/>
                      <a:pt x="459619" y="37871"/>
                    </a:cubicBezTo>
                    <a:cubicBezTo>
                      <a:pt x="462216" y="36149"/>
                      <a:pt x="460268" y="30638"/>
                      <a:pt x="457996" y="28227"/>
                    </a:cubicBezTo>
                    <a:cubicBezTo>
                      <a:pt x="455724" y="25815"/>
                      <a:pt x="451829" y="27193"/>
                      <a:pt x="448583" y="26504"/>
                    </a:cubicBezTo>
                    <a:lnTo>
                      <a:pt x="441630" y="20170"/>
                    </a:lnTo>
                    <a:cubicBezTo>
                      <a:pt x="438784" y="15762"/>
                      <a:pt x="447122" y="16343"/>
                      <a:pt x="456373" y="14793"/>
                    </a:cubicBezTo>
                    <a:cubicBezTo>
                      <a:pt x="461242" y="15826"/>
                      <a:pt x="467085" y="14793"/>
                      <a:pt x="470331" y="18237"/>
                    </a:cubicBezTo>
                    <a:cubicBezTo>
                      <a:pt x="472786" y="24179"/>
                      <a:pt x="466517" y="21079"/>
                      <a:pt x="476498" y="26504"/>
                    </a:cubicBezTo>
                    <a:cubicBezTo>
                      <a:pt x="481691" y="28571"/>
                      <a:pt x="489482" y="35804"/>
                      <a:pt x="498895" y="36838"/>
                    </a:cubicBezTo>
                    <a:cubicBezTo>
                      <a:pt x="506360" y="38905"/>
                      <a:pt x="515124" y="40627"/>
                      <a:pt x="520642" y="39938"/>
                    </a:cubicBezTo>
                    <a:cubicBezTo>
                      <a:pt x="526160" y="39249"/>
                      <a:pt x="529082" y="33738"/>
                      <a:pt x="532652" y="33049"/>
                    </a:cubicBezTo>
                    <a:cubicBezTo>
                      <a:pt x="536223" y="31671"/>
                      <a:pt x="537845" y="35460"/>
                      <a:pt x="541741" y="35804"/>
                    </a:cubicBezTo>
                    <a:cubicBezTo>
                      <a:pt x="545636" y="36149"/>
                      <a:pt x="554075" y="32360"/>
                      <a:pt x="556022" y="34771"/>
                    </a:cubicBezTo>
                    <a:cubicBezTo>
                      <a:pt x="559918" y="37527"/>
                      <a:pt x="555049" y="44760"/>
                      <a:pt x="554400" y="49582"/>
                    </a:cubicBezTo>
                    <a:cubicBezTo>
                      <a:pt x="553101" y="57849"/>
                      <a:pt x="551478" y="64738"/>
                      <a:pt x="545311" y="69561"/>
                    </a:cubicBezTo>
                    <a:lnTo>
                      <a:pt x="546822" y="76428"/>
                    </a:lnTo>
                    <a:cubicBezTo>
                      <a:pt x="548253" y="80045"/>
                      <a:pt x="549774" y="76105"/>
                      <a:pt x="554400" y="84372"/>
                    </a:cubicBezTo>
                    <a:cubicBezTo>
                      <a:pt x="554075" y="87817"/>
                      <a:pt x="555373" y="91950"/>
                      <a:pt x="553101" y="94361"/>
                    </a:cubicBezTo>
                    <a:cubicBezTo>
                      <a:pt x="546609" y="101250"/>
                      <a:pt x="545960" y="88161"/>
                      <a:pt x="545311" y="87472"/>
                    </a:cubicBezTo>
                    <a:cubicBezTo>
                      <a:pt x="544013" y="85750"/>
                      <a:pt x="542065" y="85405"/>
                      <a:pt x="540442" y="84372"/>
                    </a:cubicBezTo>
                    <a:cubicBezTo>
                      <a:pt x="535898" y="89194"/>
                      <a:pt x="531354" y="90917"/>
                      <a:pt x="529731" y="97461"/>
                    </a:cubicBezTo>
                    <a:cubicBezTo>
                      <a:pt x="528108" y="100906"/>
                      <a:pt x="524213" y="103661"/>
                      <a:pt x="524537" y="106417"/>
                    </a:cubicBezTo>
                    <a:cubicBezTo>
                      <a:pt x="524862" y="109173"/>
                      <a:pt x="527459" y="110895"/>
                      <a:pt x="531029" y="113995"/>
                    </a:cubicBezTo>
                    <a:cubicBezTo>
                      <a:pt x="532652" y="120195"/>
                      <a:pt x="545311" y="125706"/>
                      <a:pt x="545311" y="125706"/>
                    </a:cubicBezTo>
                    <a:cubicBezTo>
                      <a:pt x="550829" y="130184"/>
                      <a:pt x="555049" y="132940"/>
                      <a:pt x="565436" y="137418"/>
                    </a:cubicBezTo>
                    <a:cubicBezTo>
                      <a:pt x="572901" y="142240"/>
                      <a:pt x="582963" y="150507"/>
                      <a:pt x="590429" y="153951"/>
                    </a:cubicBezTo>
                    <a:cubicBezTo>
                      <a:pt x="597895" y="157396"/>
                      <a:pt x="606983" y="156362"/>
                      <a:pt x="610554" y="158774"/>
                    </a:cubicBezTo>
                    <a:cubicBezTo>
                      <a:pt x="611852" y="159807"/>
                      <a:pt x="610878" y="166696"/>
                      <a:pt x="612177" y="168074"/>
                    </a:cubicBezTo>
                    <a:cubicBezTo>
                      <a:pt x="614449" y="170485"/>
                      <a:pt x="616721" y="167040"/>
                      <a:pt x="618344" y="170140"/>
                    </a:cubicBezTo>
                    <a:cubicBezTo>
                      <a:pt x="621265" y="175996"/>
                      <a:pt x="621265" y="174963"/>
                      <a:pt x="626134" y="178407"/>
                    </a:cubicBezTo>
                    <a:cubicBezTo>
                      <a:pt x="637170" y="177718"/>
                      <a:pt x="647557" y="181507"/>
                      <a:pt x="651127" y="170140"/>
                    </a:cubicBezTo>
                    <a:cubicBezTo>
                      <a:pt x="652426" y="160496"/>
                      <a:pt x="655347" y="150162"/>
                      <a:pt x="660865" y="142240"/>
                    </a:cubicBezTo>
                    <a:cubicBezTo>
                      <a:pt x="664111" y="128117"/>
                      <a:pt x="664760" y="137073"/>
                      <a:pt x="667357" y="113306"/>
                    </a:cubicBezTo>
                    <a:cubicBezTo>
                      <a:pt x="668006" y="107106"/>
                      <a:pt x="666708" y="100906"/>
                      <a:pt x="666708" y="100906"/>
                    </a:cubicBezTo>
                    <a:cubicBezTo>
                      <a:pt x="668980" y="68527"/>
                      <a:pt x="665734" y="85061"/>
                      <a:pt x="669954" y="70938"/>
                    </a:cubicBezTo>
                    <a:cubicBezTo>
                      <a:pt x="671252" y="66116"/>
                      <a:pt x="674498" y="56127"/>
                      <a:pt x="674498" y="56127"/>
                    </a:cubicBezTo>
                    <a:cubicBezTo>
                      <a:pt x="675147" y="48549"/>
                      <a:pt x="674822" y="40627"/>
                      <a:pt x="676121" y="33049"/>
                    </a:cubicBezTo>
                    <a:cubicBezTo>
                      <a:pt x="677095" y="27882"/>
                      <a:pt x="682288" y="18237"/>
                      <a:pt x="682288" y="18237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48" name="Freeform 339">
                <a:extLst>
                  <a:ext uri="{FF2B5EF4-FFF2-40B4-BE49-F238E27FC236}">
                    <a16:creationId xmlns:a16="http://schemas.microsoft.com/office/drawing/2014/main" id="{69482D7C-A038-4655-92E2-29FC8FE2B9F7}"/>
                  </a:ext>
                </a:extLst>
              </p:cNvPr>
              <p:cNvSpPr>
                <a:spLocks/>
              </p:cNvSpPr>
              <p:nvPr>
                <p:custDataLst>
                  <p:tags r:id="rId135"/>
                </p:custDataLst>
              </p:nvPr>
            </p:nvSpPr>
            <p:spPr bwMode="gray">
              <a:xfrm>
                <a:off x="7346413" y="3234572"/>
                <a:ext cx="341576" cy="433306"/>
              </a:xfrm>
              <a:custGeom>
                <a:avLst/>
                <a:gdLst/>
                <a:ahLst/>
                <a:cxnLst/>
                <a:rect l="l" t="t" r="r" b="b"/>
                <a:pathLst>
                  <a:path w="366140" h="446343">
                    <a:moveTo>
                      <a:pt x="278678" y="132903"/>
                    </a:moveTo>
                    <a:cubicBezTo>
                      <a:pt x="281307" y="132784"/>
                      <a:pt x="283589" y="133643"/>
                      <a:pt x="285177" y="135934"/>
                    </a:cubicBezTo>
                    <a:cubicBezTo>
                      <a:pt x="291527" y="145098"/>
                      <a:pt x="294702" y="187863"/>
                      <a:pt x="296289" y="203136"/>
                    </a:cubicBezTo>
                    <a:cubicBezTo>
                      <a:pt x="297877" y="218409"/>
                      <a:pt x="299464" y="215354"/>
                      <a:pt x="296289" y="224518"/>
                    </a:cubicBezTo>
                    <a:cubicBezTo>
                      <a:pt x="293114" y="233682"/>
                      <a:pt x="286764" y="242846"/>
                      <a:pt x="282002" y="256592"/>
                    </a:cubicBezTo>
                    <a:cubicBezTo>
                      <a:pt x="275652" y="270338"/>
                      <a:pt x="269302" y="299356"/>
                      <a:pt x="262952" y="310048"/>
                    </a:cubicBezTo>
                    <a:cubicBezTo>
                      <a:pt x="256602" y="320739"/>
                      <a:pt x="250252" y="316157"/>
                      <a:pt x="243902" y="320739"/>
                    </a:cubicBezTo>
                    <a:cubicBezTo>
                      <a:pt x="237552" y="325321"/>
                      <a:pt x="228027" y="332957"/>
                      <a:pt x="226439" y="337539"/>
                    </a:cubicBezTo>
                    <a:cubicBezTo>
                      <a:pt x="224852" y="342121"/>
                      <a:pt x="239139" y="352812"/>
                      <a:pt x="235964" y="352812"/>
                    </a:cubicBezTo>
                    <a:cubicBezTo>
                      <a:pt x="232789" y="352812"/>
                      <a:pt x="218502" y="337539"/>
                      <a:pt x="210564" y="334485"/>
                    </a:cubicBezTo>
                    <a:cubicBezTo>
                      <a:pt x="202627" y="331430"/>
                      <a:pt x="189927" y="331430"/>
                      <a:pt x="183577" y="332957"/>
                    </a:cubicBezTo>
                    <a:cubicBezTo>
                      <a:pt x="177227" y="334485"/>
                      <a:pt x="172464" y="340594"/>
                      <a:pt x="167702" y="346703"/>
                    </a:cubicBezTo>
                    <a:cubicBezTo>
                      <a:pt x="162939" y="352812"/>
                      <a:pt x="161352" y="363504"/>
                      <a:pt x="155002" y="366558"/>
                    </a:cubicBezTo>
                    <a:cubicBezTo>
                      <a:pt x="148652" y="369613"/>
                      <a:pt x="137539" y="369613"/>
                      <a:pt x="129602" y="369613"/>
                    </a:cubicBezTo>
                    <a:cubicBezTo>
                      <a:pt x="121664" y="369613"/>
                      <a:pt x="113727" y="363504"/>
                      <a:pt x="105789" y="365031"/>
                    </a:cubicBezTo>
                    <a:cubicBezTo>
                      <a:pt x="97852" y="366558"/>
                      <a:pt x="93089" y="374195"/>
                      <a:pt x="85152" y="380304"/>
                    </a:cubicBezTo>
                    <a:cubicBezTo>
                      <a:pt x="77214" y="386413"/>
                      <a:pt x="62927" y="392523"/>
                      <a:pt x="56577" y="401686"/>
                    </a:cubicBezTo>
                    <a:cubicBezTo>
                      <a:pt x="50227" y="412378"/>
                      <a:pt x="50227" y="442924"/>
                      <a:pt x="42289" y="445979"/>
                    </a:cubicBezTo>
                    <a:cubicBezTo>
                      <a:pt x="34352" y="449033"/>
                      <a:pt x="10539" y="432233"/>
                      <a:pt x="4189" y="420014"/>
                    </a:cubicBezTo>
                    <a:cubicBezTo>
                      <a:pt x="-2161" y="407796"/>
                      <a:pt x="-573" y="386413"/>
                      <a:pt x="4189" y="374195"/>
                    </a:cubicBezTo>
                    <a:cubicBezTo>
                      <a:pt x="8952" y="361976"/>
                      <a:pt x="23239" y="351285"/>
                      <a:pt x="32764" y="343649"/>
                    </a:cubicBezTo>
                    <a:cubicBezTo>
                      <a:pt x="42289" y="336012"/>
                      <a:pt x="53402" y="337539"/>
                      <a:pt x="61339" y="332957"/>
                    </a:cubicBezTo>
                    <a:cubicBezTo>
                      <a:pt x="69277" y="328375"/>
                      <a:pt x="70864" y="314630"/>
                      <a:pt x="85152" y="311575"/>
                    </a:cubicBezTo>
                    <a:cubicBezTo>
                      <a:pt x="97852" y="308520"/>
                      <a:pt x="135952" y="314630"/>
                      <a:pt x="150239" y="310048"/>
                    </a:cubicBezTo>
                    <a:cubicBezTo>
                      <a:pt x="164527" y="305466"/>
                      <a:pt x="170877" y="294775"/>
                      <a:pt x="174052" y="288665"/>
                    </a:cubicBezTo>
                    <a:cubicBezTo>
                      <a:pt x="177227" y="281029"/>
                      <a:pt x="167702" y="264228"/>
                      <a:pt x="174052" y="261174"/>
                    </a:cubicBezTo>
                    <a:cubicBezTo>
                      <a:pt x="180402" y="258119"/>
                      <a:pt x="199452" y="270338"/>
                      <a:pt x="207389" y="267283"/>
                    </a:cubicBezTo>
                    <a:cubicBezTo>
                      <a:pt x="215327" y="264228"/>
                      <a:pt x="213739" y="244373"/>
                      <a:pt x="220089" y="238264"/>
                    </a:cubicBezTo>
                    <a:cubicBezTo>
                      <a:pt x="226439" y="232155"/>
                      <a:pt x="240727" y="242846"/>
                      <a:pt x="245489" y="233682"/>
                    </a:cubicBezTo>
                    <a:cubicBezTo>
                      <a:pt x="250252" y="224518"/>
                      <a:pt x="247077" y="198554"/>
                      <a:pt x="248664" y="184808"/>
                    </a:cubicBezTo>
                    <a:cubicBezTo>
                      <a:pt x="250252" y="172590"/>
                      <a:pt x="248664" y="155789"/>
                      <a:pt x="255014" y="148153"/>
                    </a:cubicBezTo>
                    <a:cubicBezTo>
                      <a:pt x="259777" y="142425"/>
                      <a:pt x="270790" y="133261"/>
                      <a:pt x="278678" y="132903"/>
                    </a:cubicBezTo>
                    <a:close/>
                    <a:moveTo>
                      <a:pt x="266560" y="2495"/>
                    </a:moveTo>
                    <a:lnTo>
                      <a:pt x="264539" y="2723"/>
                    </a:lnTo>
                    <a:cubicBezTo>
                      <a:pt x="263055" y="2723"/>
                      <a:pt x="264193" y="2574"/>
                      <a:pt x="266560" y="2495"/>
                    </a:cubicBezTo>
                    <a:close/>
                    <a:moveTo>
                      <a:pt x="285177" y="425"/>
                    </a:moveTo>
                    <a:cubicBezTo>
                      <a:pt x="294702" y="-341"/>
                      <a:pt x="305021" y="-341"/>
                      <a:pt x="310577" y="2723"/>
                    </a:cubicBezTo>
                    <a:cubicBezTo>
                      <a:pt x="321690" y="8852"/>
                      <a:pt x="324865" y="34898"/>
                      <a:pt x="334390" y="41027"/>
                    </a:cubicBezTo>
                    <a:cubicBezTo>
                      <a:pt x="343915" y="47155"/>
                      <a:pt x="361377" y="33366"/>
                      <a:pt x="366140" y="36430"/>
                    </a:cubicBezTo>
                    <a:cubicBezTo>
                      <a:pt x="370902" y="39494"/>
                      <a:pt x="370902" y="53284"/>
                      <a:pt x="366140" y="60944"/>
                    </a:cubicBezTo>
                    <a:cubicBezTo>
                      <a:pt x="361377" y="68605"/>
                      <a:pt x="347090" y="77798"/>
                      <a:pt x="339152" y="83926"/>
                    </a:cubicBezTo>
                    <a:cubicBezTo>
                      <a:pt x="331215" y="90055"/>
                      <a:pt x="329627" y="97715"/>
                      <a:pt x="320102" y="97715"/>
                    </a:cubicBezTo>
                    <a:cubicBezTo>
                      <a:pt x="310577" y="97715"/>
                      <a:pt x="283589" y="85458"/>
                      <a:pt x="277239" y="88523"/>
                    </a:cubicBezTo>
                    <a:cubicBezTo>
                      <a:pt x="272477" y="91587"/>
                      <a:pt x="285177" y="106908"/>
                      <a:pt x="280414" y="113037"/>
                    </a:cubicBezTo>
                    <a:cubicBezTo>
                      <a:pt x="275652" y="119165"/>
                      <a:pt x="258189" y="128358"/>
                      <a:pt x="250252" y="125294"/>
                    </a:cubicBezTo>
                    <a:cubicBezTo>
                      <a:pt x="242314" y="122229"/>
                      <a:pt x="232789" y="105376"/>
                      <a:pt x="234377" y="94651"/>
                    </a:cubicBezTo>
                    <a:cubicBezTo>
                      <a:pt x="235964" y="83926"/>
                      <a:pt x="255014" y="74733"/>
                      <a:pt x="262952" y="62476"/>
                    </a:cubicBezTo>
                    <a:cubicBezTo>
                      <a:pt x="270889" y="50219"/>
                      <a:pt x="278827" y="31834"/>
                      <a:pt x="282002" y="22641"/>
                    </a:cubicBezTo>
                    <a:cubicBezTo>
                      <a:pt x="285177" y="13448"/>
                      <a:pt x="288352" y="7320"/>
                      <a:pt x="285177" y="4256"/>
                    </a:cubicBezTo>
                    <a:cubicBezTo>
                      <a:pt x="282992" y="2147"/>
                      <a:pt x="271782" y="2215"/>
                      <a:pt x="266560" y="2495"/>
                    </a:cubicBezTo>
                    <a:cubicBezTo>
                      <a:pt x="270296" y="2164"/>
                      <a:pt x="277477" y="1044"/>
                      <a:pt x="285177" y="42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49" name="Freeform 404">
                <a:extLst>
                  <a:ext uri="{FF2B5EF4-FFF2-40B4-BE49-F238E27FC236}">
                    <a16:creationId xmlns:a16="http://schemas.microsoft.com/office/drawing/2014/main" id="{4F7B6A13-D1BF-409E-9E72-63B76B864241}"/>
                  </a:ext>
                </a:extLst>
              </p:cNvPr>
              <p:cNvSpPr>
                <a:spLocks/>
              </p:cNvSpPr>
              <p:nvPr>
                <p:custDataLst>
                  <p:tags r:id="rId136"/>
                </p:custDataLst>
              </p:nvPr>
            </p:nvSpPr>
            <p:spPr bwMode="gray">
              <a:xfrm>
                <a:off x="2814028" y="4140535"/>
                <a:ext cx="302123" cy="246581"/>
              </a:xfrm>
              <a:custGeom>
                <a:avLst/>
                <a:gdLst>
                  <a:gd name="T0" fmla="*/ 18 w 200"/>
                  <a:gd name="T1" fmla="*/ 4 h 160"/>
                  <a:gd name="T2" fmla="*/ 16 w 200"/>
                  <a:gd name="T3" fmla="*/ 25 h 160"/>
                  <a:gd name="T4" fmla="*/ 30 w 200"/>
                  <a:gd name="T5" fmla="*/ 36 h 160"/>
                  <a:gd name="T6" fmla="*/ 31 w 200"/>
                  <a:gd name="T7" fmla="*/ 13 h 160"/>
                  <a:gd name="T8" fmla="*/ 51 w 200"/>
                  <a:gd name="T9" fmla="*/ 9 h 160"/>
                  <a:gd name="T10" fmla="*/ 69 w 200"/>
                  <a:gd name="T11" fmla="*/ 3 h 160"/>
                  <a:gd name="T12" fmla="*/ 93 w 200"/>
                  <a:gd name="T13" fmla="*/ 16 h 160"/>
                  <a:gd name="T14" fmla="*/ 117 w 200"/>
                  <a:gd name="T15" fmla="*/ 21 h 160"/>
                  <a:gd name="T16" fmla="*/ 133 w 200"/>
                  <a:gd name="T17" fmla="*/ 12 h 160"/>
                  <a:gd name="T18" fmla="*/ 154 w 200"/>
                  <a:gd name="T19" fmla="*/ 18 h 160"/>
                  <a:gd name="T20" fmla="*/ 174 w 200"/>
                  <a:gd name="T21" fmla="*/ 27 h 160"/>
                  <a:gd name="T22" fmla="*/ 186 w 200"/>
                  <a:gd name="T23" fmla="*/ 37 h 160"/>
                  <a:gd name="T24" fmla="*/ 189 w 200"/>
                  <a:gd name="T25" fmla="*/ 57 h 160"/>
                  <a:gd name="T26" fmla="*/ 181 w 200"/>
                  <a:gd name="T27" fmla="*/ 72 h 160"/>
                  <a:gd name="T28" fmla="*/ 178 w 200"/>
                  <a:gd name="T29" fmla="*/ 87 h 160"/>
                  <a:gd name="T30" fmla="*/ 175 w 200"/>
                  <a:gd name="T31" fmla="*/ 100 h 160"/>
                  <a:gd name="T32" fmla="*/ 162 w 200"/>
                  <a:gd name="T33" fmla="*/ 115 h 160"/>
                  <a:gd name="T34" fmla="*/ 135 w 200"/>
                  <a:gd name="T35" fmla="*/ 120 h 160"/>
                  <a:gd name="T36" fmla="*/ 135 w 200"/>
                  <a:gd name="T37" fmla="*/ 135 h 160"/>
                  <a:gd name="T38" fmla="*/ 129 w 200"/>
                  <a:gd name="T39" fmla="*/ 151 h 160"/>
                  <a:gd name="T40" fmla="*/ 124 w 200"/>
                  <a:gd name="T41" fmla="*/ 157 h 160"/>
                  <a:gd name="T42" fmla="*/ 106 w 200"/>
                  <a:gd name="T43" fmla="*/ 159 h 160"/>
                  <a:gd name="T44" fmla="*/ 82 w 200"/>
                  <a:gd name="T45" fmla="*/ 148 h 160"/>
                  <a:gd name="T46" fmla="*/ 84 w 200"/>
                  <a:gd name="T47" fmla="*/ 136 h 160"/>
                  <a:gd name="T48" fmla="*/ 82 w 200"/>
                  <a:gd name="T49" fmla="*/ 87 h 160"/>
                  <a:gd name="T50" fmla="*/ 61 w 200"/>
                  <a:gd name="T51" fmla="*/ 82 h 160"/>
                  <a:gd name="T52" fmla="*/ 43 w 200"/>
                  <a:gd name="T53" fmla="*/ 73 h 160"/>
                  <a:gd name="T54" fmla="*/ 30 w 200"/>
                  <a:gd name="T55" fmla="*/ 63 h 160"/>
                  <a:gd name="T56" fmla="*/ 18 w 200"/>
                  <a:gd name="T57" fmla="*/ 57 h 160"/>
                  <a:gd name="T58" fmla="*/ 6 w 200"/>
                  <a:gd name="T59" fmla="*/ 37 h 160"/>
                  <a:gd name="T60" fmla="*/ 0 w 200"/>
                  <a:gd name="T61" fmla="*/ 22 h 160"/>
                  <a:gd name="T62" fmla="*/ 15 w 200"/>
                  <a:gd name="T63" fmla="*/ 6 h 160"/>
                  <a:gd name="T64" fmla="*/ 24 w 200"/>
                  <a:gd name="T65" fmla="*/ 13 h 1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200" h="160">
                    <a:moveTo>
                      <a:pt x="18" y="4"/>
                    </a:moveTo>
                    <a:cubicBezTo>
                      <a:pt x="23" y="12"/>
                      <a:pt x="31" y="23"/>
                      <a:pt x="16" y="25"/>
                    </a:cubicBezTo>
                    <a:cubicBezTo>
                      <a:pt x="13" y="39"/>
                      <a:pt x="15" y="37"/>
                      <a:pt x="30" y="36"/>
                    </a:cubicBezTo>
                    <a:cubicBezTo>
                      <a:pt x="30" y="28"/>
                      <a:pt x="27" y="20"/>
                      <a:pt x="31" y="13"/>
                    </a:cubicBezTo>
                    <a:cubicBezTo>
                      <a:pt x="35" y="7"/>
                      <a:pt x="51" y="9"/>
                      <a:pt x="51" y="9"/>
                    </a:cubicBezTo>
                    <a:cubicBezTo>
                      <a:pt x="59" y="3"/>
                      <a:pt x="57" y="0"/>
                      <a:pt x="69" y="3"/>
                    </a:cubicBezTo>
                    <a:cubicBezTo>
                      <a:pt x="71" y="22"/>
                      <a:pt x="73" y="18"/>
                      <a:pt x="93" y="16"/>
                    </a:cubicBezTo>
                    <a:cubicBezTo>
                      <a:pt x="111" y="20"/>
                      <a:pt x="103" y="18"/>
                      <a:pt x="117" y="21"/>
                    </a:cubicBezTo>
                    <a:cubicBezTo>
                      <a:pt x="127" y="19"/>
                      <a:pt x="126" y="17"/>
                      <a:pt x="133" y="12"/>
                    </a:cubicBezTo>
                    <a:cubicBezTo>
                      <a:pt x="143" y="13"/>
                      <a:pt x="147" y="12"/>
                      <a:pt x="154" y="18"/>
                    </a:cubicBezTo>
                    <a:cubicBezTo>
                      <a:pt x="158" y="26"/>
                      <a:pt x="166" y="25"/>
                      <a:pt x="174" y="27"/>
                    </a:cubicBezTo>
                    <a:cubicBezTo>
                      <a:pt x="175" y="35"/>
                      <a:pt x="178" y="36"/>
                      <a:pt x="186" y="37"/>
                    </a:cubicBezTo>
                    <a:cubicBezTo>
                      <a:pt x="196" y="42"/>
                      <a:pt x="200" y="55"/>
                      <a:pt x="189" y="57"/>
                    </a:cubicBezTo>
                    <a:cubicBezTo>
                      <a:pt x="188" y="75"/>
                      <a:pt x="189" y="62"/>
                      <a:pt x="181" y="72"/>
                    </a:cubicBezTo>
                    <a:cubicBezTo>
                      <a:pt x="179" y="77"/>
                      <a:pt x="179" y="82"/>
                      <a:pt x="178" y="87"/>
                    </a:cubicBezTo>
                    <a:cubicBezTo>
                      <a:pt x="177" y="92"/>
                      <a:pt x="178" y="95"/>
                      <a:pt x="175" y="100"/>
                    </a:cubicBezTo>
                    <a:cubicBezTo>
                      <a:pt x="172" y="105"/>
                      <a:pt x="169" y="112"/>
                      <a:pt x="162" y="115"/>
                    </a:cubicBezTo>
                    <a:cubicBezTo>
                      <a:pt x="152" y="115"/>
                      <a:pt x="146" y="116"/>
                      <a:pt x="135" y="120"/>
                    </a:cubicBezTo>
                    <a:cubicBezTo>
                      <a:pt x="136" y="126"/>
                      <a:pt x="132" y="129"/>
                      <a:pt x="135" y="135"/>
                    </a:cubicBezTo>
                    <a:cubicBezTo>
                      <a:pt x="134" y="140"/>
                      <a:pt x="131" y="148"/>
                      <a:pt x="129" y="151"/>
                    </a:cubicBezTo>
                    <a:cubicBezTo>
                      <a:pt x="127" y="154"/>
                      <a:pt x="128" y="156"/>
                      <a:pt x="124" y="157"/>
                    </a:cubicBezTo>
                    <a:cubicBezTo>
                      <a:pt x="120" y="158"/>
                      <a:pt x="113" y="160"/>
                      <a:pt x="106" y="159"/>
                    </a:cubicBezTo>
                    <a:cubicBezTo>
                      <a:pt x="99" y="158"/>
                      <a:pt x="86" y="152"/>
                      <a:pt x="82" y="148"/>
                    </a:cubicBezTo>
                    <a:cubicBezTo>
                      <a:pt x="78" y="144"/>
                      <a:pt x="84" y="146"/>
                      <a:pt x="84" y="136"/>
                    </a:cubicBezTo>
                    <a:cubicBezTo>
                      <a:pt x="81" y="125"/>
                      <a:pt x="86" y="96"/>
                      <a:pt x="82" y="87"/>
                    </a:cubicBezTo>
                    <a:cubicBezTo>
                      <a:pt x="78" y="78"/>
                      <a:pt x="67" y="84"/>
                      <a:pt x="61" y="82"/>
                    </a:cubicBezTo>
                    <a:cubicBezTo>
                      <a:pt x="55" y="78"/>
                      <a:pt x="49" y="77"/>
                      <a:pt x="43" y="73"/>
                    </a:cubicBezTo>
                    <a:cubicBezTo>
                      <a:pt x="37" y="69"/>
                      <a:pt x="37" y="64"/>
                      <a:pt x="30" y="63"/>
                    </a:cubicBezTo>
                    <a:cubicBezTo>
                      <a:pt x="23" y="60"/>
                      <a:pt x="25" y="61"/>
                      <a:pt x="18" y="57"/>
                    </a:cubicBezTo>
                    <a:cubicBezTo>
                      <a:pt x="15" y="52"/>
                      <a:pt x="11" y="40"/>
                      <a:pt x="6" y="37"/>
                    </a:cubicBezTo>
                    <a:cubicBezTo>
                      <a:pt x="3" y="32"/>
                      <a:pt x="1" y="28"/>
                      <a:pt x="0" y="22"/>
                    </a:cubicBezTo>
                    <a:cubicBezTo>
                      <a:pt x="2" y="13"/>
                      <a:pt x="6" y="8"/>
                      <a:pt x="15" y="6"/>
                    </a:cubicBezTo>
                    <a:cubicBezTo>
                      <a:pt x="16" y="16"/>
                      <a:pt x="14" y="13"/>
                      <a:pt x="24" y="13"/>
                    </a:cubicBez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50" name="Freeform 405">
                <a:extLst>
                  <a:ext uri="{FF2B5EF4-FFF2-40B4-BE49-F238E27FC236}">
                    <a16:creationId xmlns:a16="http://schemas.microsoft.com/office/drawing/2014/main" id="{9EABEF21-9462-4EB3-B64D-2F1F32F19B0E}"/>
                  </a:ext>
                </a:extLst>
              </p:cNvPr>
              <p:cNvSpPr>
                <a:spLocks/>
              </p:cNvSpPr>
              <p:nvPr>
                <p:custDataLst>
                  <p:tags r:id="rId137"/>
                </p:custDataLst>
              </p:nvPr>
            </p:nvSpPr>
            <p:spPr bwMode="gray">
              <a:xfrm>
                <a:off x="3212416" y="4257661"/>
                <a:ext cx="97746" cy="94010"/>
              </a:xfrm>
              <a:custGeom>
                <a:avLst/>
                <a:gdLst>
                  <a:gd name="T0" fmla="*/ 15 w 65"/>
                  <a:gd name="T1" fmla="*/ 56 h 61"/>
                  <a:gd name="T2" fmla="*/ 57 w 65"/>
                  <a:gd name="T3" fmla="*/ 45 h 61"/>
                  <a:gd name="T4" fmla="*/ 36 w 65"/>
                  <a:gd name="T5" fmla="*/ 12 h 61"/>
                  <a:gd name="T6" fmla="*/ 15 w 65"/>
                  <a:gd name="T7" fmla="*/ 56 h 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65" h="61">
                    <a:moveTo>
                      <a:pt x="15" y="56"/>
                    </a:moveTo>
                    <a:cubicBezTo>
                      <a:pt x="56" y="54"/>
                      <a:pt x="36" y="61"/>
                      <a:pt x="57" y="45"/>
                    </a:cubicBezTo>
                    <a:cubicBezTo>
                      <a:pt x="65" y="29"/>
                      <a:pt x="46" y="20"/>
                      <a:pt x="36" y="12"/>
                    </a:cubicBezTo>
                    <a:cubicBezTo>
                      <a:pt x="0" y="16"/>
                      <a:pt x="15" y="0"/>
                      <a:pt x="15" y="5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51" name="Freeform 406">
                <a:extLst>
                  <a:ext uri="{FF2B5EF4-FFF2-40B4-BE49-F238E27FC236}">
                    <a16:creationId xmlns:a16="http://schemas.microsoft.com/office/drawing/2014/main" id="{0B6C396F-C1AD-4A27-9FC8-428860A9D4B8}"/>
                  </a:ext>
                </a:extLst>
              </p:cNvPr>
              <p:cNvSpPr>
                <a:spLocks/>
              </p:cNvSpPr>
              <p:nvPr>
                <p:custDataLst>
                  <p:tags r:id="rId138"/>
                </p:custDataLst>
              </p:nvPr>
            </p:nvSpPr>
            <p:spPr bwMode="gray">
              <a:xfrm>
                <a:off x="3150214" y="4266907"/>
                <a:ext cx="87379" cy="97092"/>
              </a:xfrm>
              <a:custGeom>
                <a:avLst/>
                <a:gdLst>
                  <a:gd name="T0" fmla="*/ 9 w 57"/>
                  <a:gd name="T1" fmla="*/ 0 h 63"/>
                  <a:gd name="T2" fmla="*/ 36 w 57"/>
                  <a:gd name="T3" fmla="*/ 5 h 63"/>
                  <a:gd name="T4" fmla="*/ 51 w 57"/>
                  <a:gd name="T5" fmla="*/ 8 h 63"/>
                  <a:gd name="T6" fmla="*/ 57 w 57"/>
                  <a:gd name="T7" fmla="*/ 35 h 63"/>
                  <a:gd name="T8" fmla="*/ 29 w 57"/>
                  <a:gd name="T9" fmla="*/ 54 h 63"/>
                  <a:gd name="T10" fmla="*/ 17 w 57"/>
                  <a:gd name="T11" fmla="*/ 54 h 63"/>
                  <a:gd name="T12" fmla="*/ 8 w 57"/>
                  <a:gd name="T13" fmla="*/ 39 h 63"/>
                  <a:gd name="T14" fmla="*/ 3 w 57"/>
                  <a:gd name="T15" fmla="*/ 38 h 63"/>
                  <a:gd name="T16" fmla="*/ 14 w 57"/>
                  <a:gd name="T17" fmla="*/ 17 h 63"/>
                  <a:gd name="T18" fmla="*/ 9 w 57"/>
                  <a:gd name="T19" fmla="*/ 0 h 6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7" h="63">
                    <a:moveTo>
                      <a:pt x="9" y="0"/>
                    </a:moveTo>
                    <a:cubicBezTo>
                      <a:pt x="22" y="1"/>
                      <a:pt x="26" y="2"/>
                      <a:pt x="36" y="5"/>
                    </a:cubicBezTo>
                    <a:cubicBezTo>
                      <a:pt x="41" y="6"/>
                      <a:pt x="51" y="8"/>
                      <a:pt x="51" y="8"/>
                    </a:cubicBezTo>
                    <a:cubicBezTo>
                      <a:pt x="57" y="16"/>
                      <a:pt x="55" y="26"/>
                      <a:pt x="57" y="35"/>
                    </a:cubicBezTo>
                    <a:cubicBezTo>
                      <a:pt x="55" y="55"/>
                      <a:pt x="49" y="53"/>
                      <a:pt x="29" y="54"/>
                    </a:cubicBezTo>
                    <a:cubicBezTo>
                      <a:pt x="24" y="63"/>
                      <a:pt x="27" y="55"/>
                      <a:pt x="17" y="54"/>
                    </a:cubicBezTo>
                    <a:cubicBezTo>
                      <a:pt x="17" y="47"/>
                      <a:pt x="10" y="45"/>
                      <a:pt x="8" y="39"/>
                    </a:cubicBezTo>
                    <a:cubicBezTo>
                      <a:pt x="8" y="37"/>
                      <a:pt x="4" y="40"/>
                      <a:pt x="3" y="38"/>
                    </a:cubicBezTo>
                    <a:cubicBezTo>
                      <a:pt x="0" y="29"/>
                      <a:pt x="15" y="24"/>
                      <a:pt x="14" y="17"/>
                    </a:cubicBezTo>
                    <a:cubicBezTo>
                      <a:pt x="13" y="11"/>
                      <a:pt x="11" y="6"/>
                      <a:pt x="9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52" name="Freeform 407">
                <a:extLst>
                  <a:ext uri="{FF2B5EF4-FFF2-40B4-BE49-F238E27FC236}">
                    <a16:creationId xmlns:a16="http://schemas.microsoft.com/office/drawing/2014/main" id="{DF8DC0E5-C14C-4058-A92E-2AA8AF14F6E5}"/>
                  </a:ext>
                </a:extLst>
              </p:cNvPr>
              <p:cNvSpPr>
                <a:spLocks/>
              </p:cNvSpPr>
              <p:nvPr>
                <p:custDataLst>
                  <p:tags r:id="rId139"/>
                </p:custDataLst>
              </p:nvPr>
            </p:nvSpPr>
            <p:spPr bwMode="gray">
              <a:xfrm>
                <a:off x="3067278" y="4199098"/>
                <a:ext cx="114037" cy="178771"/>
              </a:xfrm>
              <a:custGeom>
                <a:avLst/>
                <a:gdLst>
                  <a:gd name="T0" fmla="*/ 24 w 76"/>
                  <a:gd name="T1" fmla="*/ 13 h 116"/>
                  <a:gd name="T2" fmla="*/ 13 w 76"/>
                  <a:gd name="T3" fmla="*/ 35 h 116"/>
                  <a:gd name="T4" fmla="*/ 13 w 76"/>
                  <a:gd name="T5" fmla="*/ 67 h 116"/>
                  <a:gd name="T6" fmla="*/ 22 w 76"/>
                  <a:gd name="T7" fmla="*/ 70 h 116"/>
                  <a:gd name="T8" fmla="*/ 24 w 76"/>
                  <a:gd name="T9" fmla="*/ 83 h 116"/>
                  <a:gd name="T10" fmla="*/ 30 w 76"/>
                  <a:gd name="T11" fmla="*/ 97 h 116"/>
                  <a:gd name="T12" fmla="*/ 36 w 76"/>
                  <a:gd name="T13" fmla="*/ 110 h 116"/>
                  <a:gd name="T14" fmla="*/ 45 w 76"/>
                  <a:gd name="T15" fmla="*/ 115 h 116"/>
                  <a:gd name="T16" fmla="*/ 63 w 76"/>
                  <a:gd name="T17" fmla="*/ 110 h 116"/>
                  <a:gd name="T18" fmla="*/ 70 w 76"/>
                  <a:gd name="T19" fmla="*/ 101 h 116"/>
                  <a:gd name="T20" fmla="*/ 61 w 76"/>
                  <a:gd name="T21" fmla="*/ 82 h 116"/>
                  <a:gd name="T22" fmla="*/ 66 w 76"/>
                  <a:gd name="T23" fmla="*/ 65 h 116"/>
                  <a:gd name="T24" fmla="*/ 49 w 76"/>
                  <a:gd name="T25" fmla="*/ 28 h 116"/>
                  <a:gd name="T26" fmla="*/ 33 w 76"/>
                  <a:gd name="T27" fmla="*/ 13 h 116"/>
                  <a:gd name="T28" fmla="*/ 21 w 76"/>
                  <a:gd name="T29" fmla="*/ 23 h 11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76" h="116">
                    <a:moveTo>
                      <a:pt x="24" y="13"/>
                    </a:moveTo>
                    <a:cubicBezTo>
                      <a:pt x="20" y="21"/>
                      <a:pt x="20" y="31"/>
                      <a:pt x="13" y="35"/>
                    </a:cubicBezTo>
                    <a:cubicBezTo>
                      <a:pt x="7" y="45"/>
                      <a:pt x="0" y="63"/>
                      <a:pt x="13" y="67"/>
                    </a:cubicBezTo>
                    <a:cubicBezTo>
                      <a:pt x="18" y="70"/>
                      <a:pt x="19" y="65"/>
                      <a:pt x="22" y="70"/>
                    </a:cubicBezTo>
                    <a:cubicBezTo>
                      <a:pt x="20" y="75"/>
                      <a:pt x="27" y="78"/>
                      <a:pt x="24" y="83"/>
                    </a:cubicBezTo>
                    <a:cubicBezTo>
                      <a:pt x="25" y="88"/>
                      <a:pt x="28" y="93"/>
                      <a:pt x="30" y="97"/>
                    </a:cubicBezTo>
                    <a:cubicBezTo>
                      <a:pt x="32" y="101"/>
                      <a:pt x="33" y="107"/>
                      <a:pt x="36" y="110"/>
                    </a:cubicBezTo>
                    <a:cubicBezTo>
                      <a:pt x="37" y="116"/>
                      <a:pt x="39" y="112"/>
                      <a:pt x="45" y="115"/>
                    </a:cubicBezTo>
                    <a:cubicBezTo>
                      <a:pt x="54" y="113"/>
                      <a:pt x="56" y="113"/>
                      <a:pt x="63" y="110"/>
                    </a:cubicBezTo>
                    <a:cubicBezTo>
                      <a:pt x="66" y="106"/>
                      <a:pt x="67" y="105"/>
                      <a:pt x="70" y="101"/>
                    </a:cubicBezTo>
                    <a:cubicBezTo>
                      <a:pt x="72" y="93"/>
                      <a:pt x="68" y="87"/>
                      <a:pt x="61" y="82"/>
                    </a:cubicBezTo>
                    <a:cubicBezTo>
                      <a:pt x="57" y="75"/>
                      <a:pt x="59" y="70"/>
                      <a:pt x="66" y="65"/>
                    </a:cubicBezTo>
                    <a:cubicBezTo>
                      <a:pt x="76" y="49"/>
                      <a:pt x="63" y="36"/>
                      <a:pt x="49" y="28"/>
                    </a:cubicBezTo>
                    <a:cubicBezTo>
                      <a:pt x="45" y="21"/>
                      <a:pt x="40" y="18"/>
                      <a:pt x="33" y="13"/>
                    </a:cubicBezTo>
                    <a:cubicBezTo>
                      <a:pt x="25" y="0"/>
                      <a:pt x="26" y="18"/>
                      <a:pt x="21" y="23"/>
                    </a:cubicBez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53" name="Freeform 408">
                <a:extLst>
                  <a:ext uri="{FF2B5EF4-FFF2-40B4-BE49-F238E27FC236}">
                    <a16:creationId xmlns:a16="http://schemas.microsoft.com/office/drawing/2014/main" id="{F97206A9-2EE7-4C9B-AD59-47957946DD69}"/>
                  </a:ext>
                </a:extLst>
              </p:cNvPr>
              <p:cNvSpPr>
                <a:spLocks/>
              </p:cNvSpPr>
              <p:nvPr>
                <p:custDataLst>
                  <p:tags r:id="rId140"/>
                </p:custDataLst>
              </p:nvPr>
            </p:nvSpPr>
            <p:spPr bwMode="gray">
              <a:xfrm>
                <a:off x="2621498" y="4180604"/>
                <a:ext cx="103670" cy="60105"/>
              </a:xfrm>
              <a:custGeom>
                <a:avLst/>
                <a:gdLst>
                  <a:gd name="T0" fmla="*/ 10 w 67"/>
                  <a:gd name="T1" fmla="*/ 16 h 39"/>
                  <a:gd name="T2" fmla="*/ 30 w 67"/>
                  <a:gd name="T3" fmla="*/ 2 h 39"/>
                  <a:gd name="T4" fmla="*/ 45 w 67"/>
                  <a:gd name="T5" fmla="*/ 4 h 39"/>
                  <a:gd name="T6" fmla="*/ 58 w 67"/>
                  <a:gd name="T7" fmla="*/ 13 h 39"/>
                  <a:gd name="T8" fmla="*/ 67 w 67"/>
                  <a:gd name="T9" fmla="*/ 20 h 39"/>
                  <a:gd name="T10" fmla="*/ 58 w 67"/>
                  <a:gd name="T11" fmla="*/ 34 h 39"/>
                  <a:gd name="T12" fmla="*/ 39 w 67"/>
                  <a:gd name="T13" fmla="*/ 17 h 39"/>
                  <a:gd name="T14" fmla="*/ 22 w 67"/>
                  <a:gd name="T15" fmla="*/ 25 h 39"/>
                  <a:gd name="T16" fmla="*/ 22 w 67"/>
                  <a:gd name="T17" fmla="*/ 37 h 39"/>
                  <a:gd name="T18" fmla="*/ 3 w 67"/>
                  <a:gd name="T19" fmla="*/ 35 h 39"/>
                  <a:gd name="T20" fmla="*/ 6 w 67"/>
                  <a:gd name="T21" fmla="*/ 19 h 39"/>
                  <a:gd name="T22" fmla="*/ 10 w 67"/>
                  <a:gd name="T23" fmla="*/ 16 h 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7" h="39">
                    <a:moveTo>
                      <a:pt x="10" y="16"/>
                    </a:moveTo>
                    <a:cubicBezTo>
                      <a:pt x="13" y="10"/>
                      <a:pt x="24" y="4"/>
                      <a:pt x="30" y="2"/>
                    </a:cubicBezTo>
                    <a:cubicBezTo>
                      <a:pt x="36" y="0"/>
                      <a:pt x="40" y="2"/>
                      <a:pt x="45" y="4"/>
                    </a:cubicBezTo>
                    <a:cubicBezTo>
                      <a:pt x="50" y="6"/>
                      <a:pt x="54" y="10"/>
                      <a:pt x="58" y="13"/>
                    </a:cubicBezTo>
                    <a:cubicBezTo>
                      <a:pt x="62" y="16"/>
                      <a:pt x="67" y="17"/>
                      <a:pt x="67" y="20"/>
                    </a:cubicBezTo>
                    <a:cubicBezTo>
                      <a:pt x="67" y="23"/>
                      <a:pt x="63" y="34"/>
                      <a:pt x="58" y="34"/>
                    </a:cubicBezTo>
                    <a:cubicBezTo>
                      <a:pt x="53" y="34"/>
                      <a:pt x="45" y="18"/>
                      <a:pt x="39" y="17"/>
                    </a:cubicBezTo>
                    <a:cubicBezTo>
                      <a:pt x="33" y="16"/>
                      <a:pt x="25" y="22"/>
                      <a:pt x="22" y="25"/>
                    </a:cubicBezTo>
                    <a:cubicBezTo>
                      <a:pt x="19" y="28"/>
                      <a:pt x="25" y="35"/>
                      <a:pt x="22" y="37"/>
                    </a:cubicBezTo>
                    <a:cubicBezTo>
                      <a:pt x="19" y="39"/>
                      <a:pt x="6" y="38"/>
                      <a:pt x="3" y="35"/>
                    </a:cubicBezTo>
                    <a:cubicBezTo>
                      <a:pt x="0" y="32"/>
                      <a:pt x="5" y="22"/>
                      <a:pt x="6" y="19"/>
                    </a:cubicBezTo>
                    <a:cubicBezTo>
                      <a:pt x="7" y="16"/>
                      <a:pt x="9" y="17"/>
                      <a:pt x="10" y="1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54" name="Freeform 409">
                <a:extLst>
                  <a:ext uri="{FF2B5EF4-FFF2-40B4-BE49-F238E27FC236}">
                    <a16:creationId xmlns:a16="http://schemas.microsoft.com/office/drawing/2014/main" id="{EC0BC982-B7B0-46E2-854B-8C0E22EDB548}"/>
                  </a:ext>
                </a:extLst>
              </p:cNvPr>
              <p:cNvSpPr>
                <a:spLocks/>
              </p:cNvSpPr>
              <p:nvPr>
                <p:custDataLst>
                  <p:tags r:id="rId141"/>
                </p:custDataLst>
              </p:nvPr>
            </p:nvSpPr>
            <p:spPr bwMode="gray">
              <a:xfrm>
                <a:off x="2676295" y="4134370"/>
                <a:ext cx="266580" cy="339049"/>
              </a:xfrm>
              <a:custGeom>
                <a:avLst/>
                <a:gdLst>
                  <a:gd name="T0" fmla="*/ 34 w 177"/>
                  <a:gd name="T1" fmla="*/ 55 h 220"/>
                  <a:gd name="T2" fmla="*/ 52 w 177"/>
                  <a:gd name="T3" fmla="*/ 41 h 220"/>
                  <a:gd name="T4" fmla="*/ 85 w 177"/>
                  <a:gd name="T5" fmla="*/ 10 h 220"/>
                  <a:gd name="T6" fmla="*/ 101 w 177"/>
                  <a:gd name="T7" fmla="*/ 4 h 220"/>
                  <a:gd name="T8" fmla="*/ 97 w 177"/>
                  <a:gd name="T9" fmla="*/ 32 h 220"/>
                  <a:gd name="T10" fmla="*/ 110 w 177"/>
                  <a:gd name="T11" fmla="*/ 58 h 220"/>
                  <a:gd name="T12" fmla="*/ 111 w 177"/>
                  <a:gd name="T13" fmla="*/ 67 h 220"/>
                  <a:gd name="T14" fmla="*/ 124 w 177"/>
                  <a:gd name="T15" fmla="*/ 68 h 220"/>
                  <a:gd name="T16" fmla="*/ 152 w 177"/>
                  <a:gd name="T17" fmla="*/ 88 h 220"/>
                  <a:gd name="T18" fmla="*/ 172 w 177"/>
                  <a:gd name="T19" fmla="*/ 85 h 220"/>
                  <a:gd name="T20" fmla="*/ 172 w 177"/>
                  <a:gd name="T21" fmla="*/ 152 h 220"/>
                  <a:gd name="T22" fmla="*/ 143 w 177"/>
                  <a:gd name="T23" fmla="*/ 158 h 220"/>
                  <a:gd name="T24" fmla="*/ 142 w 177"/>
                  <a:gd name="T25" fmla="*/ 184 h 220"/>
                  <a:gd name="T26" fmla="*/ 124 w 177"/>
                  <a:gd name="T27" fmla="*/ 215 h 220"/>
                  <a:gd name="T28" fmla="*/ 100 w 177"/>
                  <a:gd name="T29" fmla="*/ 215 h 220"/>
                  <a:gd name="T30" fmla="*/ 88 w 177"/>
                  <a:gd name="T31" fmla="*/ 205 h 220"/>
                  <a:gd name="T32" fmla="*/ 65 w 177"/>
                  <a:gd name="T33" fmla="*/ 184 h 220"/>
                  <a:gd name="T34" fmla="*/ 44 w 177"/>
                  <a:gd name="T35" fmla="*/ 175 h 220"/>
                  <a:gd name="T36" fmla="*/ 32 w 177"/>
                  <a:gd name="T37" fmla="*/ 166 h 220"/>
                  <a:gd name="T38" fmla="*/ 5 w 177"/>
                  <a:gd name="T39" fmla="*/ 160 h 220"/>
                  <a:gd name="T40" fmla="*/ 10 w 177"/>
                  <a:gd name="T41" fmla="*/ 143 h 220"/>
                  <a:gd name="T42" fmla="*/ 22 w 177"/>
                  <a:gd name="T43" fmla="*/ 127 h 220"/>
                  <a:gd name="T44" fmla="*/ 31 w 177"/>
                  <a:gd name="T45" fmla="*/ 107 h 220"/>
                  <a:gd name="T46" fmla="*/ 29 w 177"/>
                  <a:gd name="T47" fmla="*/ 91 h 220"/>
                  <a:gd name="T48" fmla="*/ 28 w 177"/>
                  <a:gd name="T49" fmla="*/ 61 h 220"/>
                  <a:gd name="T50" fmla="*/ 34 w 177"/>
                  <a:gd name="T51" fmla="*/ 55 h 2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177" h="220">
                    <a:moveTo>
                      <a:pt x="34" y="55"/>
                    </a:moveTo>
                    <a:cubicBezTo>
                      <a:pt x="41" y="52"/>
                      <a:pt x="45" y="45"/>
                      <a:pt x="52" y="41"/>
                    </a:cubicBezTo>
                    <a:cubicBezTo>
                      <a:pt x="57" y="10"/>
                      <a:pt x="56" y="16"/>
                      <a:pt x="85" y="10"/>
                    </a:cubicBezTo>
                    <a:cubicBezTo>
                      <a:pt x="93" y="4"/>
                      <a:pt x="99" y="0"/>
                      <a:pt x="101" y="4"/>
                    </a:cubicBezTo>
                    <a:cubicBezTo>
                      <a:pt x="96" y="14"/>
                      <a:pt x="107" y="27"/>
                      <a:pt x="97" y="32"/>
                    </a:cubicBezTo>
                    <a:cubicBezTo>
                      <a:pt x="92" y="41"/>
                      <a:pt x="107" y="49"/>
                      <a:pt x="110" y="58"/>
                    </a:cubicBezTo>
                    <a:cubicBezTo>
                      <a:pt x="118" y="68"/>
                      <a:pt x="109" y="65"/>
                      <a:pt x="111" y="67"/>
                    </a:cubicBezTo>
                    <a:cubicBezTo>
                      <a:pt x="113" y="69"/>
                      <a:pt x="117" y="65"/>
                      <a:pt x="124" y="68"/>
                    </a:cubicBezTo>
                    <a:cubicBezTo>
                      <a:pt x="132" y="72"/>
                      <a:pt x="144" y="86"/>
                      <a:pt x="152" y="88"/>
                    </a:cubicBezTo>
                    <a:cubicBezTo>
                      <a:pt x="159" y="89"/>
                      <a:pt x="172" y="85"/>
                      <a:pt x="172" y="85"/>
                    </a:cubicBezTo>
                    <a:cubicBezTo>
                      <a:pt x="176" y="96"/>
                      <a:pt x="177" y="140"/>
                      <a:pt x="172" y="152"/>
                    </a:cubicBezTo>
                    <a:cubicBezTo>
                      <a:pt x="167" y="164"/>
                      <a:pt x="148" y="153"/>
                      <a:pt x="143" y="158"/>
                    </a:cubicBezTo>
                    <a:cubicBezTo>
                      <a:pt x="142" y="170"/>
                      <a:pt x="135" y="173"/>
                      <a:pt x="142" y="184"/>
                    </a:cubicBezTo>
                    <a:cubicBezTo>
                      <a:pt x="140" y="213"/>
                      <a:pt x="148" y="219"/>
                      <a:pt x="124" y="215"/>
                    </a:cubicBezTo>
                    <a:cubicBezTo>
                      <a:pt x="117" y="211"/>
                      <a:pt x="100" y="215"/>
                      <a:pt x="100" y="215"/>
                    </a:cubicBezTo>
                    <a:cubicBezTo>
                      <a:pt x="91" y="220"/>
                      <a:pt x="95" y="210"/>
                      <a:pt x="88" y="205"/>
                    </a:cubicBezTo>
                    <a:cubicBezTo>
                      <a:pt x="85" y="197"/>
                      <a:pt x="72" y="188"/>
                      <a:pt x="65" y="184"/>
                    </a:cubicBezTo>
                    <a:cubicBezTo>
                      <a:pt x="61" y="177"/>
                      <a:pt x="52" y="177"/>
                      <a:pt x="44" y="175"/>
                    </a:cubicBezTo>
                    <a:cubicBezTo>
                      <a:pt x="39" y="171"/>
                      <a:pt x="39" y="167"/>
                      <a:pt x="32" y="166"/>
                    </a:cubicBezTo>
                    <a:cubicBezTo>
                      <a:pt x="24" y="162"/>
                      <a:pt x="14" y="162"/>
                      <a:pt x="5" y="160"/>
                    </a:cubicBezTo>
                    <a:cubicBezTo>
                      <a:pt x="3" y="151"/>
                      <a:pt x="0" y="148"/>
                      <a:pt x="10" y="143"/>
                    </a:cubicBezTo>
                    <a:cubicBezTo>
                      <a:pt x="14" y="137"/>
                      <a:pt x="19" y="134"/>
                      <a:pt x="22" y="127"/>
                    </a:cubicBezTo>
                    <a:cubicBezTo>
                      <a:pt x="23" y="120"/>
                      <a:pt x="28" y="114"/>
                      <a:pt x="31" y="107"/>
                    </a:cubicBezTo>
                    <a:cubicBezTo>
                      <a:pt x="32" y="101"/>
                      <a:pt x="32" y="97"/>
                      <a:pt x="29" y="91"/>
                    </a:cubicBezTo>
                    <a:cubicBezTo>
                      <a:pt x="28" y="82"/>
                      <a:pt x="25" y="70"/>
                      <a:pt x="28" y="61"/>
                    </a:cubicBezTo>
                    <a:cubicBezTo>
                      <a:pt x="29" y="58"/>
                      <a:pt x="35" y="52"/>
                      <a:pt x="34" y="5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55" name="Freeform 410">
                <a:extLst>
                  <a:ext uri="{FF2B5EF4-FFF2-40B4-BE49-F238E27FC236}">
                    <a16:creationId xmlns:a16="http://schemas.microsoft.com/office/drawing/2014/main" id="{47C55025-ECD6-42F6-A52F-02E0B504CDC1}"/>
                  </a:ext>
                </a:extLst>
              </p:cNvPr>
              <p:cNvSpPr>
                <a:spLocks/>
              </p:cNvSpPr>
              <p:nvPr>
                <p:custDataLst>
                  <p:tags r:id="rId142"/>
                </p:custDataLst>
              </p:nvPr>
            </p:nvSpPr>
            <p:spPr bwMode="gray">
              <a:xfrm>
                <a:off x="2882154" y="4621368"/>
                <a:ext cx="279909" cy="311309"/>
              </a:xfrm>
              <a:custGeom>
                <a:avLst/>
                <a:gdLst>
                  <a:gd name="T0" fmla="*/ 0 w 185"/>
                  <a:gd name="T1" fmla="*/ 25 h 203"/>
                  <a:gd name="T2" fmla="*/ 26 w 185"/>
                  <a:gd name="T3" fmla="*/ 21 h 203"/>
                  <a:gd name="T4" fmla="*/ 41 w 185"/>
                  <a:gd name="T5" fmla="*/ 18 h 203"/>
                  <a:gd name="T6" fmla="*/ 46 w 185"/>
                  <a:gd name="T7" fmla="*/ 13 h 203"/>
                  <a:gd name="T8" fmla="*/ 60 w 185"/>
                  <a:gd name="T9" fmla="*/ 3 h 203"/>
                  <a:gd name="T10" fmla="*/ 71 w 185"/>
                  <a:gd name="T11" fmla="*/ 33 h 203"/>
                  <a:gd name="T12" fmla="*/ 86 w 185"/>
                  <a:gd name="T13" fmla="*/ 52 h 203"/>
                  <a:gd name="T14" fmla="*/ 105 w 185"/>
                  <a:gd name="T15" fmla="*/ 61 h 203"/>
                  <a:gd name="T16" fmla="*/ 123 w 185"/>
                  <a:gd name="T17" fmla="*/ 61 h 203"/>
                  <a:gd name="T18" fmla="*/ 138 w 185"/>
                  <a:gd name="T19" fmla="*/ 69 h 203"/>
                  <a:gd name="T20" fmla="*/ 143 w 185"/>
                  <a:gd name="T21" fmla="*/ 99 h 203"/>
                  <a:gd name="T22" fmla="*/ 161 w 185"/>
                  <a:gd name="T23" fmla="*/ 102 h 203"/>
                  <a:gd name="T24" fmla="*/ 170 w 185"/>
                  <a:gd name="T25" fmla="*/ 106 h 203"/>
                  <a:gd name="T26" fmla="*/ 183 w 185"/>
                  <a:gd name="T27" fmla="*/ 133 h 203"/>
                  <a:gd name="T28" fmla="*/ 174 w 185"/>
                  <a:gd name="T29" fmla="*/ 160 h 203"/>
                  <a:gd name="T30" fmla="*/ 119 w 185"/>
                  <a:gd name="T31" fmla="*/ 163 h 203"/>
                  <a:gd name="T32" fmla="*/ 101 w 185"/>
                  <a:gd name="T33" fmla="*/ 198 h 203"/>
                  <a:gd name="T34" fmla="*/ 79 w 185"/>
                  <a:gd name="T35" fmla="*/ 196 h 203"/>
                  <a:gd name="T36" fmla="*/ 58 w 185"/>
                  <a:gd name="T37" fmla="*/ 195 h 203"/>
                  <a:gd name="T38" fmla="*/ 44 w 185"/>
                  <a:gd name="T39" fmla="*/ 196 h 203"/>
                  <a:gd name="T40" fmla="*/ 21 w 185"/>
                  <a:gd name="T41" fmla="*/ 186 h 203"/>
                  <a:gd name="T42" fmla="*/ 17 w 185"/>
                  <a:gd name="T43" fmla="*/ 172 h 203"/>
                  <a:gd name="T44" fmla="*/ 15 w 185"/>
                  <a:gd name="T45" fmla="*/ 137 h 203"/>
                  <a:gd name="T46" fmla="*/ 9 w 185"/>
                  <a:gd name="T47" fmla="*/ 117 h 203"/>
                  <a:gd name="T48" fmla="*/ 12 w 185"/>
                  <a:gd name="T49" fmla="*/ 91 h 203"/>
                  <a:gd name="T50" fmla="*/ 15 w 185"/>
                  <a:gd name="T51" fmla="*/ 66 h 203"/>
                  <a:gd name="T52" fmla="*/ 15 w 185"/>
                  <a:gd name="T53" fmla="*/ 45 h 203"/>
                  <a:gd name="T54" fmla="*/ 8 w 185"/>
                  <a:gd name="T55" fmla="*/ 3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185" h="203">
                    <a:moveTo>
                      <a:pt x="0" y="25"/>
                    </a:moveTo>
                    <a:cubicBezTo>
                      <a:pt x="11" y="24"/>
                      <a:pt x="16" y="23"/>
                      <a:pt x="26" y="21"/>
                    </a:cubicBezTo>
                    <a:cubicBezTo>
                      <a:pt x="31" y="20"/>
                      <a:pt x="41" y="18"/>
                      <a:pt x="41" y="18"/>
                    </a:cubicBezTo>
                    <a:cubicBezTo>
                      <a:pt x="44" y="17"/>
                      <a:pt x="43" y="15"/>
                      <a:pt x="46" y="13"/>
                    </a:cubicBezTo>
                    <a:cubicBezTo>
                      <a:pt x="49" y="11"/>
                      <a:pt x="56" y="0"/>
                      <a:pt x="60" y="3"/>
                    </a:cubicBezTo>
                    <a:cubicBezTo>
                      <a:pt x="64" y="6"/>
                      <a:pt x="67" y="25"/>
                      <a:pt x="71" y="33"/>
                    </a:cubicBezTo>
                    <a:cubicBezTo>
                      <a:pt x="75" y="41"/>
                      <a:pt x="80" y="47"/>
                      <a:pt x="86" y="52"/>
                    </a:cubicBezTo>
                    <a:cubicBezTo>
                      <a:pt x="95" y="57"/>
                      <a:pt x="95" y="60"/>
                      <a:pt x="105" y="61"/>
                    </a:cubicBezTo>
                    <a:cubicBezTo>
                      <a:pt x="111" y="63"/>
                      <a:pt x="118" y="60"/>
                      <a:pt x="123" y="61"/>
                    </a:cubicBezTo>
                    <a:cubicBezTo>
                      <a:pt x="128" y="62"/>
                      <a:pt x="135" y="63"/>
                      <a:pt x="138" y="69"/>
                    </a:cubicBezTo>
                    <a:cubicBezTo>
                      <a:pt x="142" y="76"/>
                      <a:pt x="136" y="96"/>
                      <a:pt x="143" y="99"/>
                    </a:cubicBezTo>
                    <a:cubicBezTo>
                      <a:pt x="149" y="101"/>
                      <a:pt x="161" y="102"/>
                      <a:pt x="161" y="102"/>
                    </a:cubicBezTo>
                    <a:cubicBezTo>
                      <a:pt x="164" y="104"/>
                      <a:pt x="168" y="104"/>
                      <a:pt x="170" y="106"/>
                    </a:cubicBezTo>
                    <a:cubicBezTo>
                      <a:pt x="174" y="111"/>
                      <a:pt x="182" y="124"/>
                      <a:pt x="183" y="133"/>
                    </a:cubicBezTo>
                    <a:cubicBezTo>
                      <a:pt x="184" y="142"/>
                      <a:pt x="185" y="155"/>
                      <a:pt x="174" y="160"/>
                    </a:cubicBezTo>
                    <a:cubicBezTo>
                      <a:pt x="158" y="159"/>
                      <a:pt x="132" y="153"/>
                      <a:pt x="119" y="163"/>
                    </a:cubicBezTo>
                    <a:cubicBezTo>
                      <a:pt x="114" y="176"/>
                      <a:pt x="114" y="192"/>
                      <a:pt x="101" y="198"/>
                    </a:cubicBezTo>
                    <a:cubicBezTo>
                      <a:pt x="94" y="203"/>
                      <a:pt x="88" y="196"/>
                      <a:pt x="79" y="196"/>
                    </a:cubicBezTo>
                    <a:cubicBezTo>
                      <a:pt x="72" y="196"/>
                      <a:pt x="64" y="195"/>
                      <a:pt x="58" y="195"/>
                    </a:cubicBezTo>
                    <a:cubicBezTo>
                      <a:pt x="52" y="195"/>
                      <a:pt x="50" y="197"/>
                      <a:pt x="44" y="196"/>
                    </a:cubicBezTo>
                    <a:cubicBezTo>
                      <a:pt x="34" y="194"/>
                      <a:pt x="26" y="190"/>
                      <a:pt x="21" y="186"/>
                    </a:cubicBezTo>
                    <a:cubicBezTo>
                      <a:pt x="20" y="181"/>
                      <a:pt x="18" y="177"/>
                      <a:pt x="17" y="172"/>
                    </a:cubicBezTo>
                    <a:cubicBezTo>
                      <a:pt x="16" y="164"/>
                      <a:pt x="16" y="146"/>
                      <a:pt x="15" y="137"/>
                    </a:cubicBezTo>
                    <a:cubicBezTo>
                      <a:pt x="14" y="128"/>
                      <a:pt x="9" y="125"/>
                      <a:pt x="9" y="117"/>
                    </a:cubicBezTo>
                    <a:cubicBezTo>
                      <a:pt x="8" y="105"/>
                      <a:pt x="11" y="99"/>
                      <a:pt x="12" y="91"/>
                    </a:cubicBezTo>
                    <a:cubicBezTo>
                      <a:pt x="13" y="83"/>
                      <a:pt x="15" y="74"/>
                      <a:pt x="15" y="66"/>
                    </a:cubicBezTo>
                    <a:cubicBezTo>
                      <a:pt x="15" y="54"/>
                      <a:pt x="16" y="51"/>
                      <a:pt x="15" y="45"/>
                    </a:cubicBezTo>
                    <a:cubicBezTo>
                      <a:pt x="14" y="39"/>
                      <a:pt x="9" y="34"/>
                      <a:pt x="8" y="31"/>
                    </a:cubicBez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56" name="Freeform 411">
                <a:extLst>
                  <a:ext uri="{FF2B5EF4-FFF2-40B4-BE49-F238E27FC236}">
                    <a16:creationId xmlns:a16="http://schemas.microsoft.com/office/drawing/2014/main" id="{B563F240-BD86-4082-9BEF-92E0060197F2}"/>
                  </a:ext>
                </a:extLst>
              </p:cNvPr>
              <p:cNvSpPr>
                <a:spLocks/>
              </p:cNvSpPr>
              <p:nvPr>
                <p:custDataLst>
                  <p:tags r:id="rId143"/>
                </p:custDataLst>
              </p:nvPr>
            </p:nvSpPr>
            <p:spPr bwMode="gray">
              <a:xfrm>
                <a:off x="2797736" y="4302354"/>
                <a:ext cx="882674" cy="929303"/>
              </a:xfrm>
              <a:custGeom>
                <a:avLst/>
                <a:gdLst>
                  <a:gd name="T0" fmla="*/ 313 w 584"/>
                  <a:gd name="T1" fmla="*/ 582 h 604"/>
                  <a:gd name="T2" fmla="*/ 346 w 584"/>
                  <a:gd name="T3" fmla="*/ 550 h 604"/>
                  <a:gd name="T4" fmla="*/ 376 w 584"/>
                  <a:gd name="T5" fmla="*/ 502 h 604"/>
                  <a:gd name="T6" fmla="*/ 400 w 584"/>
                  <a:gd name="T7" fmla="*/ 442 h 604"/>
                  <a:gd name="T8" fmla="*/ 445 w 584"/>
                  <a:gd name="T9" fmla="*/ 418 h 604"/>
                  <a:gd name="T10" fmla="*/ 487 w 584"/>
                  <a:gd name="T11" fmla="*/ 399 h 604"/>
                  <a:gd name="T12" fmla="*/ 508 w 584"/>
                  <a:gd name="T13" fmla="*/ 345 h 604"/>
                  <a:gd name="T14" fmla="*/ 518 w 584"/>
                  <a:gd name="T15" fmla="*/ 315 h 604"/>
                  <a:gd name="T16" fmla="*/ 550 w 584"/>
                  <a:gd name="T17" fmla="*/ 235 h 604"/>
                  <a:gd name="T18" fmla="*/ 575 w 584"/>
                  <a:gd name="T19" fmla="*/ 189 h 604"/>
                  <a:gd name="T20" fmla="*/ 515 w 584"/>
                  <a:gd name="T21" fmla="*/ 123 h 604"/>
                  <a:gd name="T22" fmla="*/ 446 w 584"/>
                  <a:gd name="T23" fmla="*/ 105 h 604"/>
                  <a:gd name="T24" fmla="*/ 371 w 584"/>
                  <a:gd name="T25" fmla="*/ 75 h 604"/>
                  <a:gd name="T26" fmla="*/ 346 w 584"/>
                  <a:gd name="T27" fmla="*/ 45 h 604"/>
                  <a:gd name="T28" fmla="*/ 331 w 584"/>
                  <a:gd name="T29" fmla="*/ 10 h 604"/>
                  <a:gd name="T30" fmla="*/ 305 w 584"/>
                  <a:gd name="T31" fmla="*/ 27 h 604"/>
                  <a:gd name="T32" fmla="*/ 274 w 584"/>
                  <a:gd name="T33" fmla="*/ 28 h 604"/>
                  <a:gd name="T34" fmla="*/ 238 w 584"/>
                  <a:gd name="T35" fmla="*/ 43 h 604"/>
                  <a:gd name="T36" fmla="*/ 208 w 584"/>
                  <a:gd name="T37" fmla="*/ 33 h 604"/>
                  <a:gd name="T38" fmla="*/ 191 w 584"/>
                  <a:gd name="T39" fmla="*/ 0 h 604"/>
                  <a:gd name="T40" fmla="*/ 143 w 584"/>
                  <a:gd name="T41" fmla="*/ 12 h 604"/>
                  <a:gd name="T42" fmla="*/ 140 w 584"/>
                  <a:gd name="T43" fmla="*/ 45 h 604"/>
                  <a:gd name="T44" fmla="*/ 113 w 584"/>
                  <a:gd name="T45" fmla="*/ 55 h 604"/>
                  <a:gd name="T46" fmla="*/ 59 w 584"/>
                  <a:gd name="T47" fmla="*/ 54 h 604"/>
                  <a:gd name="T48" fmla="*/ 56 w 584"/>
                  <a:gd name="T49" fmla="*/ 121 h 604"/>
                  <a:gd name="T50" fmla="*/ 17 w 584"/>
                  <a:gd name="T51" fmla="*/ 141 h 604"/>
                  <a:gd name="T52" fmla="*/ 4 w 584"/>
                  <a:gd name="T53" fmla="*/ 177 h 604"/>
                  <a:gd name="T54" fmla="*/ 31 w 584"/>
                  <a:gd name="T55" fmla="*/ 216 h 604"/>
                  <a:gd name="T56" fmla="*/ 91 w 584"/>
                  <a:gd name="T57" fmla="*/ 229 h 604"/>
                  <a:gd name="T58" fmla="*/ 121 w 584"/>
                  <a:gd name="T59" fmla="*/ 216 h 604"/>
                  <a:gd name="T60" fmla="*/ 157 w 584"/>
                  <a:gd name="T61" fmla="*/ 267 h 604"/>
                  <a:gd name="T62" fmla="*/ 184 w 584"/>
                  <a:gd name="T63" fmla="*/ 268 h 604"/>
                  <a:gd name="T64" fmla="*/ 221 w 584"/>
                  <a:gd name="T65" fmla="*/ 312 h 604"/>
                  <a:gd name="T66" fmla="*/ 235 w 584"/>
                  <a:gd name="T67" fmla="*/ 330 h 604"/>
                  <a:gd name="T68" fmla="*/ 232 w 584"/>
                  <a:gd name="T69" fmla="*/ 369 h 604"/>
                  <a:gd name="T70" fmla="*/ 275 w 584"/>
                  <a:gd name="T71" fmla="*/ 412 h 604"/>
                  <a:gd name="T72" fmla="*/ 281 w 584"/>
                  <a:gd name="T73" fmla="*/ 430 h 604"/>
                  <a:gd name="T74" fmla="*/ 298 w 584"/>
                  <a:gd name="T75" fmla="*/ 450 h 604"/>
                  <a:gd name="T76" fmla="*/ 256 w 584"/>
                  <a:gd name="T77" fmla="*/ 517 h 604"/>
                  <a:gd name="T78" fmla="*/ 289 w 584"/>
                  <a:gd name="T79" fmla="*/ 564 h 60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584" h="604">
                    <a:moveTo>
                      <a:pt x="305" y="604"/>
                    </a:moveTo>
                    <a:cubicBezTo>
                      <a:pt x="310" y="598"/>
                      <a:pt x="310" y="589"/>
                      <a:pt x="313" y="582"/>
                    </a:cubicBezTo>
                    <a:cubicBezTo>
                      <a:pt x="315" y="571"/>
                      <a:pt x="324" y="571"/>
                      <a:pt x="334" y="570"/>
                    </a:cubicBezTo>
                    <a:cubicBezTo>
                      <a:pt x="341" y="565"/>
                      <a:pt x="341" y="557"/>
                      <a:pt x="346" y="550"/>
                    </a:cubicBezTo>
                    <a:cubicBezTo>
                      <a:pt x="346" y="543"/>
                      <a:pt x="349" y="541"/>
                      <a:pt x="350" y="534"/>
                    </a:cubicBezTo>
                    <a:cubicBezTo>
                      <a:pt x="352" y="519"/>
                      <a:pt x="371" y="515"/>
                      <a:pt x="376" y="502"/>
                    </a:cubicBezTo>
                    <a:cubicBezTo>
                      <a:pt x="374" y="482"/>
                      <a:pt x="372" y="466"/>
                      <a:pt x="388" y="453"/>
                    </a:cubicBezTo>
                    <a:cubicBezTo>
                      <a:pt x="391" y="447"/>
                      <a:pt x="394" y="445"/>
                      <a:pt x="400" y="442"/>
                    </a:cubicBezTo>
                    <a:cubicBezTo>
                      <a:pt x="405" y="437"/>
                      <a:pt x="415" y="433"/>
                      <a:pt x="422" y="429"/>
                    </a:cubicBezTo>
                    <a:cubicBezTo>
                      <a:pt x="429" y="425"/>
                      <a:pt x="437" y="419"/>
                      <a:pt x="445" y="418"/>
                    </a:cubicBezTo>
                    <a:cubicBezTo>
                      <a:pt x="453" y="417"/>
                      <a:pt x="462" y="428"/>
                      <a:pt x="469" y="424"/>
                    </a:cubicBezTo>
                    <a:cubicBezTo>
                      <a:pt x="471" y="413"/>
                      <a:pt x="478" y="405"/>
                      <a:pt x="487" y="399"/>
                    </a:cubicBezTo>
                    <a:cubicBezTo>
                      <a:pt x="490" y="394"/>
                      <a:pt x="493" y="391"/>
                      <a:pt x="494" y="385"/>
                    </a:cubicBezTo>
                    <a:cubicBezTo>
                      <a:pt x="496" y="368"/>
                      <a:pt x="494" y="355"/>
                      <a:pt x="508" y="345"/>
                    </a:cubicBezTo>
                    <a:cubicBezTo>
                      <a:pt x="510" y="336"/>
                      <a:pt x="516" y="332"/>
                      <a:pt x="523" y="328"/>
                    </a:cubicBezTo>
                    <a:cubicBezTo>
                      <a:pt x="528" y="321"/>
                      <a:pt x="522" y="321"/>
                      <a:pt x="518" y="315"/>
                    </a:cubicBezTo>
                    <a:cubicBezTo>
                      <a:pt x="515" y="298"/>
                      <a:pt x="507" y="272"/>
                      <a:pt x="523" y="262"/>
                    </a:cubicBezTo>
                    <a:cubicBezTo>
                      <a:pt x="532" y="249"/>
                      <a:pt x="535" y="244"/>
                      <a:pt x="550" y="235"/>
                    </a:cubicBezTo>
                    <a:cubicBezTo>
                      <a:pt x="553" y="231"/>
                      <a:pt x="556" y="226"/>
                      <a:pt x="559" y="222"/>
                    </a:cubicBezTo>
                    <a:cubicBezTo>
                      <a:pt x="560" y="214"/>
                      <a:pt x="565" y="191"/>
                      <a:pt x="575" y="189"/>
                    </a:cubicBezTo>
                    <a:cubicBezTo>
                      <a:pt x="584" y="174"/>
                      <a:pt x="576" y="151"/>
                      <a:pt x="556" y="145"/>
                    </a:cubicBezTo>
                    <a:cubicBezTo>
                      <a:pt x="542" y="137"/>
                      <a:pt x="531" y="126"/>
                      <a:pt x="515" y="123"/>
                    </a:cubicBezTo>
                    <a:cubicBezTo>
                      <a:pt x="492" y="111"/>
                      <a:pt x="498" y="112"/>
                      <a:pt x="460" y="111"/>
                    </a:cubicBezTo>
                    <a:cubicBezTo>
                      <a:pt x="455" y="109"/>
                      <a:pt x="452" y="106"/>
                      <a:pt x="446" y="105"/>
                    </a:cubicBezTo>
                    <a:cubicBezTo>
                      <a:pt x="440" y="102"/>
                      <a:pt x="435" y="97"/>
                      <a:pt x="428" y="96"/>
                    </a:cubicBezTo>
                    <a:cubicBezTo>
                      <a:pt x="413" y="77"/>
                      <a:pt x="397" y="76"/>
                      <a:pt x="371" y="75"/>
                    </a:cubicBezTo>
                    <a:cubicBezTo>
                      <a:pt x="363" y="69"/>
                      <a:pt x="358" y="67"/>
                      <a:pt x="353" y="57"/>
                    </a:cubicBezTo>
                    <a:cubicBezTo>
                      <a:pt x="352" y="51"/>
                      <a:pt x="351" y="49"/>
                      <a:pt x="346" y="45"/>
                    </a:cubicBezTo>
                    <a:cubicBezTo>
                      <a:pt x="343" y="37"/>
                      <a:pt x="336" y="32"/>
                      <a:pt x="332" y="24"/>
                    </a:cubicBezTo>
                    <a:cubicBezTo>
                      <a:pt x="332" y="19"/>
                      <a:pt x="333" y="14"/>
                      <a:pt x="331" y="10"/>
                    </a:cubicBezTo>
                    <a:cubicBezTo>
                      <a:pt x="331" y="9"/>
                      <a:pt x="326" y="19"/>
                      <a:pt x="326" y="19"/>
                    </a:cubicBezTo>
                    <a:cubicBezTo>
                      <a:pt x="323" y="25"/>
                      <a:pt x="311" y="24"/>
                      <a:pt x="305" y="27"/>
                    </a:cubicBezTo>
                    <a:cubicBezTo>
                      <a:pt x="299" y="29"/>
                      <a:pt x="294" y="27"/>
                      <a:pt x="289" y="27"/>
                    </a:cubicBezTo>
                    <a:cubicBezTo>
                      <a:pt x="284" y="27"/>
                      <a:pt x="281" y="27"/>
                      <a:pt x="274" y="28"/>
                    </a:cubicBezTo>
                    <a:cubicBezTo>
                      <a:pt x="267" y="29"/>
                      <a:pt x="254" y="34"/>
                      <a:pt x="248" y="36"/>
                    </a:cubicBezTo>
                    <a:cubicBezTo>
                      <a:pt x="243" y="40"/>
                      <a:pt x="244" y="42"/>
                      <a:pt x="238" y="43"/>
                    </a:cubicBezTo>
                    <a:cubicBezTo>
                      <a:pt x="233" y="45"/>
                      <a:pt x="225" y="49"/>
                      <a:pt x="220" y="51"/>
                    </a:cubicBezTo>
                    <a:cubicBezTo>
                      <a:pt x="214" y="45"/>
                      <a:pt x="215" y="38"/>
                      <a:pt x="208" y="33"/>
                    </a:cubicBezTo>
                    <a:cubicBezTo>
                      <a:pt x="205" y="26"/>
                      <a:pt x="208" y="17"/>
                      <a:pt x="205" y="12"/>
                    </a:cubicBezTo>
                    <a:cubicBezTo>
                      <a:pt x="202" y="7"/>
                      <a:pt x="196" y="1"/>
                      <a:pt x="191" y="0"/>
                    </a:cubicBezTo>
                    <a:cubicBezTo>
                      <a:pt x="184" y="1"/>
                      <a:pt x="182" y="4"/>
                      <a:pt x="176" y="7"/>
                    </a:cubicBezTo>
                    <a:cubicBezTo>
                      <a:pt x="166" y="11"/>
                      <a:pt x="152" y="11"/>
                      <a:pt x="143" y="12"/>
                    </a:cubicBezTo>
                    <a:cubicBezTo>
                      <a:pt x="137" y="15"/>
                      <a:pt x="143" y="25"/>
                      <a:pt x="143" y="30"/>
                    </a:cubicBezTo>
                    <a:cubicBezTo>
                      <a:pt x="143" y="35"/>
                      <a:pt x="142" y="41"/>
                      <a:pt x="140" y="45"/>
                    </a:cubicBezTo>
                    <a:cubicBezTo>
                      <a:pt x="138" y="49"/>
                      <a:pt x="132" y="50"/>
                      <a:pt x="128" y="52"/>
                    </a:cubicBezTo>
                    <a:cubicBezTo>
                      <a:pt x="122" y="57"/>
                      <a:pt x="120" y="57"/>
                      <a:pt x="113" y="55"/>
                    </a:cubicBezTo>
                    <a:cubicBezTo>
                      <a:pt x="108" y="51"/>
                      <a:pt x="103" y="49"/>
                      <a:pt x="98" y="46"/>
                    </a:cubicBezTo>
                    <a:cubicBezTo>
                      <a:pt x="66" y="48"/>
                      <a:pt x="75" y="44"/>
                      <a:pt x="59" y="54"/>
                    </a:cubicBezTo>
                    <a:cubicBezTo>
                      <a:pt x="53" y="61"/>
                      <a:pt x="59" y="77"/>
                      <a:pt x="59" y="88"/>
                    </a:cubicBezTo>
                    <a:cubicBezTo>
                      <a:pt x="59" y="99"/>
                      <a:pt x="60" y="114"/>
                      <a:pt x="56" y="121"/>
                    </a:cubicBezTo>
                    <a:cubicBezTo>
                      <a:pt x="53" y="136"/>
                      <a:pt x="40" y="129"/>
                      <a:pt x="35" y="133"/>
                    </a:cubicBezTo>
                    <a:cubicBezTo>
                      <a:pt x="29" y="136"/>
                      <a:pt x="21" y="137"/>
                      <a:pt x="17" y="141"/>
                    </a:cubicBezTo>
                    <a:cubicBezTo>
                      <a:pt x="13" y="146"/>
                      <a:pt x="11" y="150"/>
                      <a:pt x="10" y="156"/>
                    </a:cubicBezTo>
                    <a:cubicBezTo>
                      <a:pt x="8" y="162"/>
                      <a:pt x="5" y="170"/>
                      <a:pt x="4" y="177"/>
                    </a:cubicBezTo>
                    <a:cubicBezTo>
                      <a:pt x="3" y="183"/>
                      <a:pt x="0" y="193"/>
                      <a:pt x="5" y="199"/>
                    </a:cubicBezTo>
                    <a:cubicBezTo>
                      <a:pt x="9" y="205"/>
                      <a:pt x="23" y="211"/>
                      <a:pt x="31" y="216"/>
                    </a:cubicBezTo>
                    <a:cubicBezTo>
                      <a:pt x="38" y="221"/>
                      <a:pt x="44" y="229"/>
                      <a:pt x="53" y="231"/>
                    </a:cubicBezTo>
                    <a:cubicBezTo>
                      <a:pt x="64" y="230"/>
                      <a:pt x="81" y="231"/>
                      <a:pt x="91" y="229"/>
                    </a:cubicBezTo>
                    <a:cubicBezTo>
                      <a:pt x="100" y="224"/>
                      <a:pt x="99" y="214"/>
                      <a:pt x="109" y="213"/>
                    </a:cubicBezTo>
                    <a:cubicBezTo>
                      <a:pt x="111" y="213"/>
                      <a:pt x="119" y="212"/>
                      <a:pt x="121" y="216"/>
                    </a:cubicBezTo>
                    <a:cubicBezTo>
                      <a:pt x="127" y="226"/>
                      <a:pt x="125" y="245"/>
                      <a:pt x="136" y="252"/>
                    </a:cubicBezTo>
                    <a:cubicBezTo>
                      <a:pt x="141" y="260"/>
                      <a:pt x="151" y="264"/>
                      <a:pt x="157" y="267"/>
                    </a:cubicBezTo>
                    <a:cubicBezTo>
                      <a:pt x="163" y="270"/>
                      <a:pt x="168" y="268"/>
                      <a:pt x="172" y="268"/>
                    </a:cubicBezTo>
                    <a:cubicBezTo>
                      <a:pt x="176" y="270"/>
                      <a:pt x="180" y="266"/>
                      <a:pt x="184" y="268"/>
                    </a:cubicBezTo>
                    <a:cubicBezTo>
                      <a:pt x="188" y="270"/>
                      <a:pt x="193" y="277"/>
                      <a:pt x="193" y="277"/>
                    </a:cubicBezTo>
                    <a:cubicBezTo>
                      <a:pt x="195" y="313"/>
                      <a:pt x="189" y="309"/>
                      <a:pt x="221" y="312"/>
                    </a:cubicBezTo>
                    <a:cubicBezTo>
                      <a:pt x="228" y="320"/>
                      <a:pt x="230" y="321"/>
                      <a:pt x="232" y="324"/>
                    </a:cubicBezTo>
                    <a:cubicBezTo>
                      <a:pt x="234" y="327"/>
                      <a:pt x="234" y="324"/>
                      <a:pt x="235" y="330"/>
                    </a:cubicBezTo>
                    <a:cubicBezTo>
                      <a:pt x="238" y="337"/>
                      <a:pt x="236" y="352"/>
                      <a:pt x="236" y="358"/>
                    </a:cubicBezTo>
                    <a:cubicBezTo>
                      <a:pt x="236" y="364"/>
                      <a:pt x="231" y="361"/>
                      <a:pt x="232" y="369"/>
                    </a:cubicBezTo>
                    <a:cubicBezTo>
                      <a:pt x="234" y="400"/>
                      <a:pt x="224" y="406"/>
                      <a:pt x="245" y="409"/>
                    </a:cubicBezTo>
                    <a:cubicBezTo>
                      <a:pt x="254" y="413"/>
                      <a:pt x="266" y="407"/>
                      <a:pt x="275" y="412"/>
                    </a:cubicBezTo>
                    <a:cubicBezTo>
                      <a:pt x="279" y="415"/>
                      <a:pt x="275" y="422"/>
                      <a:pt x="277" y="427"/>
                    </a:cubicBezTo>
                    <a:cubicBezTo>
                      <a:pt x="278" y="429"/>
                      <a:pt x="279" y="429"/>
                      <a:pt x="281" y="430"/>
                    </a:cubicBezTo>
                    <a:cubicBezTo>
                      <a:pt x="284" y="431"/>
                      <a:pt x="286" y="431"/>
                      <a:pt x="289" y="432"/>
                    </a:cubicBezTo>
                    <a:cubicBezTo>
                      <a:pt x="290" y="435"/>
                      <a:pt x="298" y="442"/>
                      <a:pt x="298" y="450"/>
                    </a:cubicBezTo>
                    <a:cubicBezTo>
                      <a:pt x="298" y="458"/>
                      <a:pt x="294" y="467"/>
                      <a:pt x="287" y="478"/>
                    </a:cubicBezTo>
                    <a:cubicBezTo>
                      <a:pt x="281" y="486"/>
                      <a:pt x="264" y="506"/>
                      <a:pt x="256" y="517"/>
                    </a:cubicBezTo>
                    <a:cubicBezTo>
                      <a:pt x="255" y="523"/>
                      <a:pt x="250" y="526"/>
                      <a:pt x="253" y="532"/>
                    </a:cubicBezTo>
                    <a:cubicBezTo>
                      <a:pt x="254" y="535"/>
                      <a:pt x="284" y="561"/>
                      <a:pt x="289" y="564"/>
                    </a:cubicBezTo>
                    <a:cubicBezTo>
                      <a:pt x="293" y="569"/>
                      <a:pt x="298" y="572"/>
                      <a:pt x="302" y="577"/>
                    </a:cubicBez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57" name="Freeform 412">
                <a:extLst>
                  <a:ext uri="{FF2B5EF4-FFF2-40B4-BE49-F238E27FC236}">
                    <a16:creationId xmlns:a16="http://schemas.microsoft.com/office/drawing/2014/main" id="{4C5D1B91-76DB-4F9B-A963-7C6DC9DBE862}"/>
                  </a:ext>
                </a:extLst>
              </p:cNvPr>
              <p:cNvSpPr>
                <a:spLocks/>
              </p:cNvSpPr>
              <p:nvPr>
                <p:custDataLst>
                  <p:tags r:id="rId144"/>
                </p:custDataLst>
              </p:nvPr>
            </p:nvSpPr>
            <p:spPr bwMode="gray">
              <a:xfrm>
                <a:off x="2620017" y="4400986"/>
                <a:ext cx="287313" cy="431517"/>
              </a:xfrm>
              <a:custGeom>
                <a:avLst/>
                <a:gdLst>
                  <a:gd name="T0" fmla="*/ 20 w 189"/>
                  <a:gd name="T1" fmla="*/ 66 h 280"/>
                  <a:gd name="T2" fmla="*/ 17 w 189"/>
                  <a:gd name="T3" fmla="*/ 98 h 280"/>
                  <a:gd name="T4" fmla="*/ 31 w 189"/>
                  <a:gd name="T5" fmla="*/ 113 h 280"/>
                  <a:gd name="T6" fmla="*/ 40 w 189"/>
                  <a:gd name="T7" fmla="*/ 126 h 280"/>
                  <a:gd name="T8" fmla="*/ 52 w 189"/>
                  <a:gd name="T9" fmla="*/ 156 h 280"/>
                  <a:gd name="T10" fmla="*/ 58 w 189"/>
                  <a:gd name="T11" fmla="*/ 177 h 280"/>
                  <a:gd name="T12" fmla="*/ 79 w 189"/>
                  <a:gd name="T13" fmla="*/ 195 h 280"/>
                  <a:gd name="T14" fmla="*/ 85 w 189"/>
                  <a:gd name="T15" fmla="*/ 213 h 280"/>
                  <a:gd name="T16" fmla="*/ 109 w 189"/>
                  <a:gd name="T17" fmla="*/ 240 h 280"/>
                  <a:gd name="T18" fmla="*/ 124 w 189"/>
                  <a:gd name="T19" fmla="*/ 246 h 280"/>
                  <a:gd name="T20" fmla="*/ 148 w 189"/>
                  <a:gd name="T21" fmla="*/ 258 h 280"/>
                  <a:gd name="T22" fmla="*/ 163 w 189"/>
                  <a:gd name="T23" fmla="*/ 270 h 280"/>
                  <a:gd name="T24" fmla="*/ 182 w 189"/>
                  <a:gd name="T25" fmla="*/ 255 h 280"/>
                  <a:gd name="T26" fmla="*/ 187 w 189"/>
                  <a:gd name="T27" fmla="*/ 185 h 280"/>
                  <a:gd name="T28" fmla="*/ 167 w 189"/>
                  <a:gd name="T29" fmla="*/ 168 h 280"/>
                  <a:gd name="T30" fmla="*/ 142 w 189"/>
                  <a:gd name="T31" fmla="*/ 150 h 280"/>
                  <a:gd name="T32" fmla="*/ 130 w 189"/>
                  <a:gd name="T33" fmla="*/ 143 h 280"/>
                  <a:gd name="T34" fmla="*/ 119 w 189"/>
                  <a:gd name="T35" fmla="*/ 129 h 280"/>
                  <a:gd name="T36" fmla="*/ 127 w 189"/>
                  <a:gd name="T37" fmla="*/ 96 h 280"/>
                  <a:gd name="T38" fmla="*/ 142 w 189"/>
                  <a:gd name="T39" fmla="*/ 74 h 280"/>
                  <a:gd name="T40" fmla="*/ 163 w 189"/>
                  <a:gd name="T41" fmla="*/ 68 h 280"/>
                  <a:gd name="T42" fmla="*/ 175 w 189"/>
                  <a:gd name="T43" fmla="*/ 53 h 280"/>
                  <a:gd name="T44" fmla="*/ 136 w 189"/>
                  <a:gd name="T45" fmla="*/ 42 h 280"/>
                  <a:gd name="T46" fmla="*/ 104 w 189"/>
                  <a:gd name="T47" fmla="*/ 12 h 280"/>
                  <a:gd name="T48" fmla="*/ 82 w 189"/>
                  <a:gd name="T49" fmla="*/ 0 h 280"/>
                  <a:gd name="T50" fmla="*/ 94 w 189"/>
                  <a:gd name="T51" fmla="*/ 21 h 280"/>
                  <a:gd name="T52" fmla="*/ 80 w 189"/>
                  <a:gd name="T53" fmla="*/ 39 h 280"/>
                  <a:gd name="T54" fmla="*/ 62 w 189"/>
                  <a:gd name="T55" fmla="*/ 44 h 280"/>
                  <a:gd name="T56" fmla="*/ 50 w 189"/>
                  <a:gd name="T57" fmla="*/ 54 h 280"/>
                  <a:gd name="T58" fmla="*/ 38 w 189"/>
                  <a:gd name="T59" fmla="*/ 78 h 280"/>
                  <a:gd name="T60" fmla="*/ 14 w 189"/>
                  <a:gd name="T61" fmla="*/ 66 h 280"/>
                  <a:gd name="T62" fmla="*/ 20 w 189"/>
                  <a:gd name="T63" fmla="*/ 66 h 2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89" h="280">
                    <a:moveTo>
                      <a:pt x="20" y="66"/>
                    </a:moveTo>
                    <a:cubicBezTo>
                      <a:pt x="0" y="56"/>
                      <a:pt x="6" y="92"/>
                      <a:pt x="17" y="98"/>
                    </a:cubicBezTo>
                    <a:cubicBezTo>
                      <a:pt x="21" y="103"/>
                      <a:pt x="26" y="110"/>
                      <a:pt x="31" y="113"/>
                    </a:cubicBezTo>
                    <a:cubicBezTo>
                      <a:pt x="39" y="123"/>
                      <a:pt x="36" y="119"/>
                      <a:pt x="40" y="126"/>
                    </a:cubicBezTo>
                    <a:cubicBezTo>
                      <a:pt x="42" y="138"/>
                      <a:pt x="43" y="147"/>
                      <a:pt x="52" y="156"/>
                    </a:cubicBezTo>
                    <a:cubicBezTo>
                      <a:pt x="53" y="166"/>
                      <a:pt x="52" y="170"/>
                      <a:pt x="58" y="177"/>
                    </a:cubicBezTo>
                    <a:cubicBezTo>
                      <a:pt x="60" y="190"/>
                      <a:pt x="66" y="193"/>
                      <a:pt x="79" y="195"/>
                    </a:cubicBezTo>
                    <a:cubicBezTo>
                      <a:pt x="80" y="201"/>
                      <a:pt x="82" y="207"/>
                      <a:pt x="85" y="213"/>
                    </a:cubicBezTo>
                    <a:cubicBezTo>
                      <a:pt x="87" y="227"/>
                      <a:pt x="95" y="237"/>
                      <a:pt x="109" y="240"/>
                    </a:cubicBezTo>
                    <a:cubicBezTo>
                      <a:pt x="114" y="244"/>
                      <a:pt x="118" y="245"/>
                      <a:pt x="124" y="246"/>
                    </a:cubicBezTo>
                    <a:cubicBezTo>
                      <a:pt x="130" y="251"/>
                      <a:pt x="140" y="256"/>
                      <a:pt x="148" y="258"/>
                    </a:cubicBezTo>
                    <a:cubicBezTo>
                      <a:pt x="155" y="263"/>
                      <a:pt x="154" y="268"/>
                      <a:pt x="163" y="270"/>
                    </a:cubicBezTo>
                    <a:cubicBezTo>
                      <a:pt x="176" y="280"/>
                      <a:pt x="180" y="265"/>
                      <a:pt x="182" y="255"/>
                    </a:cubicBezTo>
                    <a:cubicBezTo>
                      <a:pt x="186" y="241"/>
                      <a:pt x="189" y="199"/>
                      <a:pt x="187" y="185"/>
                    </a:cubicBezTo>
                    <a:cubicBezTo>
                      <a:pt x="185" y="171"/>
                      <a:pt x="174" y="174"/>
                      <a:pt x="167" y="168"/>
                    </a:cubicBezTo>
                    <a:cubicBezTo>
                      <a:pt x="160" y="151"/>
                      <a:pt x="150" y="157"/>
                      <a:pt x="142" y="150"/>
                    </a:cubicBezTo>
                    <a:cubicBezTo>
                      <a:pt x="136" y="145"/>
                      <a:pt x="134" y="146"/>
                      <a:pt x="130" y="143"/>
                    </a:cubicBezTo>
                    <a:cubicBezTo>
                      <a:pt x="126" y="140"/>
                      <a:pt x="119" y="137"/>
                      <a:pt x="119" y="129"/>
                    </a:cubicBezTo>
                    <a:cubicBezTo>
                      <a:pt x="117" y="115"/>
                      <a:pt x="120" y="108"/>
                      <a:pt x="127" y="96"/>
                    </a:cubicBezTo>
                    <a:cubicBezTo>
                      <a:pt x="128" y="83"/>
                      <a:pt x="128" y="76"/>
                      <a:pt x="142" y="74"/>
                    </a:cubicBezTo>
                    <a:cubicBezTo>
                      <a:pt x="149" y="72"/>
                      <a:pt x="156" y="69"/>
                      <a:pt x="163" y="68"/>
                    </a:cubicBezTo>
                    <a:cubicBezTo>
                      <a:pt x="169" y="65"/>
                      <a:pt x="172" y="59"/>
                      <a:pt x="175" y="53"/>
                    </a:cubicBezTo>
                    <a:cubicBezTo>
                      <a:pt x="169" y="38"/>
                      <a:pt x="149" y="43"/>
                      <a:pt x="136" y="42"/>
                    </a:cubicBezTo>
                    <a:cubicBezTo>
                      <a:pt x="124" y="35"/>
                      <a:pt x="117" y="20"/>
                      <a:pt x="104" y="12"/>
                    </a:cubicBezTo>
                    <a:cubicBezTo>
                      <a:pt x="100" y="7"/>
                      <a:pt x="87" y="4"/>
                      <a:pt x="82" y="0"/>
                    </a:cubicBezTo>
                    <a:cubicBezTo>
                      <a:pt x="79" y="2"/>
                      <a:pt x="94" y="15"/>
                      <a:pt x="94" y="21"/>
                    </a:cubicBezTo>
                    <a:cubicBezTo>
                      <a:pt x="94" y="27"/>
                      <a:pt x="85" y="35"/>
                      <a:pt x="80" y="39"/>
                    </a:cubicBezTo>
                    <a:cubicBezTo>
                      <a:pt x="74" y="42"/>
                      <a:pt x="68" y="42"/>
                      <a:pt x="62" y="44"/>
                    </a:cubicBezTo>
                    <a:cubicBezTo>
                      <a:pt x="57" y="47"/>
                      <a:pt x="55" y="51"/>
                      <a:pt x="50" y="54"/>
                    </a:cubicBezTo>
                    <a:cubicBezTo>
                      <a:pt x="48" y="62"/>
                      <a:pt x="45" y="77"/>
                      <a:pt x="38" y="78"/>
                    </a:cubicBezTo>
                    <a:cubicBezTo>
                      <a:pt x="35" y="77"/>
                      <a:pt x="14" y="67"/>
                      <a:pt x="14" y="66"/>
                    </a:cubicBezTo>
                    <a:cubicBezTo>
                      <a:pt x="15" y="64"/>
                      <a:pt x="18" y="66"/>
                      <a:pt x="20" y="66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58" name="Freeform 413">
                <a:extLst>
                  <a:ext uri="{FF2B5EF4-FFF2-40B4-BE49-F238E27FC236}">
                    <a16:creationId xmlns:a16="http://schemas.microsoft.com/office/drawing/2014/main" id="{3074CEE2-738F-46FD-8195-A57CBF0BE8B1}"/>
                  </a:ext>
                </a:extLst>
              </p:cNvPr>
              <p:cNvSpPr>
                <a:spLocks/>
              </p:cNvSpPr>
              <p:nvPr>
                <p:custDataLst>
                  <p:tags r:id="rId145"/>
                </p:custDataLst>
              </p:nvPr>
            </p:nvSpPr>
            <p:spPr bwMode="gray">
              <a:xfrm>
                <a:off x="2631865" y="4382493"/>
                <a:ext cx="125885" cy="143326"/>
              </a:xfrm>
              <a:custGeom>
                <a:avLst/>
                <a:gdLst>
                  <a:gd name="T0" fmla="*/ 30 w 84"/>
                  <a:gd name="T1" fmla="*/ 0 h 94"/>
                  <a:gd name="T2" fmla="*/ 12 w 84"/>
                  <a:gd name="T3" fmla="*/ 18 h 94"/>
                  <a:gd name="T4" fmla="*/ 4 w 84"/>
                  <a:gd name="T5" fmla="*/ 38 h 94"/>
                  <a:gd name="T6" fmla="*/ 19 w 84"/>
                  <a:gd name="T7" fmla="*/ 51 h 94"/>
                  <a:gd name="T8" fmla="*/ 16 w 84"/>
                  <a:gd name="T9" fmla="*/ 74 h 94"/>
                  <a:gd name="T10" fmla="*/ 19 w 84"/>
                  <a:gd name="T11" fmla="*/ 84 h 94"/>
                  <a:gd name="T12" fmla="*/ 36 w 84"/>
                  <a:gd name="T13" fmla="*/ 87 h 94"/>
                  <a:gd name="T14" fmla="*/ 42 w 84"/>
                  <a:gd name="T15" fmla="*/ 72 h 94"/>
                  <a:gd name="T16" fmla="*/ 72 w 84"/>
                  <a:gd name="T17" fmla="*/ 50 h 94"/>
                  <a:gd name="T18" fmla="*/ 84 w 84"/>
                  <a:gd name="T19" fmla="*/ 35 h 94"/>
                  <a:gd name="T20" fmla="*/ 51 w 84"/>
                  <a:gd name="T21" fmla="*/ 0 h 94"/>
                  <a:gd name="T22" fmla="*/ 30 w 84"/>
                  <a:gd name="T23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84" h="94">
                    <a:moveTo>
                      <a:pt x="30" y="0"/>
                    </a:moveTo>
                    <a:cubicBezTo>
                      <a:pt x="20" y="4"/>
                      <a:pt x="20" y="12"/>
                      <a:pt x="12" y="18"/>
                    </a:cubicBezTo>
                    <a:cubicBezTo>
                      <a:pt x="9" y="25"/>
                      <a:pt x="7" y="31"/>
                      <a:pt x="4" y="38"/>
                    </a:cubicBezTo>
                    <a:cubicBezTo>
                      <a:pt x="0" y="61"/>
                      <a:pt x="4" y="62"/>
                      <a:pt x="19" y="51"/>
                    </a:cubicBezTo>
                    <a:cubicBezTo>
                      <a:pt x="22" y="59"/>
                      <a:pt x="20" y="67"/>
                      <a:pt x="16" y="74"/>
                    </a:cubicBezTo>
                    <a:cubicBezTo>
                      <a:pt x="14" y="84"/>
                      <a:pt x="12" y="79"/>
                      <a:pt x="19" y="84"/>
                    </a:cubicBezTo>
                    <a:cubicBezTo>
                      <a:pt x="21" y="89"/>
                      <a:pt x="27" y="94"/>
                      <a:pt x="36" y="87"/>
                    </a:cubicBezTo>
                    <a:cubicBezTo>
                      <a:pt x="37" y="87"/>
                      <a:pt x="41" y="74"/>
                      <a:pt x="42" y="72"/>
                    </a:cubicBezTo>
                    <a:cubicBezTo>
                      <a:pt x="49" y="62"/>
                      <a:pt x="60" y="52"/>
                      <a:pt x="72" y="50"/>
                    </a:cubicBezTo>
                    <a:cubicBezTo>
                      <a:pt x="79" y="47"/>
                      <a:pt x="80" y="41"/>
                      <a:pt x="84" y="35"/>
                    </a:cubicBezTo>
                    <a:cubicBezTo>
                      <a:pt x="81" y="17"/>
                      <a:pt x="66" y="8"/>
                      <a:pt x="51" y="0"/>
                    </a:cubicBezTo>
                    <a:cubicBezTo>
                      <a:pt x="47" y="1"/>
                      <a:pt x="32" y="6"/>
                      <a:pt x="30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59" name="Freeform 414">
                <a:extLst>
                  <a:ext uri="{FF2B5EF4-FFF2-40B4-BE49-F238E27FC236}">
                    <a16:creationId xmlns:a16="http://schemas.microsoft.com/office/drawing/2014/main" id="{B5314EC1-036E-45AA-888B-B459DF3531D4}"/>
                  </a:ext>
                </a:extLst>
              </p:cNvPr>
              <p:cNvSpPr>
                <a:spLocks/>
              </p:cNvSpPr>
              <p:nvPr>
                <p:custDataLst>
                  <p:tags r:id="rId146"/>
                </p:custDataLst>
              </p:nvPr>
            </p:nvSpPr>
            <p:spPr bwMode="gray">
              <a:xfrm>
                <a:off x="3142809" y="5116071"/>
                <a:ext cx="122923" cy="130997"/>
              </a:xfrm>
              <a:custGeom>
                <a:avLst/>
                <a:gdLst>
                  <a:gd name="T0" fmla="*/ 23 w 82"/>
                  <a:gd name="T1" fmla="*/ 0 h 84"/>
                  <a:gd name="T2" fmla="*/ 59 w 82"/>
                  <a:gd name="T3" fmla="*/ 30 h 84"/>
                  <a:gd name="T4" fmla="*/ 67 w 82"/>
                  <a:gd name="T5" fmla="*/ 38 h 84"/>
                  <a:gd name="T6" fmla="*/ 76 w 82"/>
                  <a:gd name="T7" fmla="*/ 51 h 84"/>
                  <a:gd name="T8" fmla="*/ 58 w 82"/>
                  <a:gd name="T9" fmla="*/ 84 h 84"/>
                  <a:gd name="T10" fmla="*/ 26 w 82"/>
                  <a:gd name="T11" fmla="*/ 83 h 84"/>
                  <a:gd name="T12" fmla="*/ 5 w 82"/>
                  <a:gd name="T13" fmla="*/ 74 h 84"/>
                  <a:gd name="T14" fmla="*/ 2 w 82"/>
                  <a:gd name="T15" fmla="*/ 48 h 84"/>
                  <a:gd name="T16" fmla="*/ 4 w 82"/>
                  <a:gd name="T17" fmla="*/ 20 h 84"/>
                  <a:gd name="T18" fmla="*/ 23 w 82"/>
                  <a:gd name="T19" fmla="*/ 0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82" h="84">
                    <a:moveTo>
                      <a:pt x="23" y="0"/>
                    </a:moveTo>
                    <a:cubicBezTo>
                      <a:pt x="31" y="10"/>
                      <a:pt x="48" y="23"/>
                      <a:pt x="59" y="30"/>
                    </a:cubicBezTo>
                    <a:cubicBezTo>
                      <a:pt x="64" y="36"/>
                      <a:pt x="61" y="34"/>
                      <a:pt x="67" y="38"/>
                    </a:cubicBezTo>
                    <a:cubicBezTo>
                      <a:pt x="71" y="45"/>
                      <a:pt x="72" y="44"/>
                      <a:pt x="76" y="51"/>
                    </a:cubicBezTo>
                    <a:cubicBezTo>
                      <a:pt x="80" y="77"/>
                      <a:pt x="82" y="82"/>
                      <a:pt x="58" y="84"/>
                    </a:cubicBezTo>
                    <a:cubicBezTo>
                      <a:pt x="47" y="84"/>
                      <a:pt x="37" y="84"/>
                      <a:pt x="26" y="83"/>
                    </a:cubicBezTo>
                    <a:cubicBezTo>
                      <a:pt x="19" y="82"/>
                      <a:pt x="13" y="75"/>
                      <a:pt x="5" y="74"/>
                    </a:cubicBezTo>
                    <a:cubicBezTo>
                      <a:pt x="0" y="67"/>
                      <a:pt x="2" y="57"/>
                      <a:pt x="2" y="48"/>
                    </a:cubicBezTo>
                    <a:cubicBezTo>
                      <a:pt x="2" y="39"/>
                      <a:pt x="1" y="28"/>
                      <a:pt x="4" y="20"/>
                    </a:cubicBezTo>
                    <a:cubicBezTo>
                      <a:pt x="7" y="12"/>
                      <a:pt x="20" y="4"/>
                      <a:pt x="23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60" name="Freeform 416">
                <a:extLst>
                  <a:ext uri="{FF2B5EF4-FFF2-40B4-BE49-F238E27FC236}">
                    <a16:creationId xmlns:a16="http://schemas.microsoft.com/office/drawing/2014/main" id="{E49F937A-7DEB-4B11-B513-113D508D63A8}"/>
                  </a:ext>
                </a:extLst>
              </p:cNvPr>
              <p:cNvSpPr>
                <a:spLocks/>
              </p:cNvSpPr>
              <p:nvPr>
                <p:custDataLst>
                  <p:tags r:id="rId147"/>
                </p:custDataLst>
              </p:nvPr>
            </p:nvSpPr>
            <p:spPr bwMode="gray">
              <a:xfrm>
                <a:off x="2383057" y="3981798"/>
                <a:ext cx="85898" cy="106339"/>
              </a:xfrm>
              <a:custGeom>
                <a:avLst/>
                <a:gdLst>
                  <a:gd name="T0" fmla="*/ 1 w 57"/>
                  <a:gd name="T1" fmla="*/ 58 h 69"/>
                  <a:gd name="T2" fmla="*/ 15 w 57"/>
                  <a:gd name="T3" fmla="*/ 68 h 69"/>
                  <a:gd name="T4" fmla="*/ 34 w 57"/>
                  <a:gd name="T5" fmla="*/ 65 h 69"/>
                  <a:gd name="T6" fmla="*/ 52 w 57"/>
                  <a:gd name="T7" fmla="*/ 49 h 69"/>
                  <a:gd name="T8" fmla="*/ 46 w 57"/>
                  <a:gd name="T9" fmla="*/ 40 h 69"/>
                  <a:gd name="T10" fmla="*/ 52 w 57"/>
                  <a:gd name="T11" fmla="*/ 20 h 69"/>
                  <a:gd name="T12" fmla="*/ 57 w 57"/>
                  <a:gd name="T13" fmla="*/ 2 h 69"/>
                  <a:gd name="T14" fmla="*/ 49 w 57"/>
                  <a:gd name="T15" fmla="*/ 7 h 69"/>
                  <a:gd name="T16" fmla="*/ 25 w 57"/>
                  <a:gd name="T17" fmla="*/ 7 h 69"/>
                  <a:gd name="T18" fmla="*/ 27 w 57"/>
                  <a:gd name="T19" fmla="*/ 22 h 69"/>
                  <a:gd name="T20" fmla="*/ 37 w 57"/>
                  <a:gd name="T21" fmla="*/ 34 h 69"/>
                  <a:gd name="T22" fmla="*/ 15 w 57"/>
                  <a:gd name="T23" fmla="*/ 35 h 69"/>
                  <a:gd name="T24" fmla="*/ 6 w 57"/>
                  <a:gd name="T25" fmla="*/ 46 h 69"/>
                  <a:gd name="T26" fmla="*/ 1 w 57"/>
                  <a:gd name="T27" fmla="*/ 58 h 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57" h="69">
                    <a:moveTo>
                      <a:pt x="1" y="58"/>
                    </a:moveTo>
                    <a:cubicBezTo>
                      <a:pt x="2" y="62"/>
                      <a:pt x="10" y="67"/>
                      <a:pt x="15" y="68"/>
                    </a:cubicBezTo>
                    <a:cubicBezTo>
                      <a:pt x="20" y="69"/>
                      <a:pt x="28" y="68"/>
                      <a:pt x="34" y="65"/>
                    </a:cubicBezTo>
                    <a:cubicBezTo>
                      <a:pt x="40" y="62"/>
                      <a:pt x="50" y="53"/>
                      <a:pt x="52" y="49"/>
                    </a:cubicBezTo>
                    <a:cubicBezTo>
                      <a:pt x="54" y="45"/>
                      <a:pt x="46" y="45"/>
                      <a:pt x="46" y="40"/>
                    </a:cubicBezTo>
                    <a:cubicBezTo>
                      <a:pt x="46" y="35"/>
                      <a:pt x="50" y="26"/>
                      <a:pt x="52" y="20"/>
                    </a:cubicBezTo>
                    <a:cubicBezTo>
                      <a:pt x="54" y="14"/>
                      <a:pt x="57" y="4"/>
                      <a:pt x="57" y="2"/>
                    </a:cubicBezTo>
                    <a:cubicBezTo>
                      <a:pt x="57" y="0"/>
                      <a:pt x="54" y="6"/>
                      <a:pt x="49" y="7"/>
                    </a:cubicBezTo>
                    <a:cubicBezTo>
                      <a:pt x="44" y="8"/>
                      <a:pt x="29" y="5"/>
                      <a:pt x="25" y="7"/>
                    </a:cubicBezTo>
                    <a:cubicBezTo>
                      <a:pt x="21" y="9"/>
                      <a:pt x="25" y="18"/>
                      <a:pt x="27" y="22"/>
                    </a:cubicBezTo>
                    <a:cubicBezTo>
                      <a:pt x="29" y="26"/>
                      <a:pt x="39" y="32"/>
                      <a:pt x="37" y="34"/>
                    </a:cubicBezTo>
                    <a:cubicBezTo>
                      <a:pt x="35" y="36"/>
                      <a:pt x="20" y="33"/>
                      <a:pt x="15" y="35"/>
                    </a:cubicBezTo>
                    <a:cubicBezTo>
                      <a:pt x="10" y="37"/>
                      <a:pt x="8" y="42"/>
                      <a:pt x="6" y="46"/>
                    </a:cubicBezTo>
                    <a:cubicBezTo>
                      <a:pt x="4" y="50"/>
                      <a:pt x="0" y="54"/>
                      <a:pt x="1" y="5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61" name="Freeform 417">
                <a:extLst>
                  <a:ext uri="{FF2B5EF4-FFF2-40B4-BE49-F238E27FC236}">
                    <a16:creationId xmlns:a16="http://schemas.microsoft.com/office/drawing/2014/main" id="{D470B49E-F6D1-44B4-8367-8FE48E6F7FA0}"/>
                  </a:ext>
                </a:extLst>
              </p:cNvPr>
              <p:cNvSpPr>
                <a:spLocks/>
              </p:cNvSpPr>
              <p:nvPr>
                <p:custDataLst>
                  <p:tags r:id="rId148"/>
                </p:custDataLst>
              </p:nvPr>
            </p:nvSpPr>
            <p:spPr bwMode="gray">
              <a:xfrm>
                <a:off x="2455626" y="4024950"/>
                <a:ext cx="134771" cy="81680"/>
              </a:xfrm>
              <a:custGeom>
                <a:avLst/>
                <a:gdLst>
                  <a:gd name="T0" fmla="*/ 3 w 89"/>
                  <a:gd name="T1" fmla="*/ 34 h 53"/>
                  <a:gd name="T2" fmla="*/ 18 w 89"/>
                  <a:gd name="T3" fmla="*/ 42 h 53"/>
                  <a:gd name="T4" fmla="*/ 25 w 89"/>
                  <a:gd name="T5" fmla="*/ 52 h 53"/>
                  <a:gd name="T6" fmla="*/ 46 w 89"/>
                  <a:gd name="T7" fmla="*/ 39 h 53"/>
                  <a:gd name="T8" fmla="*/ 66 w 89"/>
                  <a:gd name="T9" fmla="*/ 30 h 53"/>
                  <a:gd name="T10" fmla="*/ 87 w 89"/>
                  <a:gd name="T11" fmla="*/ 28 h 53"/>
                  <a:gd name="T12" fmla="*/ 78 w 89"/>
                  <a:gd name="T13" fmla="*/ 7 h 53"/>
                  <a:gd name="T14" fmla="*/ 63 w 89"/>
                  <a:gd name="T15" fmla="*/ 7 h 53"/>
                  <a:gd name="T16" fmla="*/ 40 w 89"/>
                  <a:gd name="T17" fmla="*/ 1 h 53"/>
                  <a:gd name="T18" fmla="*/ 24 w 89"/>
                  <a:gd name="T19" fmla="*/ 12 h 53"/>
                  <a:gd name="T20" fmla="*/ 9 w 89"/>
                  <a:gd name="T21" fmla="*/ 12 h 53"/>
                  <a:gd name="T22" fmla="*/ 1 w 89"/>
                  <a:gd name="T23" fmla="*/ 22 h 53"/>
                  <a:gd name="T24" fmla="*/ 3 w 89"/>
                  <a:gd name="T25" fmla="*/ 34 h 5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89" h="53">
                    <a:moveTo>
                      <a:pt x="3" y="34"/>
                    </a:moveTo>
                    <a:cubicBezTo>
                      <a:pt x="6" y="37"/>
                      <a:pt x="14" y="39"/>
                      <a:pt x="18" y="42"/>
                    </a:cubicBezTo>
                    <a:cubicBezTo>
                      <a:pt x="22" y="45"/>
                      <a:pt x="20" y="53"/>
                      <a:pt x="25" y="52"/>
                    </a:cubicBezTo>
                    <a:cubicBezTo>
                      <a:pt x="30" y="51"/>
                      <a:pt x="39" y="43"/>
                      <a:pt x="46" y="39"/>
                    </a:cubicBezTo>
                    <a:cubicBezTo>
                      <a:pt x="53" y="35"/>
                      <a:pt x="59" y="32"/>
                      <a:pt x="66" y="30"/>
                    </a:cubicBezTo>
                    <a:cubicBezTo>
                      <a:pt x="73" y="28"/>
                      <a:pt x="85" y="32"/>
                      <a:pt x="87" y="28"/>
                    </a:cubicBezTo>
                    <a:cubicBezTo>
                      <a:pt x="89" y="24"/>
                      <a:pt x="82" y="10"/>
                      <a:pt x="78" y="7"/>
                    </a:cubicBezTo>
                    <a:cubicBezTo>
                      <a:pt x="74" y="4"/>
                      <a:pt x="69" y="8"/>
                      <a:pt x="63" y="7"/>
                    </a:cubicBezTo>
                    <a:cubicBezTo>
                      <a:pt x="57" y="6"/>
                      <a:pt x="46" y="0"/>
                      <a:pt x="40" y="1"/>
                    </a:cubicBezTo>
                    <a:cubicBezTo>
                      <a:pt x="34" y="2"/>
                      <a:pt x="29" y="10"/>
                      <a:pt x="24" y="12"/>
                    </a:cubicBezTo>
                    <a:cubicBezTo>
                      <a:pt x="19" y="14"/>
                      <a:pt x="13" y="10"/>
                      <a:pt x="9" y="12"/>
                    </a:cubicBezTo>
                    <a:cubicBezTo>
                      <a:pt x="5" y="14"/>
                      <a:pt x="2" y="18"/>
                      <a:pt x="1" y="22"/>
                    </a:cubicBezTo>
                    <a:cubicBezTo>
                      <a:pt x="0" y="26"/>
                      <a:pt x="1" y="30"/>
                      <a:pt x="3" y="34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62" name="Freeform 418">
                <a:extLst>
                  <a:ext uri="{FF2B5EF4-FFF2-40B4-BE49-F238E27FC236}">
                    <a16:creationId xmlns:a16="http://schemas.microsoft.com/office/drawing/2014/main" id="{5D5F5D20-7465-4FAD-89B7-9D6581D6EA92}"/>
                  </a:ext>
                </a:extLst>
              </p:cNvPr>
              <p:cNvSpPr>
                <a:spLocks/>
              </p:cNvSpPr>
              <p:nvPr>
                <p:custDataLst>
                  <p:tags r:id="rId149"/>
                </p:custDataLst>
              </p:nvPr>
            </p:nvSpPr>
            <p:spPr bwMode="gray">
              <a:xfrm>
                <a:off x="2421563" y="4075807"/>
                <a:ext cx="75531" cy="52398"/>
              </a:xfrm>
              <a:custGeom>
                <a:avLst/>
                <a:gdLst>
                  <a:gd name="T0" fmla="*/ 13 w 50"/>
                  <a:gd name="T1" fmla="*/ 0 h 34"/>
                  <a:gd name="T2" fmla="*/ 1 w 50"/>
                  <a:gd name="T3" fmla="*/ 16 h 34"/>
                  <a:gd name="T4" fmla="*/ 10 w 50"/>
                  <a:gd name="T5" fmla="*/ 24 h 34"/>
                  <a:gd name="T6" fmla="*/ 32 w 50"/>
                  <a:gd name="T7" fmla="*/ 27 h 34"/>
                  <a:gd name="T8" fmla="*/ 44 w 50"/>
                  <a:gd name="T9" fmla="*/ 33 h 34"/>
                  <a:gd name="T10" fmla="*/ 49 w 50"/>
                  <a:gd name="T11" fmla="*/ 22 h 34"/>
                  <a:gd name="T12" fmla="*/ 38 w 50"/>
                  <a:gd name="T13" fmla="*/ 12 h 34"/>
                  <a:gd name="T14" fmla="*/ 31 w 50"/>
                  <a:gd name="T15" fmla="*/ 3 h 34"/>
                  <a:gd name="T16" fmla="*/ 15 w 50"/>
                  <a:gd name="T17" fmla="*/ 1 h 3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0" h="34">
                    <a:moveTo>
                      <a:pt x="13" y="0"/>
                    </a:moveTo>
                    <a:cubicBezTo>
                      <a:pt x="11" y="3"/>
                      <a:pt x="2" y="12"/>
                      <a:pt x="1" y="16"/>
                    </a:cubicBezTo>
                    <a:cubicBezTo>
                      <a:pt x="0" y="20"/>
                      <a:pt x="5" y="22"/>
                      <a:pt x="10" y="24"/>
                    </a:cubicBezTo>
                    <a:cubicBezTo>
                      <a:pt x="15" y="26"/>
                      <a:pt x="26" y="26"/>
                      <a:pt x="32" y="27"/>
                    </a:cubicBezTo>
                    <a:cubicBezTo>
                      <a:pt x="38" y="28"/>
                      <a:pt x="41" y="34"/>
                      <a:pt x="44" y="33"/>
                    </a:cubicBezTo>
                    <a:cubicBezTo>
                      <a:pt x="47" y="32"/>
                      <a:pt x="50" y="26"/>
                      <a:pt x="49" y="22"/>
                    </a:cubicBezTo>
                    <a:cubicBezTo>
                      <a:pt x="48" y="18"/>
                      <a:pt x="41" y="15"/>
                      <a:pt x="38" y="12"/>
                    </a:cubicBezTo>
                    <a:cubicBezTo>
                      <a:pt x="35" y="9"/>
                      <a:pt x="35" y="5"/>
                      <a:pt x="31" y="3"/>
                    </a:cubicBezTo>
                    <a:cubicBezTo>
                      <a:pt x="27" y="1"/>
                      <a:pt x="18" y="2"/>
                      <a:pt x="15" y="1"/>
                    </a:cubicBez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63" name="Freeform 419">
                <a:extLst>
                  <a:ext uri="{FF2B5EF4-FFF2-40B4-BE49-F238E27FC236}">
                    <a16:creationId xmlns:a16="http://schemas.microsoft.com/office/drawing/2014/main" id="{A13956BC-734C-437B-8ABD-681C56F5A797}"/>
                  </a:ext>
                </a:extLst>
              </p:cNvPr>
              <p:cNvSpPr>
                <a:spLocks/>
              </p:cNvSpPr>
              <p:nvPr>
                <p:custDataLst>
                  <p:tags r:id="rId150"/>
                </p:custDataLst>
              </p:nvPr>
            </p:nvSpPr>
            <p:spPr bwMode="gray">
              <a:xfrm>
                <a:off x="2488208" y="4065020"/>
                <a:ext cx="102189" cy="103256"/>
              </a:xfrm>
              <a:custGeom>
                <a:avLst/>
                <a:gdLst>
                  <a:gd name="T0" fmla="*/ 3 w 67"/>
                  <a:gd name="T1" fmla="*/ 35 h 67"/>
                  <a:gd name="T2" fmla="*/ 18 w 67"/>
                  <a:gd name="T3" fmla="*/ 50 h 67"/>
                  <a:gd name="T4" fmla="*/ 26 w 67"/>
                  <a:gd name="T5" fmla="*/ 58 h 67"/>
                  <a:gd name="T6" fmla="*/ 26 w 67"/>
                  <a:gd name="T7" fmla="*/ 55 h 67"/>
                  <a:gd name="T8" fmla="*/ 42 w 67"/>
                  <a:gd name="T9" fmla="*/ 65 h 67"/>
                  <a:gd name="T10" fmla="*/ 60 w 67"/>
                  <a:gd name="T11" fmla="*/ 59 h 67"/>
                  <a:gd name="T12" fmla="*/ 62 w 67"/>
                  <a:gd name="T13" fmla="*/ 16 h 67"/>
                  <a:gd name="T14" fmla="*/ 62 w 67"/>
                  <a:gd name="T15" fmla="*/ 1 h 67"/>
                  <a:gd name="T16" fmla="*/ 33 w 67"/>
                  <a:gd name="T17" fmla="*/ 8 h 67"/>
                  <a:gd name="T18" fmla="*/ 3 w 67"/>
                  <a:gd name="T19" fmla="*/ 35 h 6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7" h="67">
                    <a:moveTo>
                      <a:pt x="3" y="35"/>
                    </a:moveTo>
                    <a:cubicBezTo>
                      <a:pt x="0" y="42"/>
                      <a:pt x="14" y="46"/>
                      <a:pt x="18" y="50"/>
                    </a:cubicBezTo>
                    <a:cubicBezTo>
                      <a:pt x="22" y="54"/>
                      <a:pt x="25" y="57"/>
                      <a:pt x="26" y="58"/>
                    </a:cubicBezTo>
                    <a:cubicBezTo>
                      <a:pt x="27" y="59"/>
                      <a:pt x="23" y="54"/>
                      <a:pt x="26" y="55"/>
                    </a:cubicBezTo>
                    <a:cubicBezTo>
                      <a:pt x="29" y="56"/>
                      <a:pt x="36" y="64"/>
                      <a:pt x="42" y="65"/>
                    </a:cubicBezTo>
                    <a:cubicBezTo>
                      <a:pt x="48" y="66"/>
                      <a:pt x="57" y="67"/>
                      <a:pt x="60" y="59"/>
                    </a:cubicBezTo>
                    <a:cubicBezTo>
                      <a:pt x="63" y="51"/>
                      <a:pt x="62" y="26"/>
                      <a:pt x="62" y="16"/>
                    </a:cubicBezTo>
                    <a:cubicBezTo>
                      <a:pt x="62" y="6"/>
                      <a:pt x="67" y="2"/>
                      <a:pt x="62" y="1"/>
                    </a:cubicBezTo>
                    <a:cubicBezTo>
                      <a:pt x="57" y="0"/>
                      <a:pt x="43" y="3"/>
                      <a:pt x="33" y="8"/>
                    </a:cubicBezTo>
                    <a:cubicBezTo>
                      <a:pt x="23" y="13"/>
                      <a:pt x="6" y="28"/>
                      <a:pt x="3" y="3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64" name="Freeform 420">
                <a:extLst>
                  <a:ext uri="{FF2B5EF4-FFF2-40B4-BE49-F238E27FC236}">
                    <a16:creationId xmlns:a16="http://schemas.microsoft.com/office/drawing/2014/main" id="{31CD4436-04A8-406B-882A-D23545E39CD0}"/>
                  </a:ext>
                </a:extLst>
              </p:cNvPr>
              <p:cNvSpPr>
                <a:spLocks/>
              </p:cNvSpPr>
              <p:nvPr>
                <p:custDataLst>
                  <p:tags r:id="rId151"/>
                </p:custDataLst>
              </p:nvPr>
            </p:nvSpPr>
            <p:spPr bwMode="gray">
              <a:xfrm>
                <a:off x="2551891" y="3864672"/>
                <a:ext cx="231036" cy="84763"/>
              </a:xfrm>
              <a:custGeom>
                <a:avLst/>
                <a:gdLst>
                  <a:gd name="T0" fmla="*/ 0 w 152"/>
                  <a:gd name="T1" fmla="*/ 19 h 56"/>
                  <a:gd name="T2" fmla="*/ 12 w 152"/>
                  <a:gd name="T3" fmla="*/ 9 h 56"/>
                  <a:gd name="T4" fmla="*/ 23 w 152"/>
                  <a:gd name="T5" fmla="*/ 0 h 56"/>
                  <a:gd name="T6" fmla="*/ 92 w 152"/>
                  <a:gd name="T7" fmla="*/ 4 h 56"/>
                  <a:gd name="T8" fmla="*/ 110 w 152"/>
                  <a:gd name="T9" fmla="*/ 13 h 56"/>
                  <a:gd name="T10" fmla="*/ 128 w 152"/>
                  <a:gd name="T11" fmla="*/ 21 h 56"/>
                  <a:gd name="T12" fmla="*/ 143 w 152"/>
                  <a:gd name="T13" fmla="*/ 31 h 56"/>
                  <a:gd name="T14" fmla="*/ 152 w 152"/>
                  <a:gd name="T15" fmla="*/ 43 h 56"/>
                  <a:gd name="T16" fmla="*/ 143 w 152"/>
                  <a:gd name="T17" fmla="*/ 54 h 56"/>
                  <a:gd name="T18" fmla="*/ 93 w 152"/>
                  <a:gd name="T19" fmla="*/ 45 h 56"/>
                  <a:gd name="T20" fmla="*/ 51 w 152"/>
                  <a:gd name="T21" fmla="*/ 18 h 56"/>
                  <a:gd name="T22" fmla="*/ 24 w 152"/>
                  <a:gd name="T23" fmla="*/ 28 h 56"/>
                  <a:gd name="T24" fmla="*/ 15 w 152"/>
                  <a:gd name="T25" fmla="*/ 16 h 56"/>
                  <a:gd name="T26" fmla="*/ 0 w 152"/>
                  <a:gd name="T27" fmla="*/ 19 h 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152" h="56">
                    <a:moveTo>
                      <a:pt x="0" y="19"/>
                    </a:moveTo>
                    <a:cubicBezTo>
                      <a:pt x="5" y="16"/>
                      <a:pt x="7" y="12"/>
                      <a:pt x="12" y="9"/>
                    </a:cubicBezTo>
                    <a:cubicBezTo>
                      <a:pt x="15" y="3"/>
                      <a:pt x="16" y="1"/>
                      <a:pt x="23" y="0"/>
                    </a:cubicBezTo>
                    <a:cubicBezTo>
                      <a:pt x="57" y="1"/>
                      <a:pt x="66" y="2"/>
                      <a:pt x="92" y="4"/>
                    </a:cubicBezTo>
                    <a:cubicBezTo>
                      <a:pt x="98" y="7"/>
                      <a:pt x="104" y="9"/>
                      <a:pt x="110" y="13"/>
                    </a:cubicBezTo>
                    <a:cubicBezTo>
                      <a:pt x="115" y="20"/>
                      <a:pt x="120" y="18"/>
                      <a:pt x="128" y="21"/>
                    </a:cubicBezTo>
                    <a:cubicBezTo>
                      <a:pt x="129" y="29"/>
                      <a:pt x="135" y="29"/>
                      <a:pt x="143" y="31"/>
                    </a:cubicBezTo>
                    <a:cubicBezTo>
                      <a:pt x="148" y="35"/>
                      <a:pt x="149" y="38"/>
                      <a:pt x="152" y="43"/>
                    </a:cubicBezTo>
                    <a:cubicBezTo>
                      <a:pt x="149" y="48"/>
                      <a:pt x="148" y="51"/>
                      <a:pt x="143" y="54"/>
                    </a:cubicBezTo>
                    <a:cubicBezTo>
                      <a:pt x="113" y="52"/>
                      <a:pt x="112" y="56"/>
                      <a:pt x="93" y="45"/>
                    </a:cubicBezTo>
                    <a:cubicBezTo>
                      <a:pt x="89" y="38"/>
                      <a:pt x="61" y="20"/>
                      <a:pt x="51" y="18"/>
                    </a:cubicBezTo>
                    <a:cubicBezTo>
                      <a:pt x="27" y="20"/>
                      <a:pt x="39" y="25"/>
                      <a:pt x="24" y="28"/>
                    </a:cubicBezTo>
                    <a:cubicBezTo>
                      <a:pt x="19" y="24"/>
                      <a:pt x="17" y="22"/>
                      <a:pt x="15" y="16"/>
                    </a:cubicBezTo>
                    <a:cubicBezTo>
                      <a:pt x="11" y="18"/>
                      <a:pt x="3" y="22"/>
                      <a:pt x="0" y="1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65" name="Freeform 421">
                <a:extLst>
                  <a:ext uri="{FF2B5EF4-FFF2-40B4-BE49-F238E27FC236}">
                    <a16:creationId xmlns:a16="http://schemas.microsoft.com/office/drawing/2014/main" id="{7E70C4E2-C9D4-4170-BE9F-E4C942F07224}"/>
                  </a:ext>
                </a:extLst>
              </p:cNvPr>
              <p:cNvSpPr>
                <a:spLocks/>
              </p:cNvSpPr>
              <p:nvPr>
                <p:custDataLst>
                  <p:tags r:id="rId152"/>
                </p:custDataLst>
              </p:nvPr>
            </p:nvSpPr>
            <p:spPr bwMode="gray">
              <a:xfrm>
                <a:off x="2677776" y="3761416"/>
                <a:ext cx="182163" cy="154113"/>
              </a:xfrm>
              <a:custGeom>
                <a:avLst/>
                <a:gdLst>
                  <a:gd name="T0" fmla="*/ 3 w 121"/>
                  <a:gd name="T1" fmla="*/ 3 h 100"/>
                  <a:gd name="T2" fmla="*/ 27 w 121"/>
                  <a:gd name="T3" fmla="*/ 1 h 100"/>
                  <a:gd name="T4" fmla="*/ 34 w 121"/>
                  <a:gd name="T5" fmla="*/ 12 h 100"/>
                  <a:gd name="T6" fmla="*/ 31 w 121"/>
                  <a:gd name="T7" fmla="*/ 34 h 100"/>
                  <a:gd name="T8" fmla="*/ 40 w 121"/>
                  <a:gd name="T9" fmla="*/ 33 h 100"/>
                  <a:gd name="T10" fmla="*/ 45 w 121"/>
                  <a:gd name="T11" fmla="*/ 51 h 100"/>
                  <a:gd name="T12" fmla="*/ 63 w 121"/>
                  <a:gd name="T13" fmla="*/ 57 h 100"/>
                  <a:gd name="T14" fmla="*/ 81 w 121"/>
                  <a:gd name="T15" fmla="*/ 55 h 100"/>
                  <a:gd name="T16" fmla="*/ 76 w 121"/>
                  <a:gd name="T17" fmla="*/ 54 h 100"/>
                  <a:gd name="T18" fmla="*/ 93 w 121"/>
                  <a:gd name="T19" fmla="*/ 76 h 100"/>
                  <a:gd name="T20" fmla="*/ 115 w 121"/>
                  <a:gd name="T21" fmla="*/ 87 h 100"/>
                  <a:gd name="T22" fmla="*/ 109 w 121"/>
                  <a:gd name="T23" fmla="*/ 99 h 100"/>
                  <a:gd name="T24" fmla="*/ 85 w 121"/>
                  <a:gd name="T25" fmla="*/ 76 h 100"/>
                  <a:gd name="T26" fmla="*/ 73 w 121"/>
                  <a:gd name="T27" fmla="*/ 81 h 100"/>
                  <a:gd name="T28" fmla="*/ 42 w 121"/>
                  <a:gd name="T29" fmla="*/ 61 h 100"/>
                  <a:gd name="T30" fmla="*/ 31 w 121"/>
                  <a:gd name="T31" fmla="*/ 43 h 100"/>
                  <a:gd name="T32" fmla="*/ 21 w 121"/>
                  <a:gd name="T33" fmla="*/ 66 h 100"/>
                  <a:gd name="T34" fmla="*/ 9 w 121"/>
                  <a:gd name="T35" fmla="*/ 54 h 100"/>
                  <a:gd name="T36" fmla="*/ 16 w 121"/>
                  <a:gd name="T37" fmla="*/ 28 h 100"/>
                  <a:gd name="T38" fmla="*/ 0 w 121"/>
                  <a:gd name="T39" fmla="*/ 13 h 100"/>
                  <a:gd name="T40" fmla="*/ 3 w 121"/>
                  <a:gd name="T41" fmla="*/ 3 h 10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1" h="100">
                    <a:moveTo>
                      <a:pt x="3" y="3"/>
                    </a:moveTo>
                    <a:cubicBezTo>
                      <a:pt x="12" y="2"/>
                      <a:pt x="18" y="0"/>
                      <a:pt x="27" y="1"/>
                    </a:cubicBezTo>
                    <a:cubicBezTo>
                      <a:pt x="32" y="7"/>
                      <a:pt x="37" y="4"/>
                      <a:pt x="34" y="12"/>
                    </a:cubicBezTo>
                    <a:cubicBezTo>
                      <a:pt x="32" y="23"/>
                      <a:pt x="30" y="20"/>
                      <a:pt x="31" y="34"/>
                    </a:cubicBezTo>
                    <a:cubicBezTo>
                      <a:pt x="34" y="34"/>
                      <a:pt x="37" y="33"/>
                      <a:pt x="40" y="33"/>
                    </a:cubicBezTo>
                    <a:cubicBezTo>
                      <a:pt x="54" y="33"/>
                      <a:pt x="58" y="45"/>
                      <a:pt x="45" y="51"/>
                    </a:cubicBezTo>
                    <a:cubicBezTo>
                      <a:pt x="51" y="54"/>
                      <a:pt x="57" y="55"/>
                      <a:pt x="63" y="57"/>
                    </a:cubicBezTo>
                    <a:cubicBezTo>
                      <a:pt x="69" y="56"/>
                      <a:pt x="75" y="56"/>
                      <a:pt x="81" y="55"/>
                    </a:cubicBezTo>
                    <a:cubicBezTo>
                      <a:pt x="83" y="55"/>
                      <a:pt x="77" y="52"/>
                      <a:pt x="76" y="54"/>
                    </a:cubicBezTo>
                    <a:cubicBezTo>
                      <a:pt x="71" y="63"/>
                      <a:pt x="84" y="75"/>
                      <a:pt x="93" y="76"/>
                    </a:cubicBezTo>
                    <a:cubicBezTo>
                      <a:pt x="97" y="83"/>
                      <a:pt x="107" y="83"/>
                      <a:pt x="115" y="87"/>
                    </a:cubicBezTo>
                    <a:cubicBezTo>
                      <a:pt x="121" y="95"/>
                      <a:pt x="120" y="100"/>
                      <a:pt x="109" y="99"/>
                    </a:cubicBezTo>
                    <a:cubicBezTo>
                      <a:pt x="99" y="94"/>
                      <a:pt x="95" y="82"/>
                      <a:pt x="85" y="76"/>
                    </a:cubicBezTo>
                    <a:cubicBezTo>
                      <a:pt x="76" y="79"/>
                      <a:pt x="82" y="86"/>
                      <a:pt x="73" y="81"/>
                    </a:cubicBezTo>
                    <a:cubicBezTo>
                      <a:pt x="65" y="68"/>
                      <a:pt x="56" y="63"/>
                      <a:pt x="42" y="61"/>
                    </a:cubicBezTo>
                    <a:cubicBezTo>
                      <a:pt x="38" y="55"/>
                      <a:pt x="34" y="50"/>
                      <a:pt x="31" y="43"/>
                    </a:cubicBezTo>
                    <a:cubicBezTo>
                      <a:pt x="21" y="46"/>
                      <a:pt x="23" y="55"/>
                      <a:pt x="21" y="66"/>
                    </a:cubicBezTo>
                    <a:cubicBezTo>
                      <a:pt x="18" y="61"/>
                      <a:pt x="9" y="54"/>
                      <a:pt x="9" y="54"/>
                    </a:cubicBezTo>
                    <a:cubicBezTo>
                      <a:pt x="5" y="44"/>
                      <a:pt x="8" y="34"/>
                      <a:pt x="16" y="28"/>
                    </a:cubicBezTo>
                    <a:cubicBezTo>
                      <a:pt x="15" y="14"/>
                      <a:pt x="13" y="16"/>
                      <a:pt x="0" y="13"/>
                    </a:cubicBezTo>
                    <a:cubicBezTo>
                      <a:pt x="1" y="5"/>
                      <a:pt x="0" y="8"/>
                      <a:pt x="3" y="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66" name="Freeform 422">
                <a:extLst>
                  <a:ext uri="{FF2B5EF4-FFF2-40B4-BE49-F238E27FC236}">
                    <a16:creationId xmlns:a16="http://schemas.microsoft.com/office/drawing/2014/main" id="{60BF725C-F4DF-455E-962A-7F17A97132F6}"/>
                  </a:ext>
                </a:extLst>
              </p:cNvPr>
              <p:cNvSpPr>
                <a:spLocks/>
              </p:cNvSpPr>
              <p:nvPr>
                <p:custDataLst>
                  <p:tags r:id="rId153"/>
                </p:custDataLst>
              </p:nvPr>
            </p:nvSpPr>
            <p:spPr bwMode="gray">
              <a:xfrm>
                <a:off x="2698510" y="3975634"/>
                <a:ext cx="63683" cy="16953"/>
              </a:xfrm>
              <a:custGeom>
                <a:avLst/>
                <a:gdLst>
                  <a:gd name="T0" fmla="*/ 2 w 43"/>
                  <a:gd name="T1" fmla="*/ 5 h 11"/>
                  <a:gd name="T2" fmla="*/ 22 w 43"/>
                  <a:gd name="T3" fmla="*/ 2 h 11"/>
                  <a:gd name="T4" fmla="*/ 5 w 43"/>
                  <a:gd name="T5" fmla="*/ 6 h 11"/>
                  <a:gd name="T6" fmla="*/ 2 w 43"/>
                  <a:gd name="T7" fmla="*/ 5 h 1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43" h="11">
                    <a:moveTo>
                      <a:pt x="2" y="5"/>
                    </a:moveTo>
                    <a:cubicBezTo>
                      <a:pt x="11" y="0"/>
                      <a:pt x="10" y="0"/>
                      <a:pt x="22" y="2"/>
                    </a:cubicBezTo>
                    <a:cubicBezTo>
                      <a:pt x="34" y="11"/>
                      <a:pt x="43" y="9"/>
                      <a:pt x="5" y="6"/>
                    </a:cubicBezTo>
                    <a:cubicBezTo>
                      <a:pt x="0" y="3"/>
                      <a:pt x="0" y="2"/>
                      <a:pt x="2" y="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67" name="Freeform 423">
                <a:extLst>
                  <a:ext uri="{FF2B5EF4-FFF2-40B4-BE49-F238E27FC236}">
                    <a16:creationId xmlns:a16="http://schemas.microsoft.com/office/drawing/2014/main" id="{B25ABD8C-CE27-4331-8A4A-BDCDB802E7EB}"/>
                  </a:ext>
                </a:extLst>
              </p:cNvPr>
              <p:cNvSpPr>
                <a:spLocks/>
              </p:cNvSpPr>
              <p:nvPr>
                <p:custDataLst>
                  <p:tags r:id="rId154"/>
                </p:custDataLst>
              </p:nvPr>
            </p:nvSpPr>
            <p:spPr bwMode="gray">
              <a:xfrm>
                <a:off x="2839204" y="3934023"/>
                <a:ext cx="96265" cy="63187"/>
              </a:xfrm>
              <a:custGeom>
                <a:avLst/>
                <a:gdLst>
                  <a:gd name="T0" fmla="*/ 2 w 64"/>
                  <a:gd name="T1" fmla="*/ 3 h 41"/>
                  <a:gd name="T2" fmla="*/ 1 w 64"/>
                  <a:gd name="T3" fmla="*/ 18 h 41"/>
                  <a:gd name="T4" fmla="*/ 11 w 64"/>
                  <a:gd name="T5" fmla="*/ 38 h 41"/>
                  <a:gd name="T6" fmla="*/ 56 w 64"/>
                  <a:gd name="T7" fmla="*/ 36 h 41"/>
                  <a:gd name="T8" fmla="*/ 59 w 64"/>
                  <a:gd name="T9" fmla="*/ 32 h 41"/>
                  <a:gd name="T10" fmla="*/ 32 w 64"/>
                  <a:gd name="T11" fmla="*/ 5 h 41"/>
                  <a:gd name="T12" fmla="*/ 8 w 64"/>
                  <a:gd name="T13" fmla="*/ 2 h 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64" h="41">
                    <a:moveTo>
                      <a:pt x="2" y="3"/>
                    </a:moveTo>
                    <a:cubicBezTo>
                      <a:pt x="2" y="5"/>
                      <a:pt x="0" y="12"/>
                      <a:pt x="1" y="18"/>
                    </a:cubicBezTo>
                    <a:cubicBezTo>
                      <a:pt x="2" y="24"/>
                      <a:pt x="2" y="35"/>
                      <a:pt x="11" y="38"/>
                    </a:cubicBezTo>
                    <a:cubicBezTo>
                      <a:pt x="20" y="41"/>
                      <a:pt x="45" y="36"/>
                      <a:pt x="56" y="36"/>
                    </a:cubicBezTo>
                    <a:cubicBezTo>
                      <a:pt x="64" y="35"/>
                      <a:pt x="63" y="37"/>
                      <a:pt x="59" y="32"/>
                    </a:cubicBezTo>
                    <a:cubicBezTo>
                      <a:pt x="47" y="29"/>
                      <a:pt x="40" y="10"/>
                      <a:pt x="32" y="5"/>
                    </a:cubicBezTo>
                    <a:cubicBezTo>
                      <a:pt x="24" y="0"/>
                      <a:pt x="13" y="3"/>
                      <a:pt x="8" y="2"/>
                    </a:cubicBez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68" name="Freeform 424">
                <a:extLst>
                  <a:ext uri="{FF2B5EF4-FFF2-40B4-BE49-F238E27FC236}">
                    <a16:creationId xmlns:a16="http://schemas.microsoft.com/office/drawing/2014/main" id="{D134D4C7-40D4-4EB4-872E-96C6166F282E}"/>
                  </a:ext>
                </a:extLst>
              </p:cNvPr>
              <p:cNvSpPr>
                <a:spLocks/>
              </p:cNvSpPr>
              <p:nvPr>
                <p:custDataLst>
                  <p:tags r:id="rId155"/>
                </p:custDataLst>
              </p:nvPr>
            </p:nvSpPr>
            <p:spPr bwMode="gray">
              <a:xfrm>
                <a:off x="2747382" y="4815550"/>
                <a:ext cx="260656" cy="1146602"/>
              </a:xfrm>
              <a:custGeom>
                <a:avLst/>
                <a:gdLst>
                  <a:gd name="T0" fmla="*/ 80 w 172"/>
                  <a:gd name="T1" fmla="*/ 87 h 745"/>
                  <a:gd name="T2" fmla="*/ 71 w 172"/>
                  <a:gd name="T3" fmla="*/ 169 h 745"/>
                  <a:gd name="T4" fmla="*/ 65 w 172"/>
                  <a:gd name="T5" fmla="*/ 184 h 745"/>
                  <a:gd name="T6" fmla="*/ 65 w 172"/>
                  <a:gd name="T7" fmla="*/ 217 h 745"/>
                  <a:gd name="T8" fmla="*/ 53 w 172"/>
                  <a:gd name="T9" fmla="*/ 291 h 745"/>
                  <a:gd name="T10" fmla="*/ 34 w 172"/>
                  <a:gd name="T11" fmla="*/ 330 h 745"/>
                  <a:gd name="T12" fmla="*/ 40 w 172"/>
                  <a:gd name="T13" fmla="*/ 370 h 745"/>
                  <a:gd name="T14" fmla="*/ 28 w 172"/>
                  <a:gd name="T15" fmla="*/ 408 h 745"/>
                  <a:gd name="T16" fmla="*/ 8 w 172"/>
                  <a:gd name="T17" fmla="*/ 523 h 745"/>
                  <a:gd name="T18" fmla="*/ 11 w 172"/>
                  <a:gd name="T19" fmla="*/ 616 h 745"/>
                  <a:gd name="T20" fmla="*/ 28 w 172"/>
                  <a:gd name="T21" fmla="*/ 679 h 745"/>
                  <a:gd name="T22" fmla="*/ 52 w 172"/>
                  <a:gd name="T23" fmla="*/ 702 h 745"/>
                  <a:gd name="T24" fmla="*/ 89 w 172"/>
                  <a:gd name="T25" fmla="*/ 721 h 745"/>
                  <a:gd name="T26" fmla="*/ 121 w 172"/>
                  <a:gd name="T27" fmla="*/ 745 h 745"/>
                  <a:gd name="T28" fmla="*/ 151 w 172"/>
                  <a:gd name="T29" fmla="*/ 715 h 745"/>
                  <a:gd name="T30" fmla="*/ 172 w 172"/>
                  <a:gd name="T31" fmla="*/ 711 h 745"/>
                  <a:gd name="T32" fmla="*/ 124 w 172"/>
                  <a:gd name="T33" fmla="*/ 703 h 745"/>
                  <a:gd name="T34" fmla="*/ 98 w 172"/>
                  <a:gd name="T35" fmla="*/ 693 h 745"/>
                  <a:gd name="T36" fmla="*/ 71 w 172"/>
                  <a:gd name="T37" fmla="*/ 651 h 745"/>
                  <a:gd name="T38" fmla="*/ 56 w 172"/>
                  <a:gd name="T39" fmla="*/ 630 h 745"/>
                  <a:gd name="T40" fmla="*/ 43 w 172"/>
                  <a:gd name="T41" fmla="*/ 600 h 745"/>
                  <a:gd name="T42" fmla="*/ 52 w 172"/>
                  <a:gd name="T43" fmla="*/ 570 h 745"/>
                  <a:gd name="T44" fmla="*/ 58 w 172"/>
                  <a:gd name="T45" fmla="*/ 541 h 745"/>
                  <a:gd name="T46" fmla="*/ 70 w 172"/>
                  <a:gd name="T47" fmla="*/ 484 h 745"/>
                  <a:gd name="T48" fmla="*/ 67 w 172"/>
                  <a:gd name="T49" fmla="*/ 456 h 745"/>
                  <a:gd name="T50" fmla="*/ 56 w 172"/>
                  <a:gd name="T51" fmla="*/ 426 h 745"/>
                  <a:gd name="T52" fmla="*/ 62 w 172"/>
                  <a:gd name="T53" fmla="*/ 394 h 745"/>
                  <a:gd name="T54" fmla="*/ 73 w 172"/>
                  <a:gd name="T55" fmla="*/ 342 h 745"/>
                  <a:gd name="T56" fmla="*/ 88 w 172"/>
                  <a:gd name="T57" fmla="*/ 300 h 745"/>
                  <a:gd name="T58" fmla="*/ 89 w 172"/>
                  <a:gd name="T59" fmla="*/ 256 h 745"/>
                  <a:gd name="T60" fmla="*/ 91 w 172"/>
                  <a:gd name="T61" fmla="*/ 186 h 745"/>
                  <a:gd name="T62" fmla="*/ 115 w 172"/>
                  <a:gd name="T63" fmla="*/ 153 h 745"/>
                  <a:gd name="T64" fmla="*/ 116 w 172"/>
                  <a:gd name="T65" fmla="*/ 117 h 745"/>
                  <a:gd name="T66" fmla="*/ 128 w 172"/>
                  <a:gd name="T67" fmla="*/ 96 h 745"/>
                  <a:gd name="T68" fmla="*/ 128 w 172"/>
                  <a:gd name="T69" fmla="*/ 72 h 745"/>
                  <a:gd name="T70" fmla="*/ 103 w 172"/>
                  <a:gd name="T71" fmla="*/ 34 h 745"/>
                  <a:gd name="T72" fmla="*/ 97 w 172"/>
                  <a:gd name="T73" fmla="*/ 0 h 7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172" h="745">
                    <a:moveTo>
                      <a:pt x="85" y="10"/>
                    </a:moveTo>
                    <a:cubicBezTo>
                      <a:pt x="84" y="40"/>
                      <a:pt x="98" y="63"/>
                      <a:pt x="80" y="87"/>
                    </a:cubicBezTo>
                    <a:cubicBezTo>
                      <a:pt x="81" y="103"/>
                      <a:pt x="83" y="134"/>
                      <a:pt x="77" y="150"/>
                    </a:cubicBezTo>
                    <a:cubicBezTo>
                      <a:pt x="76" y="156"/>
                      <a:pt x="74" y="163"/>
                      <a:pt x="71" y="169"/>
                    </a:cubicBezTo>
                    <a:cubicBezTo>
                      <a:pt x="71" y="174"/>
                      <a:pt x="73" y="183"/>
                      <a:pt x="71" y="187"/>
                    </a:cubicBezTo>
                    <a:cubicBezTo>
                      <a:pt x="70" y="189"/>
                      <a:pt x="65" y="182"/>
                      <a:pt x="65" y="184"/>
                    </a:cubicBezTo>
                    <a:cubicBezTo>
                      <a:pt x="63" y="193"/>
                      <a:pt x="65" y="202"/>
                      <a:pt x="64" y="211"/>
                    </a:cubicBezTo>
                    <a:cubicBezTo>
                      <a:pt x="64" y="213"/>
                      <a:pt x="66" y="215"/>
                      <a:pt x="65" y="217"/>
                    </a:cubicBezTo>
                    <a:cubicBezTo>
                      <a:pt x="67" y="229"/>
                      <a:pt x="77" y="253"/>
                      <a:pt x="61" y="261"/>
                    </a:cubicBezTo>
                    <a:cubicBezTo>
                      <a:pt x="56" y="270"/>
                      <a:pt x="57" y="281"/>
                      <a:pt x="53" y="291"/>
                    </a:cubicBezTo>
                    <a:cubicBezTo>
                      <a:pt x="52" y="300"/>
                      <a:pt x="48" y="315"/>
                      <a:pt x="41" y="319"/>
                    </a:cubicBezTo>
                    <a:cubicBezTo>
                      <a:pt x="40" y="325"/>
                      <a:pt x="40" y="327"/>
                      <a:pt x="34" y="330"/>
                    </a:cubicBezTo>
                    <a:cubicBezTo>
                      <a:pt x="31" y="335"/>
                      <a:pt x="40" y="346"/>
                      <a:pt x="37" y="351"/>
                    </a:cubicBezTo>
                    <a:cubicBezTo>
                      <a:pt x="35" y="362"/>
                      <a:pt x="35" y="361"/>
                      <a:pt x="40" y="370"/>
                    </a:cubicBezTo>
                    <a:cubicBezTo>
                      <a:pt x="40" y="375"/>
                      <a:pt x="45" y="375"/>
                      <a:pt x="43" y="381"/>
                    </a:cubicBezTo>
                    <a:cubicBezTo>
                      <a:pt x="41" y="387"/>
                      <a:pt x="33" y="392"/>
                      <a:pt x="28" y="408"/>
                    </a:cubicBezTo>
                    <a:cubicBezTo>
                      <a:pt x="14" y="426"/>
                      <a:pt x="29" y="458"/>
                      <a:pt x="14" y="478"/>
                    </a:cubicBezTo>
                    <a:cubicBezTo>
                      <a:pt x="11" y="493"/>
                      <a:pt x="11" y="508"/>
                      <a:pt x="8" y="523"/>
                    </a:cubicBezTo>
                    <a:cubicBezTo>
                      <a:pt x="7" y="537"/>
                      <a:pt x="8" y="552"/>
                      <a:pt x="2" y="565"/>
                    </a:cubicBezTo>
                    <a:cubicBezTo>
                      <a:pt x="3" y="584"/>
                      <a:pt x="0" y="601"/>
                      <a:pt x="11" y="616"/>
                    </a:cubicBezTo>
                    <a:cubicBezTo>
                      <a:pt x="12" y="625"/>
                      <a:pt x="8" y="646"/>
                      <a:pt x="19" y="651"/>
                    </a:cubicBezTo>
                    <a:cubicBezTo>
                      <a:pt x="26" y="661"/>
                      <a:pt x="17" y="672"/>
                      <a:pt x="28" y="679"/>
                    </a:cubicBezTo>
                    <a:cubicBezTo>
                      <a:pt x="31" y="684"/>
                      <a:pt x="34" y="688"/>
                      <a:pt x="37" y="693"/>
                    </a:cubicBezTo>
                    <a:cubicBezTo>
                      <a:pt x="40" y="698"/>
                      <a:pt x="46" y="698"/>
                      <a:pt x="52" y="702"/>
                    </a:cubicBezTo>
                    <a:cubicBezTo>
                      <a:pt x="58" y="706"/>
                      <a:pt x="70" y="712"/>
                      <a:pt x="76" y="715"/>
                    </a:cubicBezTo>
                    <a:cubicBezTo>
                      <a:pt x="81" y="717"/>
                      <a:pt x="85" y="718"/>
                      <a:pt x="89" y="721"/>
                    </a:cubicBezTo>
                    <a:cubicBezTo>
                      <a:pt x="92" y="727"/>
                      <a:pt x="98" y="732"/>
                      <a:pt x="104" y="735"/>
                    </a:cubicBezTo>
                    <a:cubicBezTo>
                      <a:pt x="107" y="742"/>
                      <a:pt x="114" y="744"/>
                      <a:pt x="121" y="745"/>
                    </a:cubicBezTo>
                    <a:cubicBezTo>
                      <a:pt x="130" y="744"/>
                      <a:pt x="135" y="745"/>
                      <a:pt x="137" y="736"/>
                    </a:cubicBezTo>
                    <a:cubicBezTo>
                      <a:pt x="124" y="719"/>
                      <a:pt x="141" y="716"/>
                      <a:pt x="151" y="715"/>
                    </a:cubicBezTo>
                    <a:cubicBezTo>
                      <a:pt x="156" y="711"/>
                      <a:pt x="163" y="713"/>
                      <a:pt x="166" y="712"/>
                    </a:cubicBezTo>
                    <a:cubicBezTo>
                      <a:pt x="168" y="711"/>
                      <a:pt x="170" y="711"/>
                      <a:pt x="172" y="711"/>
                    </a:cubicBezTo>
                    <a:cubicBezTo>
                      <a:pt x="168" y="710"/>
                      <a:pt x="150" y="706"/>
                      <a:pt x="142" y="705"/>
                    </a:cubicBezTo>
                    <a:cubicBezTo>
                      <a:pt x="134" y="704"/>
                      <a:pt x="130" y="703"/>
                      <a:pt x="124" y="703"/>
                    </a:cubicBezTo>
                    <a:cubicBezTo>
                      <a:pt x="119" y="702"/>
                      <a:pt x="111" y="705"/>
                      <a:pt x="107" y="703"/>
                    </a:cubicBezTo>
                    <a:cubicBezTo>
                      <a:pt x="103" y="701"/>
                      <a:pt x="100" y="697"/>
                      <a:pt x="98" y="693"/>
                    </a:cubicBezTo>
                    <a:cubicBezTo>
                      <a:pt x="92" y="689"/>
                      <a:pt x="96" y="688"/>
                      <a:pt x="92" y="681"/>
                    </a:cubicBezTo>
                    <a:cubicBezTo>
                      <a:pt x="88" y="674"/>
                      <a:pt x="77" y="658"/>
                      <a:pt x="71" y="651"/>
                    </a:cubicBezTo>
                    <a:cubicBezTo>
                      <a:pt x="57" y="648"/>
                      <a:pt x="61" y="650"/>
                      <a:pt x="56" y="639"/>
                    </a:cubicBezTo>
                    <a:cubicBezTo>
                      <a:pt x="53" y="634"/>
                      <a:pt x="55" y="634"/>
                      <a:pt x="56" y="630"/>
                    </a:cubicBezTo>
                    <a:cubicBezTo>
                      <a:pt x="57" y="626"/>
                      <a:pt x="63" y="617"/>
                      <a:pt x="61" y="612"/>
                    </a:cubicBezTo>
                    <a:cubicBezTo>
                      <a:pt x="57" y="605"/>
                      <a:pt x="51" y="601"/>
                      <a:pt x="43" y="600"/>
                    </a:cubicBezTo>
                    <a:cubicBezTo>
                      <a:pt x="40" y="596"/>
                      <a:pt x="40" y="593"/>
                      <a:pt x="41" y="588"/>
                    </a:cubicBezTo>
                    <a:cubicBezTo>
                      <a:pt x="42" y="583"/>
                      <a:pt x="50" y="575"/>
                      <a:pt x="52" y="570"/>
                    </a:cubicBezTo>
                    <a:cubicBezTo>
                      <a:pt x="54" y="562"/>
                      <a:pt x="51" y="560"/>
                      <a:pt x="52" y="555"/>
                    </a:cubicBezTo>
                    <a:cubicBezTo>
                      <a:pt x="53" y="550"/>
                      <a:pt x="55" y="549"/>
                      <a:pt x="58" y="541"/>
                    </a:cubicBezTo>
                    <a:cubicBezTo>
                      <a:pt x="60" y="532"/>
                      <a:pt x="66" y="513"/>
                      <a:pt x="68" y="504"/>
                    </a:cubicBezTo>
                    <a:cubicBezTo>
                      <a:pt x="70" y="495"/>
                      <a:pt x="70" y="490"/>
                      <a:pt x="70" y="484"/>
                    </a:cubicBezTo>
                    <a:cubicBezTo>
                      <a:pt x="71" y="478"/>
                      <a:pt x="70" y="472"/>
                      <a:pt x="71" y="466"/>
                    </a:cubicBezTo>
                    <a:cubicBezTo>
                      <a:pt x="63" y="456"/>
                      <a:pt x="71" y="463"/>
                      <a:pt x="67" y="456"/>
                    </a:cubicBezTo>
                    <a:cubicBezTo>
                      <a:pt x="66" y="452"/>
                      <a:pt x="60" y="447"/>
                      <a:pt x="58" y="442"/>
                    </a:cubicBezTo>
                    <a:cubicBezTo>
                      <a:pt x="56" y="437"/>
                      <a:pt x="56" y="431"/>
                      <a:pt x="56" y="426"/>
                    </a:cubicBezTo>
                    <a:cubicBezTo>
                      <a:pt x="55" y="420"/>
                      <a:pt x="55" y="416"/>
                      <a:pt x="58" y="411"/>
                    </a:cubicBezTo>
                    <a:cubicBezTo>
                      <a:pt x="58" y="406"/>
                      <a:pt x="60" y="399"/>
                      <a:pt x="62" y="394"/>
                    </a:cubicBezTo>
                    <a:cubicBezTo>
                      <a:pt x="64" y="389"/>
                      <a:pt x="66" y="387"/>
                      <a:pt x="68" y="378"/>
                    </a:cubicBezTo>
                    <a:cubicBezTo>
                      <a:pt x="69" y="365"/>
                      <a:pt x="71" y="354"/>
                      <a:pt x="73" y="342"/>
                    </a:cubicBezTo>
                    <a:cubicBezTo>
                      <a:pt x="75" y="332"/>
                      <a:pt x="73" y="325"/>
                      <a:pt x="76" y="318"/>
                    </a:cubicBezTo>
                    <a:cubicBezTo>
                      <a:pt x="78" y="311"/>
                      <a:pt x="85" y="307"/>
                      <a:pt x="88" y="300"/>
                    </a:cubicBezTo>
                    <a:cubicBezTo>
                      <a:pt x="90" y="291"/>
                      <a:pt x="95" y="281"/>
                      <a:pt x="95" y="274"/>
                    </a:cubicBezTo>
                    <a:cubicBezTo>
                      <a:pt x="95" y="267"/>
                      <a:pt x="90" y="265"/>
                      <a:pt x="89" y="256"/>
                    </a:cubicBezTo>
                    <a:cubicBezTo>
                      <a:pt x="88" y="247"/>
                      <a:pt x="86" y="234"/>
                      <a:pt x="86" y="222"/>
                    </a:cubicBezTo>
                    <a:cubicBezTo>
                      <a:pt x="87" y="211"/>
                      <a:pt x="86" y="197"/>
                      <a:pt x="91" y="186"/>
                    </a:cubicBezTo>
                    <a:cubicBezTo>
                      <a:pt x="93" y="177"/>
                      <a:pt x="99" y="170"/>
                      <a:pt x="106" y="166"/>
                    </a:cubicBezTo>
                    <a:cubicBezTo>
                      <a:pt x="109" y="162"/>
                      <a:pt x="112" y="157"/>
                      <a:pt x="115" y="153"/>
                    </a:cubicBezTo>
                    <a:cubicBezTo>
                      <a:pt x="116" y="148"/>
                      <a:pt x="113" y="141"/>
                      <a:pt x="113" y="135"/>
                    </a:cubicBezTo>
                    <a:cubicBezTo>
                      <a:pt x="113" y="129"/>
                      <a:pt x="114" y="123"/>
                      <a:pt x="116" y="117"/>
                    </a:cubicBezTo>
                    <a:cubicBezTo>
                      <a:pt x="118" y="111"/>
                      <a:pt x="122" y="103"/>
                      <a:pt x="124" y="100"/>
                    </a:cubicBezTo>
                    <a:cubicBezTo>
                      <a:pt x="125" y="99"/>
                      <a:pt x="127" y="98"/>
                      <a:pt x="128" y="96"/>
                    </a:cubicBezTo>
                    <a:cubicBezTo>
                      <a:pt x="133" y="79"/>
                      <a:pt x="148" y="64"/>
                      <a:pt x="136" y="73"/>
                    </a:cubicBezTo>
                    <a:cubicBezTo>
                      <a:pt x="130" y="69"/>
                      <a:pt x="131" y="78"/>
                      <a:pt x="128" y="72"/>
                    </a:cubicBezTo>
                    <a:cubicBezTo>
                      <a:pt x="127" y="66"/>
                      <a:pt x="114" y="67"/>
                      <a:pt x="110" y="61"/>
                    </a:cubicBezTo>
                    <a:cubicBezTo>
                      <a:pt x="106" y="55"/>
                      <a:pt x="104" y="42"/>
                      <a:pt x="103" y="34"/>
                    </a:cubicBezTo>
                    <a:cubicBezTo>
                      <a:pt x="102" y="26"/>
                      <a:pt x="107" y="21"/>
                      <a:pt x="106" y="15"/>
                    </a:cubicBezTo>
                    <a:cubicBezTo>
                      <a:pt x="103" y="8"/>
                      <a:pt x="105" y="1"/>
                      <a:pt x="97" y="0"/>
                    </a:cubicBezTo>
                    <a:cubicBezTo>
                      <a:pt x="90" y="3"/>
                      <a:pt x="81" y="8"/>
                      <a:pt x="85" y="1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69" name="Freeform 433">
                <a:extLst>
                  <a:ext uri="{FF2B5EF4-FFF2-40B4-BE49-F238E27FC236}">
                    <a16:creationId xmlns:a16="http://schemas.microsoft.com/office/drawing/2014/main" id="{76D10634-A566-4CCB-8D09-BD3E90098ACC}"/>
                  </a:ext>
                </a:extLst>
              </p:cNvPr>
              <p:cNvSpPr>
                <a:spLocks/>
              </p:cNvSpPr>
              <p:nvPr>
                <p:custDataLst>
                  <p:tags r:id="rId156"/>
                </p:custDataLst>
              </p:nvPr>
            </p:nvSpPr>
            <p:spPr bwMode="gray">
              <a:xfrm>
                <a:off x="1826202" y="3607303"/>
                <a:ext cx="681259" cy="453093"/>
              </a:xfrm>
              <a:custGeom>
                <a:avLst/>
                <a:gdLst>
                  <a:gd name="T0" fmla="*/ 9 w 451"/>
                  <a:gd name="T1" fmla="*/ 30 h 295"/>
                  <a:gd name="T2" fmla="*/ 44 w 451"/>
                  <a:gd name="T3" fmla="*/ 74 h 295"/>
                  <a:gd name="T4" fmla="*/ 65 w 451"/>
                  <a:gd name="T5" fmla="*/ 116 h 295"/>
                  <a:gd name="T6" fmla="*/ 81 w 451"/>
                  <a:gd name="T7" fmla="*/ 149 h 295"/>
                  <a:gd name="T8" fmla="*/ 105 w 451"/>
                  <a:gd name="T9" fmla="*/ 170 h 295"/>
                  <a:gd name="T10" fmla="*/ 95 w 451"/>
                  <a:gd name="T11" fmla="*/ 129 h 295"/>
                  <a:gd name="T12" fmla="*/ 66 w 451"/>
                  <a:gd name="T13" fmla="*/ 83 h 295"/>
                  <a:gd name="T14" fmla="*/ 44 w 451"/>
                  <a:gd name="T15" fmla="*/ 51 h 295"/>
                  <a:gd name="T16" fmla="*/ 35 w 451"/>
                  <a:gd name="T17" fmla="*/ 20 h 295"/>
                  <a:gd name="T18" fmla="*/ 65 w 451"/>
                  <a:gd name="T19" fmla="*/ 45 h 295"/>
                  <a:gd name="T20" fmla="*/ 120 w 451"/>
                  <a:gd name="T21" fmla="*/ 116 h 295"/>
                  <a:gd name="T22" fmla="*/ 152 w 451"/>
                  <a:gd name="T23" fmla="*/ 156 h 295"/>
                  <a:gd name="T24" fmla="*/ 171 w 451"/>
                  <a:gd name="T25" fmla="*/ 213 h 295"/>
                  <a:gd name="T26" fmla="*/ 201 w 451"/>
                  <a:gd name="T27" fmla="*/ 237 h 295"/>
                  <a:gd name="T28" fmla="*/ 273 w 451"/>
                  <a:gd name="T29" fmla="*/ 276 h 295"/>
                  <a:gd name="T30" fmla="*/ 327 w 451"/>
                  <a:gd name="T31" fmla="*/ 279 h 295"/>
                  <a:gd name="T32" fmla="*/ 371 w 451"/>
                  <a:gd name="T33" fmla="*/ 294 h 295"/>
                  <a:gd name="T34" fmla="*/ 398 w 451"/>
                  <a:gd name="T35" fmla="*/ 279 h 295"/>
                  <a:gd name="T36" fmla="*/ 387 w 451"/>
                  <a:gd name="T37" fmla="*/ 257 h 295"/>
                  <a:gd name="T38" fmla="*/ 413 w 451"/>
                  <a:gd name="T39" fmla="*/ 251 h 295"/>
                  <a:gd name="T40" fmla="*/ 450 w 451"/>
                  <a:gd name="T41" fmla="*/ 195 h 295"/>
                  <a:gd name="T42" fmla="*/ 411 w 451"/>
                  <a:gd name="T43" fmla="*/ 198 h 295"/>
                  <a:gd name="T44" fmla="*/ 396 w 451"/>
                  <a:gd name="T45" fmla="*/ 221 h 295"/>
                  <a:gd name="T46" fmla="*/ 348 w 451"/>
                  <a:gd name="T47" fmla="*/ 242 h 295"/>
                  <a:gd name="T48" fmla="*/ 315 w 451"/>
                  <a:gd name="T49" fmla="*/ 233 h 295"/>
                  <a:gd name="T50" fmla="*/ 285 w 451"/>
                  <a:gd name="T51" fmla="*/ 167 h 295"/>
                  <a:gd name="T52" fmla="*/ 272 w 451"/>
                  <a:gd name="T53" fmla="*/ 117 h 295"/>
                  <a:gd name="T54" fmla="*/ 249 w 451"/>
                  <a:gd name="T55" fmla="*/ 74 h 295"/>
                  <a:gd name="T56" fmla="*/ 212 w 451"/>
                  <a:gd name="T57" fmla="*/ 65 h 295"/>
                  <a:gd name="T58" fmla="*/ 147 w 451"/>
                  <a:gd name="T59" fmla="*/ 18 h 295"/>
                  <a:gd name="T60" fmla="*/ 116 w 451"/>
                  <a:gd name="T61" fmla="*/ 30 h 295"/>
                  <a:gd name="T62" fmla="*/ 63 w 451"/>
                  <a:gd name="T63" fmla="*/ 21 h 295"/>
                  <a:gd name="T64" fmla="*/ 5 w 451"/>
                  <a:gd name="T65" fmla="*/ 9 h 2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451" h="295">
                    <a:moveTo>
                      <a:pt x="5" y="9"/>
                    </a:moveTo>
                    <a:cubicBezTo>
                      <a:pt x="0" y="13"/>
                      <a:pt x="5" y="22"/>
                      <a:pt x="9" y="30"/>
                    </a:cubicBezTo>
                    <a:cubicBezTo>
                      <a:pt x="13" y="38"/>
                      <a:pt x="21" y="50"/>
                      <a:pt x="27" y="57"/>
                    </a:cubicBezTo>
                    <a:cubicBezTo>
                      <a:pt x="33" y="64"/>
                      <a:pt x="41" y="68"/>
                      <a:pt x="44" y="74"/>
                    </a:cubicBezTo>
                    <a:cubicBezTo>
                      <a:pt x="47" y="80"/>
                      <a:pt x="41" y="88"/>
                      <a:pt x="44" y="95"/>
                    </a:cubicBezTo>
                    <a:cubicBezTo>
                      <a:pt x="47" y="102"/>
                      <a:pt x="60" y="110"/>
                      <a:pt x="65" y="116"/>
                    </a:cubicBezTo>
                    <a:cubicBezTo>
                      <a:pt x="70" y="122"/>
                      <a:pt x="72" y="129"/>
                      <a:pt x="75" y="134"/>
                    </a:cubicBezTo>
                    <a:cubicBezTo>
                      <a:pt x="78" y="139"/>
                      <a:pt x="77" y="146"/>
                      <a:pt x="81" y="149"/>
                    </a:cubicBezTo>
                    <a:cubicBezTo>
                      <a:pt x="85" y="152"/>
                      <a:pt x="97" y="150"/>
                      <a:pt x="101" y="153"/>
                    </a:cubicBezTo>
                    <a:cubicBezTo>
                      <a:pt x="105" y="156"/>
                      <a:pt x="103" y="169"/>
                      <a:pt x="105" y="170"/>
                    </a:cubicBezTo>
                    <a:cubicBezTo>
                      <a:pt x="107" y="171"/>
                      <a:pt x="115" y="166"/>
                      <a:pt x="113" y="159"/>
                    </a:cubicBezTo>
                    <a:cubicBezTo>
                      <a:pt x="111" y="152"/>
                      <a:pt x="101" y="138"/>
                      <a:pt x="95" y="129"/>
                    </a:cubicBezTo>
                    <a:cubicBezTo>
                      <a:pt x="89" y="120"/>
                      <a:pt x="82" y="110"/>
                      <a:pt x="77" y="102"/>
                    </a:cubicBezTo>
                    <a:cubicBezTo>
                      <a:pt x="72" y="94"/>
                      <a:pt x="70" y="90"/>
                      <a:pt x="66" y="83"/>
                    </a:cubicBezTo>
                    <a:cubicBezTo>
                      <a:pt x="62" y="76"/>
                      <a:pt x="57" y="67"/>
                      <a:pt x="53" y="62"/>
                    </a:cubicBezTo>
                    <a:cubicBezTo>
                      <a:pt x="49" y="57"/>
                      <a:pt x="47" y="56"/>
                      <a:pt x="44" y="51"/>
                    </a:cubicBezTo>
                    <a:cubicBezTo>
                      <a:pt x="41" y="46"/>
                      <a:pt x="36" y="38"/>
                      <a:pt x="35" y="33"/>
                    </a:cubicBezTo>
                    <a:cubicBezTo>
                      <a:pt x="34" y="28"/>
                      <a:pt x="31" y="21"/>
                      <a:pt x="35" y="20"/>
                    </a:cubicBezTo>
                    <a:cubicBezTo>
                      <a:pt x="39" y="19"/>
                      <a:pt x="54" y="25"/>
                      <a:pt x="59" y="29"/>
                    </a:cubicBezTo>
                    <a:cubicBezTo>
                      <a:pt x="64" y="33"/>
                      <a:pt x="61" y="37"/>
                      <a:pt x="65" y="45"/>
                    </a:cubicBezTo>
                    <a:cubicBezTo>
                      <a:pt x="69" y="53"/>
                      <a:pt x="75" y="68"/>
                      <a:pt x="84" y="80"/>
                    </a:cubicBezTo>
                    <a:cubicBezTo>
                      <a:pt x="93" y="92"/>
                      <a:pt x="114" y="108"/>
                      <a:pt x="120" y="116"/>
                    </a:cubicBezTo>
                    <a:cubicBezTo>
                      <a:pt x="126" y="124"/>
                      <a:pt x="114" y="122"/>
                      <a:pt x="119" y="129"/>
                    </a:cubicBezTo>
                    <a:cubicBezTo>
                      <a:pt x="124" y="136"/>
                      <a:pt x="142" y="145"/>
                      <a:pt x="152" y="156"/>
                    </a:cubicBezTo>
                    <a:cubicBezTo>
                      <a:pt x="162" y="167"/>
                      <a:pt x="174" y="189"/>
                      <a:pt x="177" y="198"/>
                    </a:cubicBezTo>
                    <a:cubicBezTo>
                      <a:pt x="180" y="207"/>
                      <a:pt x="170" y="207"/>
                      <a:pt x="171" y="213"/>
                    </a:cubicBezTo>
                    <a:cubicBezTo>
                      <a:pt x="172" y="219"/>
                      <a:pt x="181" y="233"/>
                      <a:pt x="186" y="237"/>
                    </a:cubicBezTo>
                    <a:cubicBezTo>
                      <a:pt x="191" y="241"/>
                      <a:pt x="194" y="235"/>
                      <a:pt x="201" y="237"/>
                    </a:cubicBezTo>
                    <a:cubicBezTo>
                      <a:pt x="208" y="239"/>
                      <a:pt x="216" y="246"/>
                      <a:pt x="228" y="252"/>
                    </a:cubicBezTo>
                    <a:cubicBezTo>
                      <a:pt x="240" y="258"/>
                      <a:pt x="260" y="271"/>
                      <a:pt x="273" y="276"/>
                    </a:cubicBezTo>
                    <a:cubicBezTo>
                      <a:pt x="286" y="281"/>
                      <a:pt x="296" y="281"/>
                      <a:pt x="305" y="281"/>
                    </a:cubicBezTo>
                    <a:cubicBezTo>
                      <a:pt x="314" y="281"/>
                      <a:pt x="320" y="279"/>
                      <a:pt x="327" y="279"/>
                    </a:cubicBezTo>
                    <a:cubicBezTo>
                      <a:pt x="334" y="279"/>
                      <a:pt x="343" y="279"/>
                      <a:pt x="350" y="282"/>
                    </a:cubicBezTo>
                    <a:cubicBezTo>
                      <a:pt x="357" y="285"/>
                      <a:pt x="366" y="295"/>
                      <a:pt x="371" y="294"/>
                    </a:cubicBezTo>
                    <a:cubicBezTo>
                      <a:pt x="376" y="293"/>
                      <a:pt x="376" y="281"/>
                      <a:pt x="380" y="279"/>
                    </a:cubicBezTo>
                    <a:cubicBezTo>
                      <a:pt x="384" y="277"/>
                      <a:pt x="393" y="279"/>
                      <a:pt x="398" y="279"/>
                    </a:cubicBezTo>
                    <a:cubicBezTo>
                      <a:pt x="403" y="279"/>
                      <a:pt x="410" y="279"/>
                      <a:pt x="408" y="276"/>
                    </a:cubicBezTo>
                    <a:cubicBezTo>
                      <a:pt x="406" y="273"/>
                      <a:pt x="389" y="261"/>
                      <a:pt x="387" y="257"/>
                    </a:cubicBezTo>
                    <a:cubicBezTo>
                      <a:pt x="385" y="253"/>
                      <a:pt x="391" y="253"/>
                      <a:pt x="395" y="252"/>
                    </a:cubicBezTo>
                    <a:cubicBezTo>
                      <a:pt x="399" y="251"/>
                      <a:pt x="407" y="252"/>
                      <a:pt x="413" y="251"/>
                    </a:cubicBezTo>
                    <a:cubicBezTo>
                      <a:pt x="419" y="250"/>
                      <a:pt x="425" y="252"/>
                      <a:pt x="431" y="243"/>
                    </a:cubicBezTo>
                    <a:cubicBezTo>
                      <a:pt x="437" y="234"/>
                      <a:pt x="451" y="204"/>
                      <a:pt x="450" y="195"/>
                    </a:cubicBezTo>
                    <a:cubicBezTo>
                      <a:pt x="449" y="186"/>
                      <a:pt x="431" y="191"/>
                      <a:pt x="425" y="191"/>
                    </a:cubicBezTo>
                    <a:cubicBezTo>
                      <a:pt x="419" y="191"/>
                      <a:pt x="415" y="197"/>
                      <a:pt x="411" y="198"/>
                    </a:cubicBezTo>
                    <a:cubicBezTo>
                      <a:pt x="407" y="199"/>
                      <a:pt x="401" y="194"/>
                      <a:pt x="399" y="198"/>
                    </a:cubicBezTo>
                    <a:cubicBezTo>
                      <a:pt x="397" y="202"/>
                      <a:pt x="399" y="215"/>
                      <a:pt x="396" y="221"/>
                    </a:cubicBezTo>
                    <a:cubicBezTo>
                      <a:pt x="393" y="227"/>
                      <a:pt x="391" y="233"/>
                      <a:pt x="383" y="237"/>
                    </a:cubicBezTo>
                    <a:cubicBezTo>
                      <a:pt x="375" y="241"/>
                      <a:pt x="355" y="241"/>
                      <a:pt x="348" y="242"/>
                    </a:cubicBezTo>
                    <a:cubicBezTo>
                      <a:pt x="341" y="243"/>
                      <a:pt x="343" y="244"/>
                      <a:pt x="338" y="243"/>
                    </a:cubicBezTo>
                    <a:cubicBezTo>
                      <a:pt x="333" y="242"/>
                      <a:pt x="321" y="240"/>
                      <a:pt x="315" y="233"/>
                    </a:cubicBezTo>
                    <a:cubicBezTo>
                      <a:pt x="309" y="226"/>
                      <a:pt x="304" y="211"/>
                      <a:pt x="299" y="200"/>
                    </a:cubicBezTo>
                    <a:cubicBezTo>
                      <a:pt x="294" y="189"/>
                      <a:pt x="286" y="181"/>
                      <a:pt x="285" y="167"/>
                    </a:cubicBezTo>
                    <a:cubicBezTo>
                      <a:pt x="284" y="153"/>
                      <a:pt x="292" y="125"/>
                      <a:pt x="290" y="117"/>
                    </a:cubicBezTo>
                    <a:cubicBezTo>
                      <a:pt x="288" y="109"/>
                      <a:pt x="277" y="119"/>
                      <a:pt x="272" y="117"/>
                    </a:cubicBezTo>
                    <a:cubicBezTo>
                      <a:pt x="267" y="115"/>
                      <a:pt x="262" y="112"/>
                      <a:pt x="258" y="105"/>
                    </a:cubicBezTo>
                    <a:cubicBezTo>
                      <a:pt x="254" y="98"/>
                      <a:pt x="256" y="82"/>
                      <a:pt x="249" y="74"/>
                    </a:cubicBezTo>
                    <a:cubicBezTo>
                      <a:pt x="242" y="66"/>
                      <a:pt x="219" y="55"/>
                      <a:pt x="213" y="54"/>
                    </a:cubicBezTo>
                    <a:cubicBezTo>
                      <a:pt x="207" y="53"/>
                      <a:pt x="216" y="65"/>
                      <a:pt x="212" y="65"/>
                    </a:cubicBezTo>
                    <a:cubicBezTo>
                      <a:pt x="208" y="65"/>
                      <a:pt x="200" y="61"/>
                      <a:pt x="189" y="53"/>
                    </a:cubicBezTo>
                    <a:cubicBezTo>
                      <a:pt x="178" y="45"/>
                      <a:pt x="156" y="23"/>
                      <a:pt x="147" y="18"/>
                    </a:cubicBezTo>
                    <a:cubicBezTo>
                      <a:pt x="138" y="13"/>
                      <a:pt x="140" y="18"/>
                      <a:pt x="135" y="20"/>
                    </a:cubicBezTo>
                    <a:cubicBezTo>
                      <a:pt x="130" y="22"/>
                      <a:pt x="123" y="28"/>
                      <a:pt x="116" y="30"/>
                    </a:cubicBezTo>
                    <a:cubicBezTo>
                      <a:pt x="109" y="32"/>
                      <a:pt x="104" y="35"/>
                      <a:pt x="95" y="33"/>
                    </a:cubicBezTo>
                    <a:cubicBezTo>
                      <a:pt x="86" y="31"/>
                      <a:pt x="73" y="26"/>
                      <a:pt x="63" y="21"/>
                    </a:cubicBezTo>
                    <a:cubicBezTo>
                      <a:pt x="53" y="16"/>
                      <a:pt x="45" y="4"/>
                      <a:pt x="35" y="2"/>
                    </a:cubicBezTo>
                    <a:cubicBezTo>
                      <a:pt x="25" y="0"/>
                      <a:pt x="11" y="8"/>
                      <a:pt x="5" y="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70" name="Freeform 434">
                <a:extLst>
                  <a:ext uri="{FF2B5EF4-FFF2-40B4-BE49-F238E27FC236}">
                    <a16:creationId xmlns:a16="http://schemas.microsoft.com/office/drawing/2014/main" id="{4C469DE3-D8D0-4DAD-A99A-081F3D6761CA}"/>
                  </a:ext>
                </a:extLst>
              </p:cNvPr>
              <p:cNvSpPr>
                <a:spLocks/>
              </p:cNvSpPr>
              <p:nvPr>
                <p:custDataLst>
                  <p:tags r:id="rId157"/>
                </p:custDataLst>
              </p:nvPr>
            </p:nvSpPr>
            <p:spPr bwMode="gray">
              <a:xfrm>
                <a:off x="3043582" y="4860243"/>
                <a:ext cx="207340" cy="197265"/>
              </a:xfrm>
              <a:custGeom>
                <a:avLst/>
                <a:gdLst>
                  <a:gd name="T0" fmla="*/ 0 w 137"/>
                  <a:gd name="T1" fmla="*/ 43 h 128"/>
                  <a:gd name="T2" fmla="*/ 6 w 137"/>
                  <a:gd name="T3" fmla="*/ 28 h 128"/>
                  <a:gd name="T4" fmla="*/ 12 w 137"/>
                  <a:gd name="T5" fmla="*/ 10 h 128"/>
                  <a:gd name="T6" fmla="*/ 24 w 137"/>
                  <a:gd name="T7" fmla="*/ 4 h 128"/>
                  <a:gd name="T8" fmla="*/ 35 w 137"/>
                  <a:gd name="T9" fmla="*/ 2 h 128"/>
                  <a:gd name="T10" fmla="*/ 69 w 137"/>
                  <a:gd name="T11" fmla="*/ 5 h 128"/>
                  <a:gd name="T12" fmla="*/ 69 w 137"/>
                  <a:gd name="T13" fmla="*/ 19 h 128"/>
                  <a:gd name="T14" fmla="*/ 70 w 137"/>
                  <a:gd name="T15" fmla="*/ 41 h 128"/>
                  <a:gd name="T16" fmla="*/ 94 w 137"/>
                  <a:gd name="T17" fmla="*/ 47 h 128"/>
                  <a:gd name="T18" fmla="*/ 114 w 137"/>
                  <a:gd name="T19" fmla="*/ 49 h 128"/>
                  <a:gd name="T20" fmla="*/ 115 w 137"/>
                  <a:gd name="T21" fmla="*/ 65 h 128"/>
                  <a:gd name="T22" fmla="*/ 132 w 137"/>
                  <a:gd name="T23" fmla="*/ 76 h 128"/>
                  <a:gd name="T24" fmla="*/ 136 w 137"/>
                  <a:gd name="T25" fmla="*/ 92 h 128"/>
                  <a:gd name="T26" fmla="*/ 126 w 137"/>
                  <a:gd name="T27" fmla="*/ 110 h 128"/>
                  <a:gd name="T28" fmla="*/ 115 w 137"/>
                  <a:gd name="T29" fmla="*/ 127 h 128"/>
                  <a:gd name="T30" fmla="*/ 70 w 137"/>
                  <a:gd name="T31" fmla="*/ 119 h 128"/>
                  <a:gd name="T32" fmla="*/ 76 w 137"/>
                  <a:gd name="T33" fmla="*/ 103 h 128"/>
                  <a:gd name="T34" fmla="*/ 57 w 137"/>
                  <a:gd name="T35" fmla="*/ 86 h 128"/>
                  <a:gd name="T36" fmla="*/ 39 w 137"/>
                  <a:gd name="T37" fmla="*/ 73 h 128"/>
                  <a:gd name="T38" fmla="*/ 15 w 137"/>
                  <a:gd name="T39" fmla="*/ 53 h 128"/>
                  <a:gd name="T40" fmla="*/ 0 w 137"/>
                  <a:gd name="T41" fmla="*/ 43 h 1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37" h="128">
                    <a:moveTo>
                      <a:pt x="0" y="43"/>
                    </a:moveTo>
                    <a:cubicBezTo>
                      <a:pt x="1" y="38"/>
                      <a:pt x="6" y="28"/>
                      <a:pt x="6" y="28"/>
                    </a:cubicBezTo>
                    <a:cubicBezTo>
                      <a:pt x="8" y="23"/>
                      <a:pt x="9" y="14"/>
                      <a:pt x="12" y="10"/>
                    </a:cubicBezTo>
                    <a:cubicBezTo>
                      <a:pt x="15" y="6"/>
                      <a:pt x="20" y="5"/>
                      <a:pt x="24" y="4"/>
                    </a:cubicBezTo>
                    <a:cubicBezTo>
                      <a:pt x="29" y="0"/>
                      <a:pt x="28" y="2"/>
                      <a:pt x="35" y="2"/>
                    </a:cubicBezTo>
                    <a:cubicBezTo>
                      <a:pt x="42" y="2"/>
                      <a:pt x="63" y="2"/>
                      <a:pt x="69" y="5"/>
                    </a:cubicBezTo>
                    <a:cubicBezTo>
                      <a:pt x="75" y="8"/>
                      <a:pt x="69" y="13"/>
                      <a:pt x="69" y="19"/>
                    </a:cubicBezTo>
                    <a:cubicBezTo>
                      <a:pt x="69" y="25"/>
                      <a:pt x="66" y="36"/>
                      <a:pt x="70" y="41"/>
                    </a:cubicBezTo>
                    <a:cubicBezTo>
                      <a:pt x="74" y="49"/>
                      <a:pt x="87" y="45"/>
                      <a:pt x="94" y="47"/>
                    </a:cubicBezTo>
                    <a:cubicBezTo>
                      <a:pt x="101" y="48"/>
                      <a:pt x="110" y="46"/>
                      <a:pt x="114" y="49"/>
                    </a:cubicBezTo>
                    <a:cubicBezTo>
                      <a:pt x="118" y="51"/>
                      <a:pt x="112" y="61"/>
                      <a:pt x="115" y="65"/>
                    </a:cubicBezTo>
                    <a:cubicBezTo>
                      <a:pt x="118" y="69"/>
                      <a:pt x="129" y="72"/>
                      <a:pt x="132" y="76"/>
                    </a:cubicBezTo>
                    <a:cubicBezTo>
                      <a:pt x="135" y="80"/>
                      <a:pt x="137" y="86"/>
                      <a:pt x="136" y="92"/>
                    </a:cubicBezTo>
                    <a:cubicBezTo>
                      <a:pt x="135" y="98"/>
                      <a:pt x="129" y="104"/>
                      <a:pt x="126" y="110"/>
                    </a:cubicBezTo>
                    <a:cubicBezTo>
                      <a:pt x="123" y="116"/>
                      <a:pt x="124" y="125"/>
                      <a:pt x="115" y="127"/>
                    </a:cubicBezTo>
                    <a:cubicBezTo>
                      <a:pt x="87" y="126"/>
                      <a:pt x="86" y="128"/>
                      <a:pt x="70" y="119"/>
                    </a:cubicBezTo>
                    <a:cubicBezTo>
                      <a:pt x="63" y="115"/>
                      <a:pt x="78" y="108"/>
                      <a:pt x="76" y="103"/>
                    </a:cubicBezTo>
                    <a:cubicBezTo>
                      <a:pt x="74" y="98"/>
                      <a:pt x="63" y="91"/>
                      <a:pt x="57" y="86"/>
                    </a:cubicBezTo>
                    <a:cubicBezTo>
                      <a:pt x="53" y="77"/>
                      <a:pt x="50" y="75"/>
                      <a:pt x="39" y="73"/>
                    </a:cubicBezTo>
                    <a:cubicBezTo>
                      <a:pt x="33" y="67"/>
                      <a:pt x="21" y="58"/>
                      <a:pt x="15" y="53"/>
                    </a:cubicBezTo>
                    <a:cubicBezTo>
                      <a:pt x="9" y="48"/>
                      <a:pt x="3" y="45"/>
                      <a:pt x="0" y="4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71" name="Freeform 435">
                <a:extLst>
                  <a:ext uri="{FF2B5EF4-FFF2-40B4-BE49-F238E27FC236}">
                    <a16:creationId xmlns:a16="http://schemas.microsoft.com/office/drawing/2014/main" id="{E7243FE1-BF7C-4E07-B5C5-8AA57A825992}"/>
                  </a:ext>
                </a:extLst>
              </p:cNvPr>
              <p:cNvSpPr>
                <a:spLocks/>
              </p:cNvSpPr>
              <p:nvPr>
                <p:custDataLst>
                  <p:tags r:id="rId158"/>
                </p:custDataLst>
              </p:nvPr>
            </p:nvSpPr>
            <p:spPr bwMode="gray">
              <a:xfrm>
                <a:off x="2449702" y="3989504"/>
                <a:ext cx="26658" cy="60105"/>
              </a:xfrm>
              <a:custGeom>
                <a:avLst/>
                <a:gdLst>
                  <a:gd name="T0" fmla="*/ 14 w 19"/>
                  <a:gd name="T1" fmla="*/ 0 h 38"/>
                  <a:gd name="T2" fmla="*/ 19 w 19"/>
                  <a:gd name="T3" fmla="*/ 32 h 38"/>
                  <a:gd name="T4" fmla="*/ 5 w 19"/>
                  <a:gd name="T5" fmla="*/ 38 h 38"/>
                  <a:gd name="T6" fmla="*/ 4 w 19"/>
                  <a:gd name="T7" fmla="*/ 23 h 38"/>
                  <a:gd name="T8" fmla="*/ 10 w 19"/>
                  <a:gd name="T9" fmla="*/ 9 h 38"/>
                  <a:gd name="T10" fmla="*/ 14 w 19"/>
                  <a:gd name="T11" fmla="*/ 0 h 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19" h="38">
                    <a:moveTo>
                      <a:pt x="14" y="0"/>
                    </a:moveTo>
                    <a:cubicBezTo>
                      <a:pt x="18" y="22"/>
                      <a:pt x="16" y="11"/>
                      <a:pt x="19" y="32"/>
                    </a:cubicBezTo>
                    <a:cubicBezTo>
                      <a:pt x="13" y="33"/>
                      <a:pt x="10" y="36"/>
                      <a:pt x="5" y="38"/>
                    </a:cubicBezTo>
                    <a:cubicBezTo>
                      <a:pt x="0" y="32"/>
                      <a:pt x="1" y="30"/>
                      <a:pt x="4" y="23"/>
                    </a:cubicBezTo>
                    <a:cubicBezTo>
                      <a:pt x="5" y="17"/>
                      <a:pt x="7" y="14"/>
                      <a:pt x="10" y="9"/>
                    </a:cubicBezTo>
                    <a:cubicBezTo>
                      <a:pt x="11" y="2"/>
                      <a:pt x="10" y="4"/>
                      <a:pt x="14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72" name="Freeform 436">
                <a:extLst>
                  <a:ext uri="{FF2B5EF4-FFF2-40B4-BE49-F238E27FC236}">
                    <a16:creationId xmlns:a16="http://schemas.microsoft.com/office/drawing/2014/main" id="{DE73AD81-1044-4094-B387-F66AC7743AEF}"/>
                  </a:ext>
                </a:extLst>
              </p:cNvPr>
              <p:cNvSpPr>
                <a:spLocks/>
              </p:cNvSpPr>
              <p:nvPr>
                <p:custDataLst>
                  <p:tags r:id="rId159"/>
                </p:custDataLst>
              </p:nvPr>
            </p:nvSpPr>
            <p:spPr bwMode="gray">
              <a:xfrm>
                <a:off x="2531157" y="4148241"/>
                <a:ext cx="100708" cy="90927"/>
              </a:xfrm>
              <a:custGeom>
                <a:avLst/>
                <a:gdLst>
                  <a:gd name="T0" fmla="*/ 5 w 68"/>
                  <a:gd name="T1" fmla="*/ 4 h 58"/>
                  <a:gd name="T2" fmla="*/ 14 w 68"/>
                  <a:gd name="T3" fmla="*/ 15 h 58"/>
                  <a:gd name="T4" fmla="*/ 23 w 68"/>
                  <a:gd name="T5" fmla="*/ 31 h 58"/>
                  <a:gd name="T6" fmla="*/ 33 w 68"/>
                  <a:gd name="T7" fmla="*/ 36 h 58"/>
                  <a:gd name="T8" fmla="*/ 60 w 68"/>
                  <a:gd name="T9" fmla="*/ 51 h 58"/>
                  <a:gd name="T10" fmla="*/ 68 w 68"/>
                  <a:gd name="T11" fmla="*/ 43 h 58"/>
                  <a:gd name="T12" fmla="*/ 51 w 68"/>
                  <a:gd name="T13" fmla="*/ 33 h 58"/>
                  <a:gd name="T14" fmla="*/ 39 w 68"/>
                  <a:gd name="T15" fmla="*/ 24 h 58"/>
                  <a:gd name="T16" fmla="*/ 38 w 68"/>
                  <a:gd name="T17" fmla="*/ 16 h 58"/>
                  <a:gd name="T18" fmla="*/ 5 w 68"/>
                  <a:gd name="T19" fmla="*/ 4 h 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68" h="58">
                    <a:moveTo>
                      <a:pt x="5" y="4"/>
                    </a:moveTo>
                    <a:cubicBezTo>
                      <a:pt x="0" y="3"/>
                      <a:pt x="11" y="11"/>
                      <a:pt x="14" y="15"/>
                    </a:cubicBezTo>
                    <a:cubicBezTo>
                      <a:pt x="17" y="19"/>
                      <a:pt x="20" y="28"/>
                      <a:pt x="23" y="31"/>
                    </a:cubicBezTo>
                    <a:cubicBezTo>
                      <a:pt x="28" y="33"/>
                      <a:pt x="29" y="33"/>
                      <a:pt x="33" y="36"/>
                    </a:cubicBezTo>
                    <a:cubicBezTo>
                      <a:pt x="36" y="45"/>
                      <a:pt x="52" y="48"/>
                      <a:pt x="60" y="51"/>
                    </a:cubicBezTo>
                    <a:cubicBezTo>
                      <a:pt x="65" y="58"/>
                      <a:pt x="65" y="49"/>
                      <a:pt x="68" y="43"/>
                    </a:cubicBezTo>
                    <a:cubicBezTo>
                      <a:pt x="61" y="39"/>
                      <a:pt x="59" y="35"/>
                      <a:pt x="51" y="33"/>
                    </a:cubicBezTo>
                    <a:cubicBezTo>
                      <a:pt x="47" y="30"/>
                      <a:pt x="41" y="27"/>
                      <a:pt x="39" y="24"/>
                    </a:cubicBezTo>
                    <a:cubicBezTo>
                      <a:pt x="37" y="21"/>
                      <a:pt x="44" y="19"/>
                      <a:pt x="38" y="16"/>
                    </a:cubicBezTo>
                    <a:cubicBezTo>
                      <a:pt x="30" y="0"/>
                      <a:pt x="16" y="15"/>
                      <a:pt x="5" y="4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73" name="Freeform 437">
                <a:extLst>
                  <a:ext uri="{FF2B5EF4-FFF2-40B4-BE49-F238E27FC236}">
                    <a16:creationId xmlns:a16="http://schemas.microsoft.com/office/drawing/2014/main" id="{A8DFA944-A800-41BA-949B-9B82662C6A08}"/>
                  </a:ext>
                </a:extLst>
              </p:cNvPr>
              <p:cNvSpPr>
                <a:spLocks/>
              </p:cNvSpPr>
              <p:nvPr>
                <p:custDataLst>
                  <p:tags r:id="rId160"/>
                </p:custDataLst>
              </p:nvPr>
            </p:nvSpPr>
            <p:spPr bwMode="gray">
              <a:xfrm>
                <a:off x="2796256" y="3932482"/>
                <a:ext cx="56278" cy="66269"/>
              </a:xfrm>
              <a:custGeom>
                <a:avLst/>
                <a:gdLst>
                  <a:gd name="T0" fmla="*/ 15 w 69"/>
                  <a:gd name="T1" fmla="*/ 0 h 43"/>
                  <a:gd name="T2" fmla="*/ 22 w 69"/>
                  <a:gd name="T3" fmla="*/ 12 h 43"/>
                  <a:gd name="T4" fmla="*/ 16 w 69"/>
                  <a:gd name="T5" fmla="*/ 27 h 43"/>
                  <a:gd name="T6" fmla="*/ 0 w 69"/>
                  <a:gd name="T7" fmla="*/ 28 h 43"/>
                  <a:gd name="T8" fmla="*/ 7 w 69"/>
                  <a:gd name="T9" fmla="*/ 37 h 43"/>
                  <a:gd name="T10" fmla="*/ 31 w 69"/>
                  <a:gd name="T11" fmla="*/ 34 h 43"/>
                  <a:gd name="T12" fmla="*/ 46 w 69"/>
                  <a:gd name="T13" fmla="*/ 43 h 43"/>
                  <a:gd name="T14" fmla="*/ 69 w 69"/>
                  <a:gd name="T15" fmla="*/ 37 h 43"/>
                  <a:gd name="T16" fmla="*/ 54 w 69"/>
                  <a:gd name="T17" fmla="*/ 16 h 43"/>
                  <a:gd name="T18" fmla="*/ 60 w 69"/>
                  <a:gd name="T19" fmla="*/ 1 h 43"/>
                  <a:gd name="T20" fmla="*/ 40 w 69"/>
                  <a:gd name="T21" fmla="*/ 4 h 43"/>
                  <a:gd name="T22" fmla="*/ 25 w 69"/>
                  <a:gd name="T23" fmla="*/ 4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69" h="43">
                    <a:moveTo>
                      <a:pt x="15" y="0"/>
                    </a:moveTo>
                    <a:lnTo>
                      <a:pt x="22" y="12"/>
                    </a:lnTo>
                    <a:lnTo>
                      <a:pt x="16" y="27"/>
                    </a:lnTo>
                    <a:lnTo>
                      <a:pt x="0" y="28"/>
                    </a:lnTo>
                    <a:lnTo>
                      <a:pt x="7" y="37"/>
                    </a:lnTo>
                    <a:lnTo>
                      <a:pt x="31" y="34"/>
                    </a:lnTo>
                    <a:lnTo>
                      <a:pt x="46" y="43"/>
                    </a:lnTo>
                    <a:lnTo>
                      <a:pt x="69" y="37"/>
                    </a:lnTo>
                    <a:lnTo>
                      <a:pt x="54" y="16"/>
                    </a:lnTo>
                    <a:lnTo>
                      <a:pt x="60" y="1"/>
                    </a:lnTo>
                    <a:lnTo>
                      <a:pt x="40" y="4"/>
                    </a:lnTo>
                    <a:lnTo>
                      <a:pt x="25" y="4"/>
                    </a:ln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74" name="Freeform 438">
                <a:extLst>
                  <a:ext uri="{FF2B5EF4-FFF2-40B4-BE49-F238E27FC236}">
                    <a16:creationId xmlns:a16="http://schemas.microsoft.com/office/drawing/2014/main" id="{42E6892C-6366-4867-8E35-576B611212CA}"/>
                  </a:ext>
                </a:extLst>
              </p:cNvPr>
              <p:cNvSpPr>
                <a:spLocks/>
              </p:cNvSpPr>
              <p:nvPr>
                <p:custDataLst>
                  <p:tags r:id="rId161"/>
                </p:custDataLst>
              </p:nvPr>
            </p:nvSpPr>
            <p:spPr bwMode="gray">
              <a:xfrm>
                <a:off x="2944356" y="3972552"/>
                <a:ext cx="68126" cy="21576"/>
              </a:xfrm>
              <a:custGeom>
                <a:avLst/>
                <a:gdLst>
                  <a:gd name="T0" fmla="*/ 0 w 45"/>
                  <a:gd name="T1" fmla="*/ 8 h 15"/>
                  <a:gd name="T2" fmla="*/ 24 w 45"/>
                  <a:gd name="T3" fmla="*/ 8 h 15"/>
                  <a:gd name="T4" fmla="*/ 43 w 45"/>
                  <a:gd name="T5" fmla="*/ 0 h 15"/>
                  <a:gd name="T6" fmla="*/ 45 w 45"/>
                  <a:gd name="T7" fmla="*/ 14 h 15"/>
                  <a:gd name="T8" fmla="*/ 21 w 45"/>
                  <a:gd name="T9" fmla="*/ 15 h 15"/>
                  <a:gd name="T10" fmla="*/ 0 w 45"/>
                  <a:gd name="T11" fmla="*/ 8 h 1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45" h="15">
                    <a:moveTo>
                      <a:pt x="0" y="8"/>
                    </a:moveTo>
                    <a:lnTo>
                      <a:pt x="24" y="8"/>
                    </a:lnTo>
                    <a:lnTo>
                      <a:pt x="43" y="0"/>
                    </a:lnTo>
                    <a:lnTo>
                      <a:pt x="45" y="14"/>
                    </a:lnTo>
                    <a:lnTo>
                      <a:pt x="21" y="15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75" name="Freeform 490">
                <a:extLst>
                  <a:ext uri="{FF2B5EF4-FFF2-40B4-BE49-F238E27FC236}">
                    <a16:creationId xmlns:a16="http://schemas.microsoft.com/office/drawing/2014/main" id="{E6372B5A-1D9E-421B-B815-F37DB29EB94B}"/>
                  </a:ext>
                </a:extLst>
              </p:cNvPr>
              <p:cNvSpPr>
                <a:spLocks/>
              </p:cNvSpPr>
              <p:nvPr>
                <p:custDataLst>
                  <p:tags r:id="rId162"/>
                </p:custDataLst>
              </p:nvPr>
            </p:nvSpPr>
            <p:spPr bwMode="gray">
              <a:xfrm>
                <a:off x="4746729" y="3867755"/>
                <a:ext cx="242884" cy="371413"/>
              </a:xfrm>
              <a:custGeom>
                <a:avLst/>
                <a:gdLst>
                  <a:gd name="T0" fmla="*/ 140 w 160"/>
                  <a:gd name="T1" fmla="*/ 182 h 236"/>
                  <a:gd name="T2" fmla="*/ 137 w 160"/>
                  <a:gd name="T3" fmla="*/ 164 h 236"/>
                  <a:gd name="T4" fmla="*/ 131 w 160"/>
                  <a:gd name="T5" fmla="*/ 154 h 236"/>
                  <a:gd name="T6" fmla="*/ 137 w 160"/>
                  <a:gd name="T7" fmla="*/ 136 h 236"/>
                  <a:gd name="T8" fmla="*/ 158 w 160"/>
                  <a:gd name="T9" fmla="*/ 106 h 236"/>
                  <a:gd name="T10" fmla="*/ 158 w 160"/>
                  <a:gd name="T11" fmla="*/ 63 h 236"/>
                  <a:gd name="T12" fmla="*/ 143 w 160"/>
                  <a:gd name="T13" fmla="*/ 49 h 236"/>
                  <a:gd name="T14" fmla="*/ 125 w 160"/>
                  <a:gd name="T15" fmla="*/ 39 h 236"/>
                  <a:gd name="T16" fmla="*/ 107 w 160"/>
                  <a:gd name="T17" fmla="*/ 30 h 236"/>
                  <a:gd name="T18" fmla="*/ 92 w 160"/>
                  <a:gd name="T19" fmla="*/ 26 h 236"/>
                  <a:gd name="T20" fmla="*/ 77 w 160"/>
                  <a:gd name="T21" fmla="*/ 8 h 236"/>
                  <a:gd name="T22" fmla="*/ 65 w 160"/>
                  <a:gd name="T23" fmla="*/ 7 h 236"/>
                  <a:gd name="T24" fmla="*/ 50 w 160"/>
                  <a:gd name="T25" fmla="*/ 4 h 236"/>
                  <a:gd name="T26" fmla="*/ 26 w 160"/>
                  <a:gd name="T27" fmla="*/ 2 h 236"/>
                  <a:gd name="T28" fmla="*/ 31 w 160"/>
                  <a:gd name="T29" fmla="*/ 17 h 236"/>
                  <a:gd name="T30" fmla="*/ 40 w 160"/>
                  <a:gd name="T31" fmla="*/ 51 h 236"/>
                  <a:gd name="T32" fmla="*/ 34 w 160"/>
                  <a:gd name="T33" fmla="*/ 93 h 236"/>
                  <a:gd name="T34" fmla="*/ 21 w 160"/>
                  <a:gd name="T35" fmla="*/ 116 h 236"/>
                  <a:gd name="T36" fmla="*/ 5 w 160"/>
                  <a:gd name="T37" fmla="*/ 131 h 236"/>
                  <a:gd name="T38" fmla="*/ 13 w 160"/>
                  <a:gd name="T39" fmla="*/ 158 h 236"/>
                  <a:gd name="T40" fmla="*/ 28 w 160"/>
                  <a:gd name="T41" fmla="*/ 188 h 236"/>
                  <a:gd name="T42" fmla="*/ 29 w 160"/>
                  <a:gd name="T43" fmla="*/ 197 h 236"/>
                  <a:gd name="T44" fmla="*/ 14 w 160"/>
                  <a:gd name="T45" fmla="*/ 205 h 236"/>
                  <a:gd name="T46" fmla="*/ 26 w 160"/>
                  <a:gd name="T47" fmla="*/ 217 h 236"/>
                  <a:gd name="T48" fmla="*/ 43 w 160"/>
                  <a:gd name="T49" fmla="*/ 232 h 236"/>
                  <a:gd name="T50" fmla="*/ 67 w 160"/>
                  <a:gd name="T51" fmla="*/ 235 h 236"/>
                  <a:gd name="T52" fmla="*/ 83 w 160"/>
                  <a:gd name="T53" fmla="*/ 228 h 236"/>
                  <a:gd name="T54" fmla="*/ 98 w 160"/>
                  <a:gd name="T55" fmla="*/ 214 h 236"/>
                  <a:gd name="T56" fmla="*/ 115 w 160"/>
                  <a:gd name="T57" fmla="*/ 205 h 236"/>
                  <a:gd name="T58" fmla="*/ 121 w 160"/>
                  <a:gd name="T59" fmla="*/ 197 h 236"/>
                  <a:gd name="T60" fmla="*/ 142 w 160"/>
                  <a:gd name="T61" fmla="*/ 185 h 236"/>
                  <a:gd name="T62" fmla="*/ 140 w 160"/>
                  <a:gd name="T63" fmla="*/ 182 h 2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160" h="236">
                    <a:moveTo>
                      <a:pt x="140" y="182"/>
                    </a:moveTo>
                    <a:cubicBezTo>
                      <a:pt x="140" y="178"/>
                      <a:pt x="138" y="169"/>
                      <a:pt x="137" y="164"/>
                    </a:cubicBezTo>
                    <a:cubicBezTo>
                      <a:pt x="136" y="159"/>
                      <a:pt x="131" y="159"/>
                      <a:pt x="131" y="154"/>
                    </a:cubicBezTo>
                    <a:cubicBezTo>
                      <a:pt x="133" y="149"/>
                      <a:pt x="137" y="136"/>
                      <a:pt x="137" y="136"/>
                    </a:cubicBezTo>
                    <a:cubicBezTo>
                      <a:pt x="145" y="123"/>
                      <a:pt x="140" y="110"/>
                      <a:pt x="158" y="106"/>
                    </a:cubicBezTo>
                    <a:cubicBezTo>
                      <a:pt x="160" y="93"/>
                      <a:pt x="160" y="72"/>
                      <a:pt x="158" y="63"/>
                    </a:cubicBezTo>
                    <a:cubicBezTo>
                      <a:pt x="156" y="54"/>
                      <a:pt x="148" y="53"/>
                      <a:pt x="143" y="49"/>
                    </a:cubicBezTo>
                    <a:cubicBezTo>
                      <a:pt x="138" y="42"/>
                      <a:pt x="133" y="40"/>
                      <a:pt x="125" y="39"/>
                    </a:cubicBezTo>
                    <a:cubicBezTo>
                      <a:pt x="118" y="36"/>
                      <a:pt x="114" y="31"/>
                      <a:pt x="107" y="30"/>
                    </a:cubicBezTo>
                    <a:cubicBezTo>
                      <a:pt x="103" y="28"/>
                      <a:pt x="99" y="30"/>
                      <a:pt x="92" y="26"/>
                    </a:cubicBezTo>
                    <a:cubicBezTo>
                      <a:pt x="87" y="22"/>
                      <a:pt x="81" y="11"/>
                      <a:pt x="77" y="8"/>
                    </a:cubicBezTo>
                    <a:cubicBezTo>
                      <a:pt x="73" y="5"/>
                      <a:pt x="69" y="8"/>
                      <a:pt x="65" y="7"/>
                    </a:cubicBezTo>
                    <a:cubicBezTo>
                      <a:pt x="60" y="5"/>
                      <a:pt x="54" y="7"/>
                      <a:pt x="50" y="4"/>
                    </a:cubicBezTo>
                    <a:cubicBezTo>
                      <a:pt x="41" y="4"/>
                      <a:pt x="34" y="0"/>
                      <a:pt x="26" y="2"/>
                    </a:cubicBezTo>
                    <a:cubicBezTo>
                      <a:pt x="22" y="3"/>
                      <a:pt x="25" y="16"/>
                      <a:pt x="31" y="17"/>
                    </a:cubicBezTo>
                    <a:cubicBezTo>
                      <a:pt x="37" y="27"/>
                      <a:pt x="36" y="40"/>
                      <a:pt x="40" y="51"/>
                    </a:cubicBezTo>
                    <a:cubicBezTo>
                      <a:pt x="43" y="69"/>
                      <a:pt x="45" y="79"/>
                      <a:pt x="34" y="93"/>
                    </a:cubicBezTo>
                    <a:cubicBezTo>
                      <a:pt x="31" y="104"/>
                      <a:pt x="26" y="110"/>
                      <a:pt x="21" y="116"/>
                    </a:cubicBezTo>
                    <a:cubicBezTo>
                      <a:pt x="16" y="122"/>
                      <a:pt x="6" y="124"/>
                      <a:pt x="5" y="131"/>
                    </a:cubicBezTo>
                    <a:cubicBezTo>
                      <a:pt x="3" y="142"/>
                      <a:pt x="0" y="156"/>
                      <a:pt x="13" y="158"/>
                    </a:cubicBezTo>
                    <a:cubicBezTo>
                      <a:pt x="14" y="170"/>
                      <a:pt x="21" y="179"/>
                      <a:pt x="28" y="188"/>
                    </a:cubicBezTo>
                    <a:cubicBezTo>
                      <a:pt x="29" y="195"/>
                      <a:pt x="38" y="195"/>
                      <a:pt x="29" y="197"/>
                    </a:cubicBezTo>
                    <a:cubicBezTo>
                      <a:pt x="23" y="200"/>
                      <a:pt x="18" y="199"/>
                      <a:pt x="14" y="205"/>
                    </a:cubicBezTo>
                    <a:cubicBezTo>
                      <a:pt x="16" y="210"/>
                      <a:pt x="21" y="213"/>
                      <a:pt x="26" y="217"/>
                    </a:cubicBezTo>
                    <a:cubicBezTo>
                      <a:pt x="32" y="226"/>
                      <a:pt x="32" y="231"/>
                      <a:pt x="43" y="232"/>
                    </a:cubicBezTo>
                    <a:cubicBezTo>
                      <a:pt x="50" y="235"/>
                      <a:pt x="60" y="236"/>
                      <a:pt x="67" y="235"/>
                    </a:cubicBezTo>
                    <a:cubicBezTo>
                      <a:pt x="74" y="234"/>
                      <a:pt x="78" y="232"/>
                      <a:pt x="83" y="228"/>
                    </a:cubicBezTo>
                    <a:cubicBezTo>
                      <a:pt x="86" y="219"/>
                      <a:pt x="91" y="219"/>
                      <a:pt x="98" y="214"/>
                    </a:cubicBezTo>
                    <a:cubicBezTo>
                      <a:pt x="102" y="207"/>
                      <a:pt x="107" y="206"/>
                      <a:pt x="115" y="205"/>
                    </a:cubicBezTo>
                    <a:cubicBezTo>
                      <a:pt x="125" y="197"/>
                      <a:pt x="113" y="207"/>
                      <a:pt x="121" y="197"/>
                    </a:cubicBezTo>
                    <a:cubicBezTo>
                      <a:pt x="125" y="192"/>
                      <a:pt x="138" y="187"/>
                      <a:pt x="142" y="185"/>
                    </a:cubicBezTo>
                    <a:cubicBezTo>
                      <a:pt x="143" y="184"/>
                      <a:pt x="141" y="183"/>
                      <a:pt x="140" y="182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76" name="Freeform 491">
                <a:extLst>
                  <a:ext uri="{FF2B5EF4-FFF2-40B4-BE49-F238E27FC236}">
                    <a16:creationId xmlns:a16="http://schemas.microsoft.com/office/drawing/2014/main" id="{103E23C3-266B-43C9-B2A2-D1028CF1DF40}"/>
                  </a:ext>
                </a:extLst>
              </p:cNvPr>
              <p:cNvSpPr>
                <a:spLocks/>
              </p:cNvSpPr>
              <p:nvPr>
                <p:custDataLst>
                  <p:tags r:id="rId163"/>
                </p:custDataLst>
              </p:nvPr>
            </p:nvSpPr>
            <p:spPr bwMode="gray">
              <a:xfrm>
                <a:off x="5193990" y="4071184"/>
                <a:ext cx="327301" cy="257369"/>
              </a:xfrm>
              <a:custGeom>
                <a:avLst/>
                <a:gdLst>
                  <a:gd name="T0" fmla="*/ 46 w 216"/>
                  <a:gd name="T1" fmla="*/ 5 h 164"/>
                  <a:gd name="T2" fmla="*/ 68 w 216"/>
                  <a:gd name="T3" fmla="*/ 6 h 164"/>
                  <a:gd name="T4" fmla="*/ 87 w 216"/>
                  <a:gd name="T5" fmla="*/ 6 h 164"/>
                  <a:gd name="T6" fmla="*/ 113 w 216"/>
                  <a:gd name="T7" fmla="*/ 6 h 164"/>
                  <a:gd name="T8" fmla="*/ 124 w 216"/>
                  <a:gd name="T9" fmla="*/ 9 h 164"/>
                  <a:gd name="T10" fmla="*/ 129 w 216"/>
                  <a:gd name="T11" fmla="*/ 24 h 164"/>
                  <a:gd name="T12" fmla="*/ 122 w 216"/>
                  <a:gd name="T13" fmla="*/ 27 h 164"/>
                  <a:gd name="T14" fmla="*/ 124 w 216"/>
                  <a:gd name="T15" fmla="*/ 39 h 164"/>
                  <a:gd name="T16" fmla="*/ 153 w 216"/>
                  <a:gd name="T17" fmla="*/ 64 h 164"/>
                  <a:gd name="T18" fmla="*/ 170 w 216"/>
                  <a:gd name="T19" fmla="*/ 82 h 164"/>
                  <a:gd name="T20" fmla="*/ 182 w 216"/>
                  <a:gd name="T21" fmla="*/ 85 h 164"/>
                  <a:gd name="T22" fmla="*/ 200 w 216"/>
                  <a:gd name="T23" fmla="*/ 94 h 164"/>
                  <a:gd name="T24" fmla="*/ 215 w 216"/>
                  <a:gd name="T25" fmla="*/ 103 h 164"/>
                  <a:gd name="T26" fmla="*/ 198 w 216"/>
                  <a:gd name="T27" fmla="*/ 120 h 164"/>
                  <a:gd name="T28" fmla="*/ 186 w 216"/>
                  <a:gd name="T29" fmla="*/ 133 h 164"/>
                  <a:gd name="T30" fmla="*/ 168 w 216"/>
                  <a:gd name="T31" fmla="*/ 143 h 164"/>
                  <a:gd name="T32" fmla="*/ 132 w 216"/>
                  <a:gd name="T33" fmla="*/ 146 h 164"/>
                  <a:gd name="T34" fmla="*/ 107 w 216"/>
                  <a:gd name="T35" fmla="*/ 161 h 164"/>
                  <a:gd name="T36" fmla="*/ 87 w 216"/>
                  <a:gd name="T37" fmla="*/ 162 h 164"/>
                  <a:gd name="T38" fmla="*/ 65 w 216"/>
                  <a:gd name="T39" fmla="*/ 162 h 164"/>
                  <a:gd name="T40" fmla="*/ 48 w 216"/>
                  <a:gd name="T41" fmla="*/ 148 h 164"/>
                  <a:gd name="T42" fmla="*/ 42 w 216"/>
                  <a:gd name="T43" fmla="*/ 144 h 164"/>
                  <a:gd name="T44" fmla="*/ 24 w 216"/>
                  <a:gd name="T45" fmla="*/ 127 h 164"/>
                  <a:gd name="T46" fmla="*/ 18 w 216"/>
                  <a:gd name="T47" fmla="*/ 113 h 164"/>
                  <a:gd name="T48" fmla="*/ 2 w 216"/>
                  <a:gd name="T49" fmla="*/ 99 h 164"/>
                  <a:gd name="T50" fmla="*/ 4 w 216"/>
                  <a:gd name="T51" fmla="*/ 92 h 164"/>
                  <a:gd name="T52" fmla="*/ 14 w 216"/>
                  <a:gd name="T53" fmla="*/ 83 h 164"/>
                  <a:gd name="T54" fmla="*/ 16 w 216"/>
                  <a:gd name="T55" fmla="*/ 60 h 164"/>
                  <a:gd name="T56" fmla="*/ 28 w 216"/>
                  <a:gd name="T57" fmla="*/ 42 h 164"/>
                  <a:gd name="T58" fmla="*/ 41 w 216"/>
                  <a:gd name="T59" fmla="*/ 31 h 164"/>
                  <a:gd name="T60" fmla="*/ 46 w 216"/>
                  <a:gd name="T61" fmla="*/ 5 h 16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216" h="164">
                    <a:moveTo>
                      <a:pt x="46" y="5"/>
                    </a:moveTo>
                    <a:cubicBezTo>
                      <a:pt x="50" y="0"/>
                      <a:pt x="61" y="6"/>
                      <a:pt x="68" y="6"/>
                    </a:cubicBezTo>
                    <a:cubicBezTo>
                      <a:pt x="75" y="6"/>
                      <a:pt x="80" y="6"/>
                      <a:pt x="87" y="6"/>
                    </a:cubicBezTo>
                    <a:cubicBezTo>
                      <a:pt x="94" y="6"/>
                      <a:pt x="107" y="6"/>
                      <a:pt x="113" y="6"/>
                    </a:cubicBezTo>
                    <a:cubicBezTo>
                      <a:pt x="117" y="8"/>
                      <a:pt x="121" y="5"/>
                      <a:pt x="124" y="9"/>
                    </a:cubicBezTo>
                    <a:cubicBezTo>
                      <a:pt x="126" y="11"/>
                      <a:pt x="130" y="21"/>
                      <a:pt x="129" y="24"/>
                    </a:cubicBezTo>
                    <a:cubicBezTo>
                      <a:pt x="129" y="27"/>
                      <a:pt x="123" y="25"/>
                      <a:pt x="122" y="27"/>
                    </a:cubicBezTo>
                    <a:cubicBezTo>
                      <a:pt x="121" y="28"/>
                      <a:pt x="119" y="33"/>
                      <a:pt x="124" y="39"/>
                    </a:cubicBezTo>
                    <a:cubicBezTo>
                      <a:pt x="129" y="45"/>
                      <a:pt x="145" y="57"/>
                      <a:pt x="153" y="64"/>
                    </a:cubicBezTo>
                    <a:cubicBezTo>
                      <a:pt x="156" y="69"/>
                      <a:pt x="164" y="78"/>
                      <a:pt x="170" y="82"/>
                    </a:cubicBezTo>
                    <a:cubicBezTo>
                      <a:pt x="174" y="83"/>
                      <a:pt x="182" y="85"/>
                      <a:pt x="182" y="85"/>
                    </a:cubicBezTo>
                    <a:cubicBezTo>
                      <a:pt x="186" y="88"/>
                      <a:pt x="196" y="91"/>
                      <a:pt x="200" y="94"/>
                    </a:cubicBezTo>
                    <a:cubicBezTo>
                      <a:pt x="205" y="97"/>
                      <a:pt x="215" y="99"/>
                      <a:pt x="215" y="103"/>
                    </a:cubicBezTo>
                    <a:cubicBezTo>
                      <a:pt x="216" y="108"/>
                      <a:pt x="203" y="115"/>
                      <a:pt x="198" y="120"/>
                    </a:cubicBezTo>
                    <a:cubicBezTo>
                      <a:pt x="193" y="125"/>
                      <a:pt x="191" y="129"/>
                      <a:pt x="186" y="133"/>
                    </a:cubicBezTo>
                    <a:cubicBezTo>
                      <a:pt x="178" y="138"/>
                      <a:pt x="177" y="141"/>
                      <a:pt x="168" y="143"/>
                    </a:cubicBezTo>
                    <a:cubicBezTo>
                      <a:pt x="159" y="145"/>
                      <a:pt x="142" y="143"/>
                      <a:pt x="132" y="146"/>
                    </a:cubicBezTo>
                    <a:cubicBezTo>
                      <a:pt x="122" y="156"/>
                      <a:pt x="123" y="159"/>
                      <a:pt x="107" y="161"/>
                    </a:cubicBezTo>
                    <a:cubicBezTo>
                      <a:pt x="100" y="164"/>
                      <a:pt x="94" y="162"/>
                      <a:pt x="87" y="162"/>
                    </a:cubicBezTo>
                    <a:cubicBezTo>
                      <a:pt x="80" y="162"/>
                      <a:pt x="71" y="164"/>
                      <a:pt x="65" y="162"/>
                    </a:cubicBezTo>
                    <a:cubicBezTo>
                      <a:pt x="54" y="158"/>
                      <a:pt x="62" y="157"/>
                      <a:pt x="48" y="148"/>
                    </a:cubicBezTo>
                    <a:cubicBezTo>
                      <a:pt x="46" y="147"/>
                      <a:pt x="42" y="144"/>
                      <a:pt x="42" y="144"/>
                    </a:cubicBezTo>
                    <a:cubicBezTo>
                      <a:pt x="38" y="141"/>
                      <a:pt x="29" y="133"/>
                      <a:pt x="24" y="127"/>
                    </a:cubicBezTo>
                    <a:cubicBezTo>
                      <a:pt x="20" y="122"/>
                      <a:pt x="22" y="118"/>
                      <a:pt x="18" y="113"/>
                    </a:cubicBezTo>
                    <a:cubicBezTo>
                      <a:pt x="15" y="109"/>
                      <a:pt x="2" y="99"/>
                      <a:pt x="2" y="99"/>
                    </a:cubicBezTo>
                    <a:cubicBezTo>
                      <a:pt x="0" y="95"/>
                      <a:pt x="2" y="95"/>
                      <a:pt x="4" y="92"/>
                    </a:cubicBezTo>
                    <a:cubicBezTo>
                      <a:pt x="6" y="89"/>
                      <a:pt x="12" y="88"/>
                      <a:pt x="14" y="83"/>
                    </a:cubicBezTo>
                    <a:cubicBezTo>
                      <a:pt x="17" y="76"/>
                      <a:pt x="11" y="67"/>
                      <a:pt x="16" y="60"/>
                    </a:cubicBezTo>
                    <a:cubicBezTo>
                      <a:pt x="18" y="56"/>
                      <a:pt x="25" y="45"/>
                      <a:pt x="28" y="42"/>
                    </a:cubicBezTo>
                    <a:cubicBezTo>
                      <a:pt x="31" y="39"/>
                      <a:pt x="41" y="31"/>
                      <a:pt x="41" y="31"/>
                    </a:cubicBezTo>
                    <a:cubicBezTo>
                      <a:pt x="44" y="24"/>
                      <a:pt x="50" y="13"/>
                      <a:pt x="46" y="5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77" name="Freeform 492">
                <a:extLst>
                  <a:ext uri="{FF2B5EF4-FFF2-40B4-BE49-F238E27FC236}">
                    <a16:creationId xmlns:a16="http://schemas.microsoft.com/office/drawing/2014/main" id="{A0C40CE7-9A74-4C8E-9939-C658F0DD1837}"/>
                  </a:ext>
                </a:extLst>
              </p:cNvPr>
              <p:cNvSpPr>
                <a:spLocks/>
              </p:cNvSpPr>
              <p:nvPr>
                <p:custDataLst>
                  <p:tags r:id="rId164"/>
                </p:custDataLst>
              </p:nvPr>
            </p:nvSpPr>
            <p:spPr bwMode="gray">
              <a:xfrm>
                <a:off x="4777830" y="4152864"/>
                <a:ext cx="285833" cy="188018"/>
              </a:xfrm>
              <a:custGeom>
                <a:avLst/>
                <a:gdLst>
                  <a:gd name="T0" fmla="*/ 11 w 188"/>
                  <a:gd name="T1" fmla="*/ 49 h 119"/>
                  <a:gd name="T2" fmla="*/ 47 w 188"/>
                  <a:gd name="T3" fmla="*/ 52 h 119"/>
                  <a:gd name="T4" fmla="*/ 65 w 188"/>
                  <a:gd name="T5" fmla="*/ 40 h 119"/>
                  <a:gd name="T6" fmla="*/ 97 w 188"/>
                  <a:gd name="T7" fmla="*/ 17 h 119"/>
                  <a:gd name="T8" fmla="*/ 121 w 188"/>
                  <a:gd name="T9" fmla="*/ 0 h 119"/>
                  <a:gd name="T10" fmla="*/ 130 w 188"/>
                  <a:gd name="T11" fmla="*/ 14 h 119"/>
                  <a:gd name="T12" fmla="*/ 136 w 188"/>
                  <a:gd name="T13" fmla="*/ 29 h 119"/>
                  <a:gd name="T14" fmla="*/ 144 w 188"/>
                  <a:gd name="T15" fmla="*/ 41 h 119"/>
                  <a:gd name="T16" fmla="*/ 156 w 188"/>
                  <a:gd name="T17" fmla="*/ 48 h 119"/>
                  <a:gd name="T18" fmla="*/ 164 w 188"/>
                  <a:gd name="T19" fmla="*/ 59 h 119"/>
                  <a:gd name="T20" fmla="*/ 180 w 188"/>
                  <a:gd name="T21" fmla="*/ 77 h 119"/>
                  <a:gd name="T22" fmla="*/ 188 w 188"/>
                  <a:gd name="T23" fmla="*/ 87 h 119"/>
                  <a:gd name="T24" fmla="*/ 169 w 188"/>
                  <a:gd name="T25" fmla="*/ 88 h 119"/>
                  <a:gd name="T26" fmla="*/ 152 w 188"/>
                  <a:gd name="T27" fmla="*/ 93 h 119"/>
                  <a:gd name="T28" fmla="*/ 136 w 188"/>
                  <a:gd name="T29" fmla="*/ 91 h 119"/>
                  <a:gd name="T30" fmla="*/ 106 w 188"/>
                  <a:gd name="T31" fmla="*/ 102 h 119"/>
                  <a:gd name="T32" fmla="*/ 86 w 188"/>
                  <a:gd name="T33" fmla="*/ 96 h 119"/>
                  <a:gd name="T34" fmla="*/ 68 w 188"/>
                  <a:gd name="T35" fmla="*/ 91 h 119"/>
                  <a:gd name="T36" fmla="*/ 55 w 188"/>
                  <a:gd name="T37" fmla="*/ 110 h 119"/>
                  <a:gd name="T38" fmla="*/ 34 w 188"/>
                  <a:gd name="T39" fmla="*/ 110 h 119"/>
                  <a:gd name="T40" fmla="*/ 19 w 188"/>
                  <a:gd name="T41" fmla="*/ 116 h 119"/>
                  <a:gd name="T42" fmla="*/ 7 w 188"/>
                  <a:gd name="T43" fmla="*/ 91 h 119"/>
                  <a:gd name="T44" fmla="*/ 10 w 188"/>
                  <a:gd name="T45" fmla="*/ 58 h 119"/>
                  <a:gd name="T46" fmla="*/ 11 w 188"/>
                  <a:gd name="T47" fmla="*/ 49 h 11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188" h="119">
                    <a:moveTo>
                      <a:pt x="11" y="49"/>
                    </a:moveTo>
                    <a:cubicBezTo>
                      <a:pt x="16" y="48"/>
                      <a:pt x="38" y="53"/>
                      <a:pt x="47" y="52"/>
                    </a:cubicBezTo>
                    <a:cubicBezTo>
                      <a:pt x="56" y="51"/>
                      <a:pt x="62" y="43"/>
                      <a:pt x="65" y="40"/>
                    </a:cubicBezTo>
                    <a:cubicBezTo>
                      <a:pt x="73" y="34"/>
                      <a:pt x="88" y="23"/>
                      <a:pt x="97" y="17"/>
                    </a:cubicBezTo>
                    <a:cubicBezTo>
                      <a:pt x="98" y="10"/>
                      <a:pt x="114" y="3"/>
                      <a:pt x="121" y="0"/>
                    </a:cubicBezTo>
                    <a:cubicBezTo>
                      <a:pt x="124" y="5"/>
                      <a:pt x="127" y="9"/>
                      <a:pt x="130" y="14"/>
                    </a:cubicBezTo>
                    <a:cubicBezTo>
                      <a:pt x="133" y="19"/>
                      <a:pt x="132" y="24"/>
                      <a:pt x="136" y="29"/>
                    </a:cubicBezTo>
                    <a:cubicBezTo>
                      <a:pt x="138" y="33"/>
                      <a:pt x="141" y="38"/>
                      <a:pt x="144" y="41"/>
                    </a:cubicBezTo>
                    <a:cubicBezTo>
                      <a:pt x="147" y="45"/>
                      <a:pt x="153" y="45"/>
                      <a:pt x="156" y="48"/>
                    </a:cubicBezTo>
                    <a:cubicBezTo>
                      <a:pt x="159" y="51"/>
                      <a:pt x="160" y="54"/>
                      <a:pt x="164" y="59"/>
                    </a:cubicBezTo>
                    <a:cubicBezTo>
                      <a:pt x="170" y="65"/>
                      <a:pt x="171" y="75"/>
                      <a:pt x="180" y="77"/>
                    </a:cubicBezTo>
                    <a:cubicBezTo>
                      <a:pt x="181" y="83"/>
                      <a:pt x="187" y="81"/>
                      <a:pt x="188" y="87"/>
                    </a:cubicBezTo>
                    <a:cubicBezTo>
                      <a:pt x="187" y="90"/>
                      <a:pt x="175" y="87"/>
                      <a:pt x="169" y="88"/>
                    </a:cubicBezTo>
                    <a:cubicBezTo>
                      <a:pt x="163" y="89"/>
                      <a:pt x="157" y="93"/>
                      <a:pt x="152" y="93"/>
                    </a:cubicBezTo>
                    <a:cubicBezTo>
                      <a:pt x="143" y="95"/>
                      <a:pt x="143" y="89"/>
                      <a:pt x="136" y="91"/>
                    </a:cubicBezTo>
                    <a:cubicBezTo>
                      <a:pt x="128" y="93"/>
                      <a:pt x="114" y="101"/>
                      <a:pt x="106" y="102"/>
                    </a:cubicBezTo>
                    <a:cubicBezTo>
                      <a:pt x="96" y="109"/>
                      <a:pt x="96" y="98"/>
                      <a:pt x="86" y="96"/>
                    </a:cubicBezTo>
                    <a:cubicBezTo>
                      <a:pt x="79" y="91"/>
                      <a:pt x="78" y="90"/>
                      <a:pt x="68" y="91"/>
                    </a:cubicBezTo>
                    <a:cubicBezTo>
                      <a:pt x="63" y="92"/>
                      <a:pt x="63" y="106"/>
                      <a:pt x="55" y="110"/>
                    </a:cubicBezTo>
                    <a:cubicBezTo>
                      <a:pt x="49" y="113"/>
                      <a:pt x="40" y="109"/>
                      <a:pt x="34" y="110"/>
                    </a:cubicBezTo>
                    <a:cubicBezTo>
                      <a:pt x="28" y="111"/>
                      <a:pt x="23" y="119"/>
                      <a:pt x="19" y="116"/>
                    </a:cubicBezTo>
                    <a:cubicBezTo>
                      <a:pt x="0" y="113"/>
                      <a:pt x="16" y="103"/>
                      <a:pt x="7" y="91"/>
                    </a:cubicBezTo>
                    <a:cubicBezTo>
                      <a:pt x="4" y="76"/>
                      <a:pt x="1" y="69"/>
                      <a:pt x="10" y="58"/>
                    </a:cubicBezTo>
                    <a:cubicBezTo>
                      <a:pt x="11" y="50"/>
                      <a:pt x="11" y="53"/>
                      <a:pt x="11" y="49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78" name="Freeform 494">
                <a:extLst>
                  <a:ext uri="{FF2B5EF4-FFF2-40B4-BE49-F238E27FC236}">
                    <a16:creationId xmlns:a16="http://schemas.microsoft.com/office/drawing/2014/main" id="{D833F40F-667C-43A2-84DB-77AFD35306A3}"/>
                  </a:ext>
                </a:extLst>
              </p:cNvPr>
              <p:cNvSpPr>
                <a:spLocks/>
              </p:cNvSpPr>
              <p:nvPr>
                <p:custDataLst>
                  <p:tags r:id="rId165"/>
                </p:custDataLst>
              </p:nvPr>
            </p:nvSpPr>
            <p:spPr bwMode="gray">
              <a:xfrm>
                <a:off x="4949626" y="3889331"/>
                <a:ext cx="353959" cy="319015"/>
              </a:xfrm>
              <a:custGeom>
                <a:avLst/>
                <a:gdLst>
                  <a:gd name="T0" fmla="*/ 12 w 234"/>
                  <a:gd name="T1" fmla="*/ 101 h 203"/>
                  <a:gd name="T2" fmla="*/ 24 w 234"/>
                  <a:gd name="T3" fmla="*/ 87 h 203"/>
                  <a:gd name="T4" fmla="*/ 26 w 234"/>
                  <a:gd name="T5" fmla="*/ 36 h 203"/>
                  <a:gd name="T6" fmla="*/ 41 w 234"/>
                  <a:gd name="T7" fmla="*/ 37 h 203"/>
                  <a:gd name="T8" fmla="*/ 40 w 234"/>
                  <a:gd name="T9" fmla="*/ 7 h 203"/>
                  <a:gd name="T10" fmla="*/ 152 w 234"/>
                  <a:gd name="T11" fmla="*/ 7 h 203"/>
                  <a:gd name="T12" fmla="*/ 181 w 234"/>
                  <a:gd name="T13" fmla="*/ 8 h 203"/>
                  <a:gd name="T14" fmla="*/ 209 w 234"/>
                  <a:gd name="T15" fmla="*/ 0 h 203"/>
                  <a:gd name="T16" fmla="*/ 216 w 234"/>
                  <a:gd name="T17" fmla="*/ 8 h 203"/>
                  <a:gd name="T18" fmla="*/ 218 w 234"/>
                  <a:gd name="T19" fmla="*/ 13 h 203"/>
                  <a:gd name="T20" fmla="*/ 220 w 234"/>
                  <a:gd name="T21" fmla="*/ 22 h 203"/>
                  <a:gd name="T22" fmla="*/ 221 w 234"/>
                  <a:gd name="T23" fmla="*/ 36 h 203"/>
                  <a:gd name="T24" fmla="*/ 234 w 234"/>
                  <a:gd name="T25" fmla="*/ 60 h 203"/>
                  <a:gd name="T26" fmla="*/ 224 w 234"/>
                  <a:gd name="T27" fmla="*/ 78 h 203"/>
                  <a:gd name="T28" fmla="*/ 213 w 234"/>
                  <a:gd name="T29" fmla="*/ 93 h 203"/>
                  <a:gd name="T30" fmla="*/ 211 w 234"/>
                  <a:gd name="T31" fmla="*/ 106 h 203"/>
                  <a:gd name="T32" fmla="*/ 209 w 234"/>
                  <a:gd name="T33" fmla="*/ 112 h 203"/>
                  <a:gd name="T34" fmla="*/ 207 w 234"/>
                  <a:gd name="T35" fmla="*/ 136 h 203"/>
                  <a:gd name="T36" fmla="*/ 199 w 234"/>
                  <a:gd name="T37" fmla="*/ 146 h 203"/>
                  <a:gd name="T38" fmla="*/ 192 w 234"/>
                  <a:gd name="T39" fmla="*/ 157 h 203"/>
                  <a:gd name="T40" fmla="*/ 189 w 234"/>
                  <a:gd name="T41" fmla="*/ 160 h 203"/>
                  <a:gd name="T42" fmla="*/ 181 w 234"/>
                  <a:gd name="T43" fmla="*/ 174 h 203"/>
                  <a:gd name="T44" fmla="*/ 176 w 234"/>
                  <a:gd name="T45" fmla="*/ 190 h 203"/>
                  <a:gd name="T46" fmla="*/ 173 w 234"/>
                  <a:gd name="T47" fmla="*/ 187 h 203"/>
                  <a:gd name="T48" fmla="*/ 162 w 234"/>
                  <a:gd name="T49" fmla="*/ 163 h 203"/>
                  <a:gd name="T50" fmla="*/ 156 w 234"/>
                  <a:gd name="T51" fmla="*/ 156 h 203"/>
                  <a:gd name="T52" fmla="*/ 152 w 234"/>
                  <a:gd name="T53" fmla="*/ 160 h 203"/>
                  <a:gd name="T54" fmla="*/ 145 w 234"/>
                  <a:gd name="T55" fmla="*/ 177 h 203"/>
                  <a:gd name="T56" fmla="*/ 129 w 234"/>
                  <a:gd name="T57" fmla="*/ 189 h 203"/>
                  <a:gd name="T58" fmla="*/ 116 w 234"/>
                  <a:gd name="T59" fmla="*/ 179 h 203"/>
                  <a:gd name="T60" fmla="*/ 106 w 234"/>
                  <a:gd name="T61" fmla="*/ 187 h 203"/>
                  <a:gd name="T62" fmla="*/ 93 w 234"/>
                  <a:gd name="T63" fmla="*/ 193 h 203"/>
                  <a:gd name="T64" fmla="*/ 86 w 234"/>
                  <a:gd name="T65" fmla="*/ 194 h 203"/>
                  <a:gd name="T66" fmla="*/ 63 w 234"/>
                  <a:gd name="T67" fmla="*/ 191 h 203"/>
                  <a:gd name="T68" fmla="*/ 53 w 234"/>
                  <a:gd name="T69" fmla="*/ 179 h 203"/>
                  <a:gd name="T70" fmla="*/ 39 w 234"/>
                  <a:gd name="T71" fmla="*/ 183 h 203"/>
                  <a:gd name="T72" fmla="*/ 36 w 234"/>
                  <a:gd name="T73" fmla="*/ 194 h 203"/>
                  <a:gd name="T74" fmla="*/ 29 w 234"/>
                  <a:gd name="T75" fmla="*/ 203 h 203"/>
                  <a:gd name="T76" fmla="*/ 21 w 234"/>
                  <a:gd name="T77" fmla="*/ 193 h 203"/>
                  <a:gd name="T78" fmla="*/ 13 w 234"/>
                  <a:gd name="T79" fmla="*/ 177 h 203"/>
                  <a:gd name="T80" fmla="*/ 4 w 234"/>
                  <a:gd name="T81" fmla="*/ 159 h 203"/>
                  <a:gd name="T82" fmla="*/ 0 w 234"/>
                  <a:gd name="T83" fmla="*/ 140 h 203"/>
                  <a:gd name="T84" fmla="*/ 4 w 234"/>
                  <a:gd name="T85" fmla="*/ 125 h 203"/>
                  <a:gd name="T86" fmla="*/ 10 w 234"/>
                  <a:gd name="T87" fmla="*/ 115 h 203"/>
                  <a:gd name="T88" fmla="*/ 9 w 234"/>
                  <a:gd name="T89" fmla="*/ 111 h 203"/>
                  <a:gd name="T90" fmla="*/ 12 w 234"/>
                  <a:gd name="T91" fmla="*/ 101 h 20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234" h="203">
                    <a:moveTo>
                      <a:pt x="12" y="101"/>
                    </a:moveTo>
                    <a:lnTo>
                      <a:pt x="24" y="87"/>
                    </a:lnTo>
                    <a:lnTo>
                      <a:pt x="26" y="36"/>
                    </a:lnTo>
                    <a:lnTo>
                      <a:pt x="41" y="37"/>
                    </a:lnTo>
                    <a:lnTo>
                      <a:pt x="40" y="7"/>
                    </a:lnTo>
                    <a:lnTo>
                      <a:pt x="152" y="7"/>
                    </a:lnTo>
                    <a:lnTo>
                      <a:pt x="181" y="8"/>
                    </a:lnTo>
                    <a:lnTo>
                      <a:pt x="209" y="0"/>
                    </a:lnTo>
                    <a:cubicBezTo>
                      <a:pt x="213" y="2"/>
                      <a:pt x="214" y="6"/>
                      <a:pt x="216" y="8"/>
                    </a:cubicBezTo>
                    <a:cubicBezTo>
                      <a:pt x="217" y="10"/>
                      <a:pt x="217" y="12"/>
                      <a:pt x="218" y="13"/>
                    </a:cubicBezTo>
                    <a:cubicBezTo>
                      <a:pt x="218" y="16"/>
                      <a:pt x="219" y="19"/>
                      <a:pt x="220" y="22"/>
                    </a:cubicBezTo>
                    <a:cubicBezTo>
                      <a:pt x="221" y="26"/>
                      <a:pt x="219" y="30"/>
                      <a:pt x="221" y="36"/>
                    </a:cubicBezTo>
                    <a:cubicBezTo>
                      <a:pt x="224" y="43"/>
                      <a:pt x="233" y="53"/>
                      <a:pt x="234" y="60"/>
                    </a:cubicBezTo>
                    <a:cubicBezTo>
                      <a:pt x="234" y="67"/>
                      <a:pt x="227" y="74"/>
                      <a:pt x="224" y="78"/>
                    </a:cubicBezTo>
                    <a:cubicBezTo>
                      <a:pt x="221" y="83"/>
                      <a:pt x="215" y="89"/>
                      <a:pt x="213" y="93"/>
                    </a:cubicBezTo>
                    <a:cubicBezTo>
                      <a:pt x="211" y="97"/>
                      <a:pt x="214" y="101"/>
                      <a:pt x="211" y="106"/>
                    </a:cubicBezTo>
                    <a:cubicBezTo>
                      <a:pt x="210" y="108"/>
                      <a:pt x="210" y="110"/>
                      <a:pt x="209" y="112"/>
                    </a:cubicBezTo>
                    <a:cubicBezTo>
                      <a:pt x="211" y="117"/>
                      <a:pt x="213" y="132"/>
                      <a:pt x="207" y="136"/>
                    </a:cubicBezTo>
                    <a:cubicBezTo>
                      <a:pt x="204" y="143"/>
                      <a:pt x="209" y="145"/>
                      <a:pt x="199" y="146"/>
                    </a:cubicBezTo>
                    <a:cubicBezTo>
                      <a:pt x="197" y="149"/>
                      <a:pt x="194" y="155"/>
                      <a:pt x="192" y="157"/>
                    </a:cubicBezTo>
                    <a:cubicBezTo>
                      <a:pt x="191" y="158"/>
                      <a:pt x="189" y="160"/>
                      <a:pt x="189" y="160"/>
                    </a:cubicBezTo>
                    <a:cubicBezTo>
                      <a:pt x="187" y="163"/>
                      <a:pt x="183" y="171"/>
                      <a:pt x="181" y="174"/>
                    </a:cubicBezTo>
                    <a:cubicBezTo>
                      <a:pt x="179" y="179"/>
                      <a:pt x="177" y="188"/>
                      <a:pt x="176" y="190"/>
                    </a:cubicBezTo>
                    <a:cubicBezTo>
                      <a:pt x="175" y="191"/>
                      <a:pt x="174" y="189"/>
                      <a:pt x="173" y="187"/>
                    </a:cubicBezTo>
                    <a:cubicBezTo>
                      <a:pt x="171" y="183"/>
                      <a:pt x="165" y="168"/>
                      <a:pt x="162" y="163"/>
                    </a:cubicBezTo>
                    <a:cubicBezTo>
                      <a:pt x="160" y="160"/>
                      <a:pt x="158" y="157"/>
                      <a:pt x="156" y="156"/>
                    </a:cubicBezTo>
                    <a:cubicBezTo>
                      <a:pt x="155" y="157"/>
                      <a:pt x="154" y="157"/>
                      <a:pt x="152" y="160"/>
                    </a:cubicBezTo>
                    <a:lnTo>
                      <a:pt x="145" y="177"/>
                    </a:lnTo>
                    <a:lnTo>
                      <a:pt x="129" y="189"/>
                    </a:lnTo>
                    <a:lnTo>
                      <a:pt x="116" y="179"/>
                    </a:lnTo>
                    <a:cubicBezTo>
                      <a:pt x="112" y="179"/>
                      <a:pt x="109" y="185"/>
                      <a:pt x="106" y="187"/>
                    </a:cubicBezTo>
                    <a:cubicBezTo>
                      <a:pt x="102" y="189"/>
                      <a:pt x="96" y="192"/>
                      <a:pt x="93" y="193"/>
                    </a:cubicBezTo>
                    <a:cubicBezTo>
                      <a:pt x="91" y="194"/>
                      <a:pt x="89" y="194"/>
                      <a:pt x="86" y="194"/>
                    </a:cubicBezTo>
                    <a:cubicBezTo>
                      <a:pt x="83" y="186"/>
                      <a:pt x="69" y="191"/>
                      <a:pt x="63" y="191"/>
                    </a:cubicBezTo>
                    <a:cubicBezTo>
                      <a:pt x="61" y="187"/>
                      <a:pt x="57" y="181"/>
                      <a:pt x="53" y="179"/>
                    </a:cubicBezTo>
                    <a:cubicBezTo>
                      <a:pt x="36" y="179"/>
                      <a:pt x="46" y="178"/>
                      <a:pt x="39" y="183"/>
                    </a:cubicBezTo>
                    <a:cubicBezTo>
                      <a:pt x="37" y="187"/>
                      <a:pt x="37" y="190"/>
                      <a:pt x="36" y="194"/>
                    </a:cubicBezTo>
                    <a:cubicBezTo>
                      <a:pt x="35" y="197"/>
                      <a:pt x="32" y="201"/>
                      <a:pt x="29" y="203"/>
                    </a:cubicBezTo>
                    <a:cubicBezTo>
                      <a:pt x="27" y="203"/>
                      <a:pt x="23" y="196"/>
                      <a:pt x="21" y="193"/>
                    </a:cubicBezTo>
                    <a:cubicBezTo>
                      <a:pt x="18" y="189"/>
                      <a:pt x="16" y="183"/>
                      <a:pt x="13" y="177"/>
                    </a:cubicBezTo>
                    <a:cubicBezTo>
                      <a:pt x="10" y="173"/>
                      <a:pt x="6" y="165"/>
                      <a:pt x="4" y="159"/>
                    </a:cubicBezTo>
                    <a:cubicBezTo>
                      <a:pt x="3" y="155"/>
                      <a:pt x="0" y="146"/>
                      <a:pt x="0" y="140"/>
                    </a:cubicBezTo>
                    <a:cubicBezTo>
                      <a:pt x="0" y="134"/>
                      <a:pt x="2" y="129"/>
                      <a:pt x="4" y="125"/>
                    </a:cubicBezTo>
                    <a:cubicBezTo>
                      <a:pt x="0" y="120"/>
                      <a:pt x="5" y="116"/>
                      <a:pt x="10" y="115"/>
                    </a:cubicBezTo>
                    <a:cubicBezTo>
                      <a:pt x="9" y="114"/>
                      <a:pt x="7" y="113"/>
                      <a:pt x="9" y="111"/>
                    </a:cubicBezTo>
                    <a:cubicBezTo>
                      <a:pt x="10" y="106"/>
                      <a:pt x="9" y="113"/>
                      <a:pt x="12" y="101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79" name="Freeform 493">
                <a:extLst>
                  <a:ext uri="{FF2B5EF4-FFF2-40B4-BE49-F238E27FC236}">
                    <a16:creationId xmlns:a16="http://schemas.microsoft.com/office/drawing/2014/main" id="{3801672D-5C89-4AE9-8DA2-AF61D64CD041}"/>
                  </a:ext>
                </a:extLst>
              </p:cNvPr>
              <p:cNvSpPr>
                <a:spLocks/>
              </p:cNvSpPr>
              <p:nvPr>
                <p:custDataLst>
                  <p:tags r:id="rId166"/>
                </p:custDataLst>
              </p:nvPr>
            </p:nvSpPr>
            <p:spPr bwMode="gray">
              <a:xfrm>
                <a:off x="4992574" y="4126665"/>
                <a:ext cx="266580" cy="198806"/>
              </a:xfrm>
              <a:custGeom>
                <a:avLst/>
                <a:gdLst>
                  <a:gd name="T0" fmla="*/ 177 w 177"/>
                  <a:gd name="T1" fmla="*/ 113 h 126"/>
                  <a:gd name="T2" fmla="*/ 151 w 177"/>
                  <a:gd name="T3" fmla="*/ 111 h 126"/>
                  <a:gd name="T4" fmla="*/ 142 w 177"/>
                  <a:gd name="T5" fmla="*/ 117 h 126"/>
                  <a:gd name="T6" fmla="*/ 134 w 177"/>
                  <a:gd name="T7" fmla="*/ 123 h 126"/>
                  <a:gd name="T8" fmla="*/ 127 w 177"/>
                  <a:gd name="T9" fmla="*/ 122 h 126"/>
                  <a:gd name="T10" fmla="*/ 113 w 177"/>
                  <a:gd name="T11" fmla="*/ 122 h 126"/>
                  <a:gd name="T12" fmla="*/ 110 w 177"/>
                  <a:gd name="T13" fmla="*/ 126 h 126"/>
                  <a:gd name="T14" fmla="*/ 94 w 177"/>
                  <a:gd name="T15" fmla="*/ 125 h 126"/>
                  <a:gd name="T16" fmla="*/ 87 w 177"/>
                  <a:gd name="T17" fmla="*/ 118 h 126"/>
                  <a:gd name="T18" fmla="*/ 74 w 177"/>
                  <a:gd name="T19" fmla="*/ 113 h 126"/>
                  <a:gd name="T20" fmla="*/ 63 w 177"/>
                  <a:gd name="T21" fmla="*/ 115 h 126"/>
                  <a:gd name="T22" fmla="*/ 50 w 177"/>
                  <a:gd name="T23" fmla="*/ 107 h 126"/>
                  <a:gd name="T24" fmla="*/ 49 w 177"/>
                  <a:gd name="T25" fmla="*/ 105 h 126"/>
                  <a:gd name="T26" fmla="*/ 45 w 177"/>
                  <a:gd name="T27" fmla="*/ 102 h 126"/>
                  <a:gd name="T28" fmla="*/ 32 w 177"/>
                  <a:gd name="T29" fmla="*/ 87 h 126"/>
                  <a:gd name="T30" fmla="*/ 29 w 177"/>
                  <a:gd name="T31" fmla="*/ 81 h 126"/>
                  <a:gd name="T32" fmla="*/ 18 w 177"/>
                  <a:gd name="T33" fmla="*/ 73 h 126"/>
                  <a:gd name="T34" fmla="*/ 12 w 177"/>
                  <a:gd name="T35" fmla="*/ 63 h 126"/>
                  <a:gd name="T36" fmla="*/ 3 w 177"/>
                  <a:gd name="T37" fmla="*/ 59 h 126"/>
                  <a:gd name="T38" fmla="*/ 0 w 177"/>
                  <a:gd name="T39" fmla="*/ 57 h 126"/>
                  <a:gd name="T40" fmla="*/ 4 w 177"/>
                  <a:gd name="T41" fmla="*/ 49 h 126"/>
                  <a:gd name="T42" fmla="*/ 9 w 177"/>
                  <a:gd name="T43" fmla="*/ 35 h 126"/>
                  <a:gd name="T44" fmla="*/ 13 w 177"/>
                  <a:gd name="T45" fmla="*/ 30 h 126"/>
                  <a:gd name="T46" fmla="*/ 25 w 177"/>
                  <a:gd name="T47" fmla="*/ 28 h 126"/>
                  <a:gd name="T48" fmla="*/ 35 w 177"/>
                  <a:gd name="T49" fmla="*/ 37 h 126"/>
                  <a:gd name="T50" fmla="*/ 44 w 177"/>
                  <a:gd name="T51" fmla="*/ 38 h 126"/>
                  <a:gd name="T52" fmla="*/ 59 w 177"/>
                  <a:gd name="T53" fmla="*/ 42 h 126"/>
                  <a:gd name="T54" fmla="*/ 69 w 177"/>
                  <a:gd name="T55" fmla="*/ 41 h 126"/>
                  <a:gd name="T56" fmla="*/ 70 w 177"/>
                  <a:gd name="T57" fmla="*/ 39 h 126"/>
                  <a:gd name="T58" fmla="*/ 81 w 177"/>
                  <a:gd name="T59" fmla="*/ 31 h 126"/>
                  <a:gd name="T60" fmla="*/ 87 w 177"/>
                  <a:gd name="T61" fmla="*/ 27 h 126"/>
                  <a:gd name="T62" fmla="*/ 101 w 177"/>
                  <a:gd name="T63" fmla="*/ 37 h 126"/>
                  <a:gd name="T64" fmla="*/ 107 w 177"/>
                  <a:gd name="T65" fmla="*/ 37 h 126"/>
                  <a:gd name="T66" fmla="*/ 116 w 177"/>
                  <a:gd name="T67" fmla="*/ 26 h 126"/>
                  <a:gd name="T68" fmla="*/ 123 w 177"/>
                  <a:gd name="T69" fmla="*/ 20 h 126"/>
                  <a:gd name="T70" fmla="*/ 124 w 177"/>
                  <a:gd name="T71" fmla="*/ 8 h 126"/>
                  <a:gd name="T72" fmla="*/ 119 w 177"/>
                  <a:gd name="T73" fmla="*/ 4 h 126"/>
                  <a:gd name="T74" fmla="*/ 130 w 177"/>
                  <a:gd name="T75" fmla="*/ 0 h 126"/>
                  <a:gd name="T76" fmla="*/ 134 w 177"/>
                  <a:gd name="T77" fmla="*/ 15 h 126"/>
                  <a:gd name="T78" fmla="*/ 141 w 177"/>
                  <a:gd name="T79" fmla="*/ 25 h 126"/>
                  <a:gd name="T80" fmla="*/ 147 w 177"/>
                  <a:gd name="T81" fmla="*/ 41 h 126"/>
                  <a:gd name="T82" fmla="*/ 144 w 177"/>
                  <a:gd name="T83" fmla="*/ 54 h 126"/>
                  <a:gd name="T84" fmla="*/ 136 w 177"/>
                  <a:gd name="T85" fmla="*/ 56 h 126"/>
                  <a:gd name="T86" fmla="*/ 132 w 177"/>
                  <a:gd name="T87" fmla="*/ 63 h 126"/>
                  <a:gd name="T88" fmla="*/ 140 w 177"/>
                  <a:gd name="T89" fmla="*/ 66 h 126"/>
                  <a:gd name="T90" fmla="*/ 153 w 177"/>
                  <a:gd name="T91" fmla="*/ 80 h 126"/>
                  <a:gd name="T92" fmla="*/ 159 w 177"/>
                  <a:gd name="T93" fmla="*/ 85 h 126"/>
                  <a:gd name="T94" fmla="*/ 164 w 177"/>
                  <a:gd name="T95" fmla="*/ 98 h 126"/>
                  <a:gd name="T96" fmla="*/ 166 w 177"/>
                  <a:gd name="T97" fmla="*/ 101 h 126"/>
                  <a:gd name="T98" fmla="*/ 177 w 177"/>
                  <a:gd name="T99" fmla="*/ 113 h 1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77" h="126">
                    <a:moveTo>
                      <a:pt x="177" y="113"/>
                    </a:moveTo>
                    <a:lnTo>
                      <a:pt x="151" y="111"/>
                    </a:lnTo>
                    <a:cubicBezTo>
                      <a:pt x="148" y="114"/>
                      <a:pt x="145" y="115"/>
                      <a:pt x="142" y="117"/>
                    </a:cubicBezTo>
                    <a:cubicBezTo>
                      <a:pt x="141" y="121"/>
                      <a:pt x="137" y="122"/>
                      <a:pt x="134" y="123"/>
                    </a:cubicBezTo>
                    <a:cubicBezTo>
                      <a:pt x="131" y="121"/>
                      <a:pt x="130" y="122"/>
                      <a:pt x="127" y="122"/>
                    </a:cubicBezTo>
                    <a:cubicBezTo>
                      <a:pt x="124" y="122"/>
                      <a:pt x="116" y="121"/>
                      <a:pt x="113" y="122"/>
                    </a:cubicBezTo>
                    <a:cubicBezTo>
                      <a:pt x="111" y="122"/>
                      <a:pt x="110" y="123"/>
                      <a:pt x="110" y="126"/>
                    </a:cubicBezTo>
                    <a:cubicBezTo>
                      <a:pt x="107" y="126"/>
                      <a:pt x="98" y="126"/>
                      <a:pt x="94" y="125"/>
                    </a:cubicBezTo>
                    <a:cubicBezTo>
                      <a:pt x="94" y="123"/>
                      <a:pt x="89" y="118"/>
                      <a:pt x="87" y="118"/>
                    </a:cubicBezTo>
                    <a:cubicBezTo>
                      <a:pt x="84" y="116"/>
                      <a:pt x="76" y="114"/>
                      <a:pt x="74" y="113"/>
                    </a:cubicBezTo>
                    <a:cubicBezTo>
                      <a:pt x="70" y="112"/>
                      <a:pt x="66" y="115"/>
                      <a:pt x="63" y="115"/>
                    </a:cubicBezTo>
                    <a:cubicBezTo>
                      <a:pt x="59" y="114"/>
                      <a:pt x="52" y="109"/>
                      <a:pt x="50" y="107"/>
                    </a:cubicBezTo>
                    <a:cubicBezTo>
                      <a:pt x="50" y="106"/>
                      <a:pt x="50" y="106"/>
                      <a:pt x="49" y="105"/>
                    </a:cubicBezTo>
                    <a:cubicBezTo>
                      <a:pt x="48" y="105"/>
                      <a:pt x="47" y="104"/>
                      <a:pt x="45" y="102"/>
                    </a:cubicBezTo>
                    <a:cubicBezTo>
                      <a:pt x="42" y="99"/>
                      <a:pt x="35" y="90"/>
                      <a:pt x="32" y="87"/>
                    </a:cubicBezTo>
                    <a:cubicBezTo>
                      <a:pt x="30" y="84"/>
                      <a:pt x="33" y="81"/>
                      <a:pt x="29" y="81"/>
                    </a:cubicBezTo>
                    <a:cubicBezTo>
                      <a:pt x="27" y="79"/>
                      <a:pt x="20" y="75"/>
                      <a:pt x="18" y="73"/>
                    </a:cubicBezTo>
                    <a:cubicBezTo>
                      <a:pt x="15" y="70"/>
                      <a:pt x="14" y="65"/>
                      <a:pt x="12" y="63"/>
                    </a:cubicBezTo>
                    <a:cubicBezTo>
                      <a:pt x="7" y="61"/>
                      <a:pt x="9" y="60"/>
                      <a:pt x="3" y="59"/>
                    </a:cubicBezTo>
                    <a:cubicBezTo>
                      <a:pt x="2" y="58"/>
                      <a:pt x="0" y="59"/>
                      <a:pt x="0" y="57"/>
                    </a:cubicBezTo>
                    <a:cubicBezTo>
                      <a:pt x="0" y="53"/>
                      <a:pt x="1" y="50"/>
                      <a:pt x="4" y="49"/>
                    </a:cubicBezTo>
                    <a:cubicBezTo>
                      <a:pt x="6" y="45"/>
                      <a:pt x="8" y="38"/>
                      <a:pt x="9" y="35"/>
                    </a:cubicBezTo>
                    <a:cubicBezTo>
                      <a:pt x="10" y="32"/>
                      <a:pt x="11" y="32"/>
                      <a:pt x="13" y="30"/>
                    </a:cubicBezTo>
                    <a:cubicBezTo>
                      <a:pt x="16" y="26"/>
                      <a:pt x="18" y="28"/>
                      <a:pt x="25" y="28"/>
                    </a:cubicBezTo>
                    <a:cubicBezTo>
                      <a:pt x="29" y="29"/>
                      <a:pt x="32" y="35"/>
                      <a:pt x="35" y="37"/>
                    </a:cubicBezTo>
                    <a:cubicBezTo>
                      <a:pt x="35" y="42"/>
                      <a:pt x="39" y="39"/>
                      <a:pt x="44" y="38"/>
                    </a:cubicBezTo>
                    <a:cubicBezTo>
                      <a:pt x="48" y="39"/>
                      <a:pt x="55" y="42"/>
                      <a:pt x="59" y="42"/>
                    </a:cubicBezTo>
                    <a:cubicBezTo>
                      <a:pt x="62" y="42"/>
                      <a:pt x="66" y="43"/>
                      <a:pt x="69" y="41"/>
                    </a:cubicBezTo>
                    <a:cubicBezTo>
                      <a:pt x="70" y="40"/>
                      <a:pt x="69" y="39"/>
                      <a:pt x="70" y="39"/>
                    </a:cubicBezTo>
                    <a:cubicBezTo>
                      <a:pt x="72" y="37"/>
                      <a:pt x="78" y="33"/>
                      <a:pt x="81" y="31"/>
                    </a:cubicBezTo>
                    <a:cubicBezTo>
                      <a:pt x="83" y="30"/>
                      <a:pt x="87" y="27"/>
                      <a:pt x="87" y="27"/>
                    </a:cubicBezTo>
                    <a:lnTo>
                      <a:pt x="101" y="37"/>
                    </a:lnTo>
                    <a:lnTo>
                      <a:pt x="107" y="37"/>
                    </a:lnTo>
                    <a:lnTo>
                      <a:pt x="116" y="26"/>
                    </a:lnTo>
                    <a:lnTo>
                      <a:pt x="123" y="20"/>
                    </a:lnTo>
                    <a:lnTo>
                      <a:pt x="124" y="8"/>
                    </a:lnTo>
                    <a:lnTo>
                      <a:pt x="119" y="4"/>
                    </a:lnTo>
                    <a:cubicBezTo>
                      <a:pt x="129" y="4"/>
                      <a:pt x="129" y="6"/>
                      <a:pt x="130" y="0"/>
                    </a:cubicBezTo>
                    <a:cubicBezTo>
                      <a:pt x="136" y="1"/>
                      <a:pt x="132" y="10"/>
                      <a:pt x="134" y="15"/>
                    </a:cubicBezTo>
                    <a:cubicBezTo>
                      <a:pt x="135" y="20"/>
                      <a:pt x="135" y="24"/>
                      <a:pt x="141" y="25"/>
                    </a:cubicBezTo>
                    <a:cubicBezTo>
                      <a:pt x="143" y="29"/>
                      <a:pt x="147" y="36"/>
                      <a:pt x="147" y="41"/>
                    </a:cubicBezTo>
                    <a:cubicBezTo>
                      <a:pt x="147" y="48"/>
                      <a:pt x="151" y="53"/>
                      <a:pt x="144" y="54"/>
                    </a:cubicBezTo>
                    <a:cubicBezTo>
                      <a:pt x="142" y="58"/>
                      <a:pt x="140" y="56"/>
                      <a:pt x="136" y="56"/>
                    </a:cubicBezTo>
                    <a:cubicBezTo>
                      <a:pt x="132" y="57"/>
                      <a:pt x="132" y="59"/>
                      <a:pt x="132" y="63"/>
                    </a:cubicBezTo>
                    <a:cubicBezTo>
                      <a:pt x="133" y="69"/>
                      <a:pt x="131" y="66"/>
                      <a:pt x="140" y="66"/>
                    </a:cubicBezTo>
                    <a:cubicBezTo>
                      <a:pt x="143" y="69"/>
                      <a:pt x="150" y="77"/>
                      <a:pt x="153" y="80"/>
                    </a:cubicBezTo>
                    <a:cubicBezTo>
                      <a:pt x="154" y="82"/>
                      <a:pt x="157" y="82"/>
                      <a:pt x="159" y="85"/>
                    </a:cubicBezTo>
                    <a:cubicBezTo>
                      <a:pt x="161" y="88"/>
                      <a:pt x="163" y="95"/>
                      <a:pt x="164" y="98"/>
                    </a:cubicBezTo>
                    <a:cubicBezTo>
                      <a:pt x="164" y="99"/>
                      <a:pt x="164" y="101"/>
                      <a:pt x="166" y="101"/>
                    </a:cubicBezTo>
                    <a:cubicBezTo>
                      <a:pt x="175" y="102"/>
                      <a:pt x="177" y="113"/>
                      <a:pt x="177" y="11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80" name="Freeform 15">
                <a:extLst>
                  <a:ext uri="{FF2B5EF4-FFF2-40B4-BE49-F238E27FC236}">
                    <a16:creationId xmlns:a16="http://schemas.microsoft.com/office/drawing/2014/main" id="{838CEF1A-0140-4CFB-B497-9F0F2EE205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288602" y="1694758"/>
                <a:ext cx="1986017" cy="1670588"/>
              </a:xfrm>
              <a:custGeom>
                <a:avLst/>
                <a:gdLst>
                  <a:gd name="T0" fmla="*/ 332 w 1304"/>
                  <a:gd name="T1" fmla="*/ 24 h 1052"/>
                  <a:gd name="T2" fmla="*/ 186 w 1304"/>
                  <a:gd name="T3" fmla="*/ 848 h 1052"/>
                  <a:gd name="T4" fmla="*/ 1284 w 1304"/>
                  <a:gd name="T5" fmla="*/ 886 h 1052"/>
                  <a:gd name="T6" fmla="*/ 1244 w 1304"/>
                  <a:gd name="T7" fmla="*/ 788 h 1052"/>
                  <a:gd name="T8" fmla="*/ 1182 w 1304"/>
                  <a:gd name="T9" fmla="*/ 736 h 1052"/>
                  <a:gd name="T10" fmla="*/ 1112 w 1304"/>
                  <a:gd name="T11" fmla="*/ 650 h 1052"/>
                  <a:gd name="T12" fmla="*/ 1052 w 1304"/>
                  <a:gd name="T13" fmla="*/ 618 h 1052"/>
                  <a:gd name="T14" fmla="*/ 930 w 1304"/>
                  <a:gd name="T15" fmla="*/ 546 h 1052"/>
                  <a:gd name="T16" fmla="*/ 906 w 1304"/>
                  <a:gd name="T17" fmla="*/ 762 h 1052"/>
                  <a:gd name="T18" fmla="*/ 744 w 1304"/>
                  <a:gd name="T19" fmla="*/ 694 h 1052"/>
                  <a:gd name="T20" fmla="*/ 750 w 1304"/>
                  <a:gd name="T21" fmla="*/ 514 h 1052"/>
                  <a:gd name="T22" fmla="*/ 790 w 1304"/>
                  <a:gd name="T23" fmla="*/ 506 h 1052"/>
                  <a:gd name="T24" fmla="*/ 870 w 1304"/>
                  <a:gd name="T25" fmla="*/ 482 h 1052"/>
                  <a:gd name="T26" fmla="*/ 872 w 1304"/>
                  <a:gd name="T27" fmla="*/ 294 h 1052"/>
                  <a:gd name="T28" fmla="*/ 916 w 1304"/>
                  <a:gd name="T29" fmla="*/ 252 h 1052"/>
                  <a:gd name="T30" fmla="*/ 988 w 1304"/>
                  <a:gd name="T31" fmla="*/ 414 h 1052"/>
                  <a:gd name="T32" fmla="*/ 952 w 1304"/>
                  <a:gd name="T33" fmla="*/ 488 h 1052"/>
                  <a:gd name="T34" fmla="*/ 1072 w 1304"/>
                  <a:gd name="T35" fmla="*/ 554 h 1052"/>
                  <a:gd name="T36" fmla="*/ 1114 w 1304"/>
                  <a:gd name="T37" fmla="*/ 500 h 1052"/>
                  <a:gd name="T38" fmla="*/ 1132 w 1304"/>
                  <a:gd name="T39" fmla="*/ 392 h 1052"/>
                  <a:gd name="T40" fmla="*/ 1028 w 1304"/>
                  <a:gd name="T41" fmla="*/ 256 h 1052"/>
                  <a:gd name="T42" fmla="*/ 962 w 1304"/>
                  <a:gd name="T43" fmla="*/ 198 h 1052"/>
                  <a:gd name="T44" fmla="*/ 920 w 1304"/>
                  <a:gd name="T45" fmla="*/ 192 h 1052"/>
                  <a:gd name="T46" fmla="*/ 820 w 1304"/>
                  <a:gd name="T47" fmla="*/ 142 h 1052"/>
                  <a:gd name="T48" fmla="*/ 824 w 1304"/>
                  <a:gd name="T49" fmla="*/ 98 h 1052"/>
                  <a:gd name="T50" fmla="*/ 794 w 1304"/>
                  <a:gd name="T51" fmla="*/ 270 h 1052"/>
                  <a:gd name="T52" fmla="*/ 764 w 1304"/>
                  <a:gd name="T53" fmla="*/ 304 h 1052"/>
                  <a:gd name="T54" fmla="*/ 658 w 1304"/>
                  <a:gd name="T55" fmla="*/ 266 h 1052"/>
                  <a:gd name="T56" fmla="*/ 626 w 1304"/>
                  <a:gd name="T57" fmla="*/ 330 h 1052"/>
                  <a:gd name="T58" fmla="*/ 478 w 1304"/>
                  <a:gd name="T59" fmla="*/ 382 h 1052"/>
                  <a:gd name="T60" fmla="*/ 418 w 1304"/>
                  <a:gd name="T61" fmla="*/ 346 h 1052"/>
                  <a:gd name="T62" fmla="*/ 580 w 1304"/>
                  <a:gd name="T63" fmla="*/ 320 h 1052"/>
                  <a:gd name="T64" fmla="*/ 538 w 1304"/>
                  <a:gd name="T65" fmla="*/ 106 h 1052"/>
                  <a:gd name="T66" fmla="*/ 448 w 1304"/>
                  <a:gd name="T67" fmla="*/ 166 h 1052"/>
                  <a:gd name="T68" fmla="*/ 380 w 1304"/>
                  <a:gd name="T69" fmla="*/ 114 h 1052"/>
                  <a:gd name="T70" fmla="*/ 242 w 1304"/>
                  <a:gd name="T71" fmla="*/ 86 h 1052"/>
                  <a:gd name="T72" fmla="*/ 276 w 1304"/>
                  <a:gd name="T73" fmla="*/ 228 h 1052"/>
                  <a:gd name="T74" fmla="*/ 334 w 1304"/>
                  <a:gd name="T75" fmla="*/ 172 h 1052"/>
                  <a:gd name="T76" fmla="*/ 392 w 1304"/>
                  <a:gd name="T77" fmla="*/ 252 h 1052"/>
                  <a:gd name="T78" fmla="*/ 402 w 1304"/>
                  <a:gd name="T79" fmla="*/ 316 h 1052"/>
                  <a:gd name="T80" fmla="*/ 228 w 1304"/>
                  <a:gd name="T81" fmla="*/ 266 h 1052"/>
                  <a:gd name="T82" fmla="*/ 152 w 1304"/>
                  <a:gd name="T83" fmla="*/ 306 h 1052"/>
                  <a:gd name="T84" fmla="*/ 18 w 1304"/>
                  <a:gd name="T85" fmla="*/ 288 h 1052"/>
                  <a:gd name="T86" fmla="*/ 112 w 1304"/>
                  <a:gd name="T87" fmla="*/ 756 h 1052"/>
                  <a:gd name="T88" fmla="*/ 702 w 1304"/>
                  <a:gd name="T89" fmla="*/ 912 h 1052"/>
                  <a:gd name="T90" fmla="*/ 834 w 1304"/>
                  <a:gd name="T91" fmla="*/ 948 h 1052"/>
                  <a:gd name="T92" fmla="*/ 858 w 1304"/>
                  <a:gd name="T93" fmla="*/ 1038 h 1052"/>
                  <a:gd name="T94" fmla="*/ 1076 w 1304"/>
                  <a:gd name="T95" fmla="*/ 932 h 1052"/>
                  <a:gd name="T96" fmla="*/ 1194 w 1304"/>
                  <a:gd name="T97" fmla="*/ 936 h 1052"/>
                  <a:gd name="T98" fmla="*/ 1102 w 1304"/>
                  <a:gd name="T99" fmla="*/ 910 h 1052"/>
                  <a:gd name="T100" fmla="*/ 1134 w 1304"/>
                  <a:gd name="T101" fmla="*/ 872 h 1052"/>
                  <a:gd name="T102" fmla="*/ 1194 w 1304"/>
                  <a:gd name="T103" fmla="*/ 920 h 1052"/>
                  <a:gd name="T104" fmla="*/ 772 w 1304"/>
                  <a:gd name="T105" fmla="*/ 446 h 1052"/>
                  <a:gd name="T106" fmla="*/ 126 w 1304"/>
                  <a:gd name="T107" fmla="*/ 772 h 1052"/>
                  <a:gd name="T108" fmla="*/ 588 w 1304"/>
                  <a:gd name="T109" fmla="*/ 154 h 1052"/>
                  <a:gd name="T110" fmla="*/ 654 w 1304"/>
                  <a:gd name="T111" fmla="*/ 204 h 1052"/>
                  <a:gd name="T112" fmla="*/ 674 w 1304"/>
                  <a:gd name="T113" fmla="*/ 90 h 1052"/>
                  <a:gd name="T114" fmla="*/ 740 w 1304"/>
                  <a:gd name="T115" fmla="*/ 118 h 1052"/>
                  <a:gd name="T116" fmla="*/ 948 w 1304"/>
                  <a:gd name="T117" fmla="*/ 140 h 1052"/>
                  <a:gd name="T118" fmla="*/ 972 w 1304"/>
                  <a:gd name="T119" fmla="*/ 352 h 1052"/>
                  <a:gd name="T120" fmla="*/ 870 w 1304"/>
                  <a:gd name="T121" fmla="*/ 536 h 1052"/>
                  <a:gd name="T122" fmla="*/ 898 w 1304"/>
                  <a:gd name="T123" fmla="*/ 644 h 1052"/>
                  <a:gd name="T124" fmla="*/ 1160 w 1304"/>
                  <a:gd name="T125" fmla="*/ 892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304" h="1052">
                    <a:moveTo>
                      <a:pt x="650" y="32"/>
                    </a:moveTo>
                    <a:lnTo>
                      <a:pt x="650" y="32"/>
                    </a:lnTo>
                    <a:lnTo>
                      <a:pt x="650" y="34"/>
                    </a:lnTo>
                    <a:lnTo>
                      <a:pt x="650" y="34"/>
                    </a:lnTo>
                    <a:lnTo>
                      <a:pt x="650" y="34"/>
                    </a:lnTo>
                    <a:lnTo>
                      <a:pt x="650" y="34"/>
                    </a:lnTo>
                    <a:lnTo>
                      <a:pt x="650" y="34"/>
                    </a:lnTo>
                    <a:lnTo>
                      <a:pt x="698" y="54"/>
                    </a:lnTo>
                    <a:lnTo>
                      <a:pt x="698" y="54"/>
                    </a:lnTo>
                    <a:lnTo>
                      <a:pt x="700" y="54"/>
                    </a:lnTo>
                    <a:lnTo>
                      <a:pt x="700" y="54"/>
                    </a:lnTo>
                    <a:lnTo>
                      <a:pt x="702" y="50"/>
                    </a:lnTo>
                    <a:lnTo>
                      <a:pt x="702" y="22"/>
                    </a:lnTo>
                    <a:lnTo>
                      <a:pt x="702" y="22"/>
                    </a:lnTo>
                    <a:lnTo>
                      <a:pt x="700" y="20"/>
                    </a:lnTo>
                    <a:lnTo>
                      <a:pt x="680" y="2"/>
                    </a:lnTo>
                    <a:lnTo>
                      <a:pt x="680" y="2"/>
                    </a:lnTo>
                    <a:lnTo>
                      <a:pt x="678" y="0"/>
                    </a:lnTo>
                    <a:lnTo>
                      <a:pt x="670" y="0"/>
                    </a:lnTo>
                    <a:lnTo>
                      <a:pt x="670" y="0"/>
                    </a:lnTo>
                    <a:lnTo>
                      <a:pt x="668" y="2"/>
                    </a:lnTo>
                    <a:lnTo>
                      <a:pt x="650" y="30"/>
                    </a:lnTo>
                    <a:lnTo>
                      <a:pt x="650" y="30"/>
                    </a:lnTo>
                    <a:lnTo>
                      <a:pt x="650" y="30"/>
                    </a:lnTo>
                    <a:lnTo>
                      <a:pt x="650" y="30"/>
                    </a:lnTo>
                    <a:lnTo>
                      <a:pt x="648" y="30"/>
                    </a:lnTo>
                    <a:lnTo>
                      <a:pt x="648" y="30"/>
                    </a:lnTo>
                    <a:lnTo>
                      <a:pt x="648" y="32"/>
                    </a:lnTo>
                    <a:lnTo>
                      <a:pt x="648" y="32"/>
                    </a:lnTo>
                    <a:lnTo>
                      <a:pt x="648" y="32"/>
                    </a:lnTo>
                    <a:lnTo>
                      <a:pt x="648" y="32"/>
                    </a:lnTo>
                    <a:lnTo>
                      <a:pt x="650" y="32"/>
                    </a:lnTo>
                    <a:lnTo>
                      <a:pt x="650" y="32"/>
                    </a:lnTo>
                    <a:close/>
                    <a:moveTo>
                      <a:pt x="718" y="54"/>
                    </a:moveTo>
                    <a:lnTo>
                      <a:pt x="802" y="72"/>
                    </a:lnTo>
                    <a:lnTo>
                      <a:pt x="802" y="72"/>
                    </a:lnTo>
                    <a:lnTo>
                      <a:pt x="802" y="72"/>
                    </a:lnTo>
                    <a:lnTo>
                      <a:pt x="832" y="72"/>
                    </a:lnTo>
                    <a:lnTo>
                      <a:pt x="832" y="72"/>
                    </a:lnTo>
                    <a:lnTo>
                      <a:pt x="834" y="72"/>
                    </a:lnTo>
                    <a:lnTo>
                      <a:pt x="852" y="54"/>
                    </a:lnTo>
                    <a:lnTo>
                      <a:pt x="870" y="62"/>
                    </a:lnTo>
                    <a:lnTo>
                      <a:pt x="870" y="62"/>
                    </a:lnTo>
                    <a:lnTo>
                      <a:pt x="874" y="62"/>
                    </a:lnTo>
                    <a:lnTo>
                      <a:pt x="900" y="52"/>
                    </a:lnTo>
                    <a:lnTo>
                      <a:pt x="900" y="52"/>
                    </a:lnTo>
                    <a:lnTo>
                      <a:pt x="902" y="50"/>
                    </a:lnTo>
                    <a:lnTo>
                      <a:pt x="908" y="10"/>
                    </a:lnTo>
                    <a:lnTo>
                      <a:pt x="908" y="10"/>
                    </a:lnTo>
                    <a:lnTo>
                      <a:pt x="908" y="8"/>
                    </a:lnTo>
                    <a:lnTo>
                      <a:pt x="908" y="8"/>
                    </a:lnTo>
                    <a:lnTo>
                      <a:pt x="906" y="6"/>
                    </a:lnTo>
                    <a:lnTo>
                      <a:pt x="718" y="4"/>
                    </a:lnTo>
                    <a:lnTo>
                      <a:pt x="718" y="4"/>
                    </a:lnTo>
                    <a:lnTo>
                      <a:pt x="714" y="6"/>
                    </a:lnTo>
                    <a:lnTo>
                      <a:pt x="714" y="8"/>
                    </a:lnTo>
                    <a:lnTo>
                      <a:pt x="714" y="8"/>
                    </a:lnTo>
                    <a:lnTo>
                      <a:pt x="714" y="10"/>
                    </a:lnTo>
                    <a:lnTo>
                      <a:pt x="716" y="50"/>
                    </a:lnTo>
                    <a:lnTo>
                      <a:pt x="716" y="50"/>
                    </a:lnTo>
                    <a:lnTo>
                      <a:pt x="718" y="54"/>
                    </a:lnTo>
                    <a:lnTo>
                      <a:pt x="718" y="54"/>
                    </a:lnTo>
                    <a:close/>
                    <a:moveTo>
                      <a:pt x="592" y="34"/>
                    </a:moveTo>
                    <a:lnTo>
                      <a:pt x="592" y="34"/>
                    </a:lnTo>
                    <a:lnTo>
                      <a:pt x="594" y="34"/>
                    </a:lnTo>
                    <a:lnTo>
                      <a:pt x="622" y="34"/>
                    </a:lnTo>
                    <a:lnTo>
                      <a:pt x="622" y="34"/>
                    </a:lnTo>
                    <a:lnTo>
                      <a:pt x="624" y="32"/>
                    </a:lnTo>
                    <a:lnTo>
                      <a:pt x="634" y="12"/>
                    </a:lnTo>
                    <a:lnTo>
                      <a:pt x="634" y="12"/>
                    </a:lnTo>
                    <a:lnTo>
                      <a:pt x="636" y="10"/>
                    </a:lnTo>
                    <a:lnTo>
                      <a:pt x="636" y="10"/>
                    </a:lnTo>
                    <a:lnTo>
                      <a:pt x="636" y="8"/>
                    </a:lnTo>
                    <a:lnTo>
                      <a:pt x="636" y="8"/>
                    </a:lnTo>
                    <a:lnTo>
                      <a:pt x="636" y="6"/>
                    </a:lnTo>
                    <a:lnTo>
                      <a:pt x="634" y="6"/>
                    </a:lnTo>
                    <a:lnTo>
                      <a:pt x="634" y="6"/>
                    </a:lnTo>
                    <a:lnTo>
                      <a:pt x="632" y="6"/>
                    </a:lnTo>
                    <a:lnTo>
                      <a:pt x="630" y="6"/>
                    </a:lnTo>
                    <a:lnTo>
                      <a:pt x="630" y="6"/>
                    </a:lnTo>
                    <a:lnTo>
                      <a:pt x="556" y="4"/>
                    </a:lnTo>
                    <a:lnTo>
                      <a:pt x="556" y="4"/>
                    </a:lnTo>
                    <a:lnTo>
                      <a:pt x="552" y="6"/>
                    </a:lnTo>
                    <a:lnTo>
                      <a:pt x="552" y="6"/>
                    </a:lnTo>
                    <a:lnTo>
                      <a:pt x="552" y="8"/>
                    </a:lnTo>
                    <a:lnTo>
                      <a:pt x="554" y="10"/>
                    </a:lnTo>
                    <a:lnTo>
                      <a:pt x="592" y="34"/>
                    </a:lnTo>
                    <a:close/>
                    <a:moveTo>
                      <a:pt x="330" y="22"/>
                    </a:moveTo>
                    <a:lnTo>
                      <a:pt x="330" y="22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4"/>
                    </a:lnTo>
                    <a:lnTo>
                      <a:pt x="332" y="26"/>
                    </a:lnTo>
                    <a:lnTo>
                      <a:pt x="332" y="26"/>
                    </a:lnTo>
                    <a:lnTo>
                      <a:pt x="332" y="26"/>
                    </a:lnTo>
                    <a:lnTo>
                      <a:pt x="332" y="26"/>
                    </a:lnTo>
                    <a:lnTo>
                      <a:pt x="334" y="26"/>
                    </a:lnTo>
                    <a:lnTo>
                      <a:pt x="334" y="26"/>
                    </a:lnTo>
                    <a:lnTo>
                      <a:pt x="334" y="26"/>
                    </a:lnTo>
                    <a:lnTo>
                      <a:pt x="372" y="34"/>
                    </a:lnTo>
                    <a:lnTo>
                      <a:pt x="372" y="34"/>
                    </a:lnTo>
                    <a:lnTo>
                      <a:pt x="374" y="32"/>
                    </a:lnTo>
                    <a:lnTo>
                      <a:pt x="382" y="26"/>
                    </a:lnTo>
                    <a:lnTo>
                      <a:pt x="398" y="38"/>
                    </a:lnTo>
                    <a:lnTo>
                      <a:pt x="382" y="48"/>
                    </a:lnTo>
                    <a:lnTo>
                      <a:pt x="382" y="48"/>
                    </a:lnTo>
                    <a:lnTo>
                      <a:pt x="380" y="50"/>
                    </a:lnTo>
                    <a:lnTo>
                      <a:pt x="380" y="50"/>
                    </a:lnTo>
                    <a:lnTo>
                      <a:pt x="380" y="52"/>
                    </a:lnTo>
                    <a:lnTo>
                      <a:pt x="390" y="62"/>
                    </a:lnTo>
                    <a:lnTo>
                      <a:pt x="390" y="62"/>
                    </a:lnTo>
                    <a:lnTo>
                      <a:pt x="390" y="62"/>
                    </a:lnTo>
                    <a:lnTo>
                      <a:pt x="410" y="72"/>
                    </a:lnTo>
                    <a:lnTo>
                      <a:pt x="410" y="72"/>
                    </a:lnTo>
                    <a:lnTo>
                      <a:pt x="412" y="72"/>
                    </a:lnTo>
                    <a:lnTo>
                      <a:pt x="460" y="34"/>
                    </a:lnTo>
                    <a:lnTo>
                      <a:pt x="506" y="34"/>
                    </a:lnTo>
                    <a:lnTo>
                      <a:pt x="506" y="34"/>
                    </a:lnTo>
                    <a:lnTo>
                      <a:pt x="508" y="32"/>
                    </a:lnTo>
                    <a:lnTo>
                      <a:pt x="510" y="30"/>
                    </a:lnTo>
                    <a:lnTo>
                      <a:pt x="512" y="8"/>
                    </a:lnTo>
                    <a:lnTo>
                      <a:pt x="512" y="8"/>
                    </a:lnTo>
                    <a:lnTo>
                      <a:pt x="512" y="6"/>
                    </a:lnTo>
                    <a:lnTo>
                      <a:pt x="512" y="6"/>
                    </a:lnTo>
                    <a:lnTo>
                      <a:pt x="510" y="4"/>
                    </a:lnTo>
                    <a:lnTo>
                      <a:pt x="340" y="4"/>
                    </a:lnTo>
                    <a:lnTo>
                      <a:pt x="340" y="4"/>
                    </a:lnTo>
                    <a:lnTo>
                      <a:pt x="338" y="6"/>
                    </a:lnTo>
                    <a:lnTo>
                      <a:pt x="332" y="22"/>
                    </a:lnTo>
                    <a:lnTo>
                      <a:pt x="332" y="22"/>
                    </a:lnTo>
                    <a:lnTo>
                      <a:pt x="332" y="22"/>
                    </a:lnTo>
                    <a:lnTo>
                      <a:pt x="332" y="22"/>
                    </a:lnTo>
                    <a:lnTo>
                      <a:pt x="330" y="22"/>
                    </a:lnTo>
                    <a:lnTo>
                      <a:pt x="330" y="22"/>
                    </a:lnTo>
                    <a:lnTo>
                      <a:pt x="330" y="22"/>
                    </a:lnTo>
                    <a:lnTo>
                      <a:pt x="330" y="22"/>
                    </a:lnTo>
                    <a:lnTo>
                      <a:pt x="330" y="22"/>
                    </a:lnTo>
                    <a:lnTo>
                      <a:pt x="330" y="22"/>
                    </a:lnTo>
                    <a:close/>
                    <a:moveTo>
                      <a:pt x="292" y="926"/>
                    </a:moveTo>
                    <a:lnTo>
                      <a:pt x="290" y="922"/>
                    </a:lnTo>
                    <a:lnTo>
                      <a:pt x="288" y="918"/>
                    </a:lnTo>
                    <a:lnTo>
                      <a:pt x="286" y="914"/>
                    </a:lnTo>
                    <a:lnTo>
                      <a:pt x="282" y="910"/>
                    </a:lnTo>
                    <a:lnTo>
                      <a:pt x="280" y="908"/>
                    </a:lnTo>
                    <a:lnTo>
                      <a:pt x="274" y="902"/>
                    </a:lnTo>
                    <a:lnTo>
                      <a:pt x="268" y="896"/>
                    </a:lnTo>
                    <a:lnTo>
                      <a:pt x="264" y="892"/>
                    </a:lnTo>
                    <a:lnTo>
                      <a:pt x="260" y="888"/>
                    </a:lnTo>
                    <a:lnTo>
                      <a:pt x="260" y="888"/>
                    </a:lnTo>
                    <a:lnTo>
                      <a:pt x="258" y="884"/>
                    </a:lnTo>
                    <a:lnTo>
                      <a:pt x="256" y="882"/>
                    </a:lnTo>
                    <a:lnTo>
                      <a:pt x="256" y="878"/>
                    </a:lnTo>
                    <a:lnTo>
                      <a:pt x="256" y="876"/>
                    </a:lnTo>
                    <a:lnTo>
                      <a:pt x="256" y="874"/>
                    </a:lnTo>
                    <a:lnTo>
                      <a:pt x="256" y="872"/>
                    </a:lnTo>
                    <a:lnTo>
                      <a:pt x="256" y="872"/>
                    </a:lnTo>
                    <a:lnTo>
                      <a:pt x="254" y="870"/>
                    </a:lnTo>
                    <a:lnTo>
                      <a:pt x="254" y="868"/>
                    </a:lnTo>
                    <a:lnTo>
                      <a:pt x="248" y="868"/>
                    </a:lnTo>
                    <a:lnTo>
                      <a:pt x="244" y="866"/>
                    </a:lnTo>
                    <a:lnTo>
                      <a:pt x="240" y="864"/>
                    </a:lnTo>
                    <a:lnTo>
                      <a:pt x="236" y="862"/>
                    </a:lnTo>
                    <a:lnTo>
                      <a:pt x="228" y="860"/>
                    </a:lnTo>
                    <a:lnTo>
                      <a:pt x="222" y="854"/>
                    </a:lnTo>
                    <a:lnTo>
                      <a:pt x="216" y="850"/>
                    </a:lnTo>
                    <a:lnTo>
                      <a:pt x="212" y="848"/>
                    </a:lnTo>
                    <a:lnTo>
                      <a:pt x="208" y="848"/>
                    </a:lnTo>
                    <a:lnTo>
                      <a:pt x="204" y="846"/>
                    </a:lnTo>
                    <a:lnTo>
                      <a:pt x="200" y="846"/>
                    </a:lnTo>
                    <a:lnTo>
                      <a:pt x="194" y="844"/>
                    </a:lnTo>
                    <a:lnTo>
                      <a:pt x="188" y="846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8" y="848"/>
                    </a:lnTo>
                    <a:lnTo>
                      <a:pt x="186" y="848"/>
                    </a:lnTo>
                    <a:lnTo>
                      <a:pt x="186" y="848"/>
                    </a:lnTo>
                    <a:lnTo>
                      <a:pt x="186" y="848"/>
                    </a:lnTo>
                    <a:lnTo>
                      <a:pt x="186" y="850"/>
                    </a:lnTo>
                    <a:lnTo>
                      <a:pt x="186" y="850"/>
                    </a:lnTo>
                    <a:lnTo>
                      <a:pt x="186" y="850"/>
                    </a:lnTo>
                    <a:lnTo>
                      <a:pt x="186" y="850"/>
                    </a:lnTo>
                    <a:lnTo>
                      <a:pt x="186" y="852"/>
                    </a:lnTo>
                    <a:lnTo>
                      <a:pt x="188" y="856"/>
                    </a:lnTo>
                    <a:lnTo>
                      <a:pt x="190" y="860"/>
                    </a:lnTo>
                    <a:lnTo>
                      <a:pt x="192" y="864"/>
                    </a:lnTo>
                    <a:lnTo>
                      <a:pt x="194" y="866"/>
                    </a:lnTo>
                    <a:lnTo>
                      <a:pt x="194" y="866"/>
                    </a:lnTo>
                    <a:lnTo>
                      <a:pt x="194" y="866"/>
                    </a:lnTo>
                    <a:lnTo>
                      <a:pt x="198" y="870"/>
                    </a:lnTo>
                    <a:lnTo>
                      <a:pt x="204" y="874"/>
                    </a:lnTo>
                    <a:lnTo>
                      <a:pt x="210" y="878"/>
                    </a:lnTo>
                    <a:lnTo>
                      <a:pt x="214" y="882"/>
                    </a:lnTo>
                    <a:lnTo>
                      <a:pt x="214" y="882"/>
                    </a:lnTo>
                    <a:lnTo>
                      <a:pt x="218" y="886"/>
                    </a:lnTo>
                    <a:lnTo>
                      <a:pt x="218" y="888"/>
                    </a:lnTo>
                    <a:lnTo>
                      <a:pt x="220" y="892"/>
                    </a:lnTo>
                    <a:lnTo>
                      <a:pt x="220" y="894"/>
                    </a:lnTo>
                    <a:lnTo>
                      <a:pt x="222" y="896"/>
                    </a:lnTo>
                    <a:lnTo>
                      <a:pt x="222" y="898"/>
                    </a:lnTo>
                    <a:lnTo>
                      <a:pt x="222" y="900"/>
                    </a:lnTo>
                    <a:lnTo>
                      <a:pt x="222" y="900"/>
                    </a:lnTo>
                    <a:lnTo>
                      <a:pt x="222" y="902"/>
                    </a:lnTo>
                    <a:lnTo>
                      <a:pt x="222" y="902"/>
                    </a:lnTo>
                    <a:lnTo>
                      <a:pt x="226" y="902"/>
                    </a:lnTo>
                    <a:lnTo>
                      <a:pt x="228" y="902"/>
                    </a:lnTo>
                    <a:lnTo>
                      <a:pt x="232" y="900"/>
                    </a:lnTo>
                    <a:lnTo>
                      <a:pt x="234" y="900"/>
                    </a:lnTo>
                    <a:lnTo>
                      <a:pt x="234" y="900"/>
                    </a:lnTo>
                    <a:lnTo>
                      <a:pt x="234" y="900"/>
                    </a:lnTo>
                    <a:lnTo>
                      <a:pt x="236" y="902"/>
                    </a:lnTo>
                    <a:lnTo>
                      <a:pt x="240" y="908"/>
                    </a:lnTo>
                    <a:lnTo>
                      <a:pt x="244" y="916"/>
                    </a:lnTo>
                    <a:lnTo>
                      <a:pt x="252" y="922"/>
                    </a:lnTo>
                    <a:lnTo>
                      <a:pt x="252" y="922"/>
                    </a:lnTo>
                    <a:lnTo>
                      <a:pt x="252" y="924"/>
                    </a:lnTo>
                    <a:lnTo>
                      <a:pt x="258" y="928"/>
                    </a:lnTo>
                    <a:lnTo>
                      <a:pt x="258" y="928"/>
                    </a:lnTo>
                    <a:lnTo>
                      <a:pt x="258" y="928"/>
                    </a:lnTo>
                    <a:lnTo>
                      <a:pt x="266" y="932"/>
                    </a:lnTo>
                    <a:lnTo>
                      <a:pt x="266" y="932"/>
                    </a:lnTo>
                    <a:lnTo>
                      <a:pt x="266" y="932"/>
                    </a:lnTo>
                    <a:lnTo>
                      <a:pt x="274" y="934"/>
                    </a:lnTo>
                    <a:lnTo>
                      <a:pt x="274" y="934"/>
                    </a:lnTo>
                    <a:lnTo>
                      <a:pt x="274" y="934"/>
                    </a:lnTo>
                    <a:lnTo>
                      <a:pt x="282" y="936"/>
                    </a:lnTo>
                    <a:lnTo>
                      <a:pt x="284" y="936"/>
                    </a:lnTo>
                    <a:lnTo>
                      <a:pt x="292" y="936"/>
                    </a:lnTo>
                    <a:lnTo>
                      <a:pt x="292" y="936"/>
                    </a:lnTo>
                    <a:lnTo>
                      <a:pt x="294" y="934"/>
                    </a:lnTo>
                    <a:lnTo>
                      <a:pt x="294" y="934"/>
                    </a:lnTo>
                    <a:lnTo>
                      <a:pt x="294" y="932"/>
                    </a:lnTo>
                    <a:lnTo>
                      <a:pt x="292" y="926"/>
                    </a:lnTo>
                    <a:close/>
                    <a:moveTo>
                      <a:pt x="1304" y="932"/>
                    </a:moveTo>
                    <a:lnTo>
                      <a:pt x="1302" y="928"/>
                    </a:lnTo>
                    <a:lnTo>
                      <a:pt x="1302" y="930"/>
                    </a:lnTo>
                    <a:lnTo>
                      <a:pt x="1302" y="926"/>
                    </a:lnTo>
                    <a:lnTo>
                      <a:pt x="1300" y="924"/>
                    </a:lnTo>
                    <a:lnTo>
                      <a:pt x="1300" y="922"/>
                    </a:lnTo>
                    <a:lnTo>
                      <a:pt x="1300" y="922"/>
                    </a:lnTo>
                    <a:lnTo>
                      <a:pt x="1300" y="920"/>
                    </a:lnTo>
                    <a:lnTo>
                      <a:pt x="1300" y="918"/>
                    </a:lnTo>
                    <a:lnTo>
                      <a:pt x="1300" y="918"/>
                    </a:lnTo>
                    <a:lnTo>
                      <a:pt x="1298" y="918"/>
                    </a:lnTo>
                    <a:lnTo>
                      <a:pt x="1298" y="916"/>
                    </a:lnTo>
                    <a:lnTo>
                      <a:pt x="1298" y="916"/>
                    </a:lnTo>
                    <a:lnTo>
                      <a:pt x="1296" y="916"/>
                    </a:lnTo>
                    <a:lnTo>
                      <a:pt x="1296" y="916"/>
                    </a:lnTo>
                    <a:lnTo>
                      <a:pt x="1296" y="914"/>
                    </a:lnTo>
                    <a:lnTo>
                      <a:pt x="1298" y="910"/>
                    </a:lnTo>
                    <a:lnTo>
                      <a:pt x="1298" y="908"/>
                    </a:lnTo>
                    <a:lnTo>
                      <a:pt x="1298" y="908"/>
                    </a:lnTo>
                    <a:lnTo>
                      <a:pt x="1298" y="906"/>
                    </a:lnTo>
                    <a:lnTo>
                      <a:pt x="1298" y="906"/>
                    </a:lnTo>
                    <a:lnTo>
                      <a:pt x="1298" y="904"/>
                    </a:lnTo>
                    <a:lnTo>
                      <a:pt x="1298" y="902"/>
                    </a:lnTo>
                    <a:lnTo>
                      <a:pt x="1298" y="902"/>
                    </a:lnTo>
                    <a:lnTo>
                      <a:pt x="1296" y="902"/>
                    </a:lnTo>
                    <a:lnTo>
                      <a:pt x="1294" y="900"/>
                    </a:lnTo>
                    <a:lnTo>
                      <a:pt x="1294" y="900"/>
                    </a:lnTo>
                    <a:lnTo>
                      <a:pt x="1294" y="898"/>
                    </a:lnTo>
                    <a:lnTo>
                      <a:pt x="1292" y="898"/>
                    </a:lnTo>
                    <a:lnTo>
                      <a:pt x="1292" y="898"/>
                    </a:lnTo>
                    <a:lnTo>
                      <a:pt x="1290" y="898"/>
                    </a:lnTo>
                    <a:lnTo>
                      <a:pt x="1288" y="898"/>
                    </a:lnTo>
                    <a:lnTo>
                      <a:pt x="1288" y="898"/>
                    </a:lnTo>
                    <a:lnTo>
                      <a:pt x="1288" y="896"/>
                    </a:lnTo>
                    <a:lnTo>
                      <a:pt x="1286" y="892"/>
                    </a:lnTo>
                    <a:lnTo>
                      <a:pt x="1286" y="888"/>
                    </a:lnTo>
                    <a:lnTo>
                      <a:pt x="1284" y="886"/>
                    </a:lnTo>
                    <a:lnTo>
                      <a:pt x="1284" y="886"/>
                    </a:lnTo>
                    <a:lnTo>
                      <a:pt x="1284" y="884"/>
                    </a:lnTo>
                    <a:lnTo>
                      <a:pt x="1282" y="882"/>
                    </a:lnTo>
                    <a:lnTo>
                      <a:pt x="1282" y="882"/>
                    </a:lnTo>
                    <a:lnTo>
                      <a:pt x="1282" y="882"/>
                    </a:lnTo>
                    <a:lnTo>
                      <a:pt x="1280" y="880"/>
                    </a:lnTo>
                    <a:lnTo>
                      <a:pt x="1280" y="880"/>
                    </a:lnTo>
                    <a:lnTo>
                      <a:pt x="1280" y="880"/>
                    </a:lnTo>
                    <a:lnTo>
                      <a:pt x="1276" y="878"/>
                    </a:lnTo>
                    <a:lnTo>
                      <a:pt x="1276" y="878"/>
                    </a:lnTo>
                    <a:lnTo>
                      <a:pt x="1274" y="878"/>
                    </a:lnTo>
                    <a:lnTo>
                      <a:pt x="1270" y="878"/>
                    </a:lnTo>
                    <a:lnTo>
                      <a:pt x="1266" y="880"/>
                    </a:lnTo>
                    <a:lnTo>
                      <a:pt x="1262" y="880"/>
                    </a:lnTo>
                    <a:lnTo>
                      <a:pt x="1260" y="880"/>
                    </a:lnTo>
                    <a:lnTo>
                      <a:pt x="1260" y="880"/>
                    </a:lnTo>
                    <a:lnTo>
                      <a:pt x="1258" y="876"/>
                    </a:lnTo>
                    <a:lnTo>
                      <a:pt x="1258" y="876"/>
                    </a:lnTo>
                    <a:lnTo>
                      <a:pt x="1258" y="876"/>
                    </a:lnTo>
                    <a:lnTo>
                      <a:pt x="1258" y="874"/>
                    </a:lnTo>
                    <a:lnTo>
                      <a:pt x="1258" y="874"/>
                    </a:lnTo>
                    <a:lnTo>
                      <a:pt x="1258" y="874"/>
                    </a:lnTo>
                    <a:lnTo>
                      <a:pt x="1256" y="872"/>
                    </a:lnTo>
                    <a:lnTo>
                      <a:pt x="1256" y="872"/>
                    </a:lnTo>
                    <a:lnTo>
                      <a:pt x="1256" y="872"/>
                    </a:lnTo>
                    <a:lnTo>
                      <a:pt x="1252" y="870"/>
                    </a:lnTo>
                    <a:lnTo>
                      <a:pt x="1250" y="870"/>
                    </a:lnTo>
                    <a:lnTo>
                      <a:pt x="1250" y="868"/>
                    </a:lnTo>
                    <a:lnTo>
                      <a:pt x="1250" y="868"/>
                    </a:lnTo>
                    <a:lnTo>
                      <a:pt x="1248" y="866"/>
                    </a:lnTo>
                    <a:lnTo>
                      <a:pt x="1248" y="866"/>
                    </a:lnTo>
                    <a:lnTo>
                      <a:pt x="1248" y="866"/>
                    </a:lnTo>
                    <a:lnTo>
                      <a:pt x="1248" y="864"/>
                    </a:lnTo>
                    <a:lnTo>
                      <a:pt x="1248" y="864"/>
                    </a:lnTo>
                    <a:lnTo>
                      <a:pt x="1248" y="864"/>
                    </a:lnTo>
                    <a:lnTo>
                      <a:pt x="1246" y="864"/>
                    </a:lnTo>
                    <a:lnTo>
                      <a:pt x="1246" y="864"/>
                    </a:lnTo>
                    <a:lnTo>
                      <a:pt x="1250" y="862"/>
                    </a:lnTo>
                    <a:lnTo>
                      <a:pt x="1252" y="862"/>
                    </a:lnTo>
                    <a:lnTo>
                      <a:pt x="1254" y="862"/>
                    </a:lnTo>
                    <a:lnTo>
                      <a:pt x="1254" y="862"/>
                    </a:lnTo>
                    <a:lnTo>
                      <a:pt x="1254" y="862"/>
                    </a:lnTo>
                    <a:lnTo>
                      <a:pt x="1256" y="860"/>
                    </a:lnTo>
                    <a:lnTo>
                      <a:pt x="1258" y="858"/>
                    </a:lnTo>
                    <a:lnTo>
                      <a:pt x="1258" y="854"/>
                    </a:lnTo>
                    <a:lnTo>
                      <a:pt x="1260" y="850"/>
                    </a:lnTo>
                    <a:lnTo>
                      <a:pt x="1260" y="844"/>
                    </a:lnTo>
                    <a:lnTo>
                      <a:pt x="1260" y="842"/>
                    </a:lnTo>
                    <a:lnTo>
                      <a:pt x="1262" y="840"/>
                    </a:lnTo>
                    <a:lnTo>
                      <a:pt x="1262" y="840"/>
                    </a:lnTo>
                    <a:lnTo>
                      <a:pt x="1262" y="838"/>
                    </a:lnTo>
                    <a:lnTo>
                      <a:pt x="1262" y="834"/>
                    </a:lnTo>
                    <a:lnTo>
                      <a:pt x="1260" y="832"/>
                    </a:lnTo>
                    <a:lnTo>
                      <a:pt x="1260" y="828"/>
                    </a:lnTo>
                    <a:lnTo>
                      <a:pt x="1260" y="826"/>
                    </a:lnTo>
                    <a:lnTo>
                      <a:pt x="1260" y="824"/>
                    </a:lnTo>
                    <a:lnTo>
                      <a:pt x="1260" y="824"/>
                    </a:lnTo>
                    <a:lnTo>
                      <a:pt x="1258" y="824"/>
                    </a:lnTo>
                    <a:lnTo>
                      <a:pt x="1258" y="824"/>
                    </a:lnTo>
                    <a:lnTo>
                      <a:pt x="1258" y="824"/>
                    </a:lnTo>
                    <a:lnTo>
                      <a:pt x="1258" y="822"/>
                    </a:lnTo>
                    <a:lnTo>
                      <a:pt x="1256" y="822"/>
                    </a:lnTo>
                    <a:lnTo>
                      <a:pt x="1256" y="822"/>
                    </a:lnTo>
                    <a:lnTo>
                      <a:pt x="1256" y="822"/>
                    </a:lnTo>
                    <a:lnTo>
                      <a:pt x="1254" y="820"/>
                    </a:lnTo>
                    <a:lnTo>
                      <a:pt x="1254" y="820"/>
                    </a:lnTo>
                    <a:lnTo>
                      <a:pt x="1254" y="818"/>
                    </a:lnTo>
                    <a:lnTo>
                      <a:pt x="1254" y="820"/>
                    </a:lnTo>
                    <a:lnTo>
                      <a:pt x="1252" y="818"/>
                    </a:lnTo>
                    <a:lnTo>
                      <a:pt x="1252" y="816"/>
                    </a:lnTo>
                    <a:lnTo>
                      <a:pt x="1250" y="816"/>
                    </a:lnTo>
                    <a:lnTo>
                      <a:pt x="1250" y="814"/>
                    </a:lnTo>
                    <a:lnTo>
                      <a:pt x="1250" y="812"/>
                    </a:lnTo>
                    <a:lnTo>
                      <a:pt x="1250" y="812"/>
                    </a:lnTo>
                    <a:lnTo>
                      <a:pt x="1250" y="812"/>
                    </a:lnTo>
                    <a:lnTo>
                      <a:pt x="1250" y="810"/>
                    </a:lnTo>
                    <a:lnTo>
                      <a:pt x="1252" y="806"/>
                    </a:lnTo>
                    <a:lnTo>
                      <a:pt x="1252" y="802"/>
                    </a:lnTo>
                    <a:lnTo>
                      <a:pt x="1252" y="798"/>
                    </a:lnTo>
                    <a:lnTo>
                      <a:pt x="1252" y="798"/>
                    </a:lnTo>
                    <a:lnTo>
                      <a:pt x="1252" y="796"/>
                    </a:lnTo>
                    <a:lnTo>
                      <a:pt x="1252" y="794"/>
                    </a:lnTo>
                    <a:lnTo>
                      <a:pt x="1252" y="794"/>
                    </a:lnTo>
                    <a:lnTo>
                      <a:pt x="1252" y="792"/>
                    </a:lnTo>
                    <a:lnTo>
                      <a:pt x="1250" y="790"/>
                    </a:lnTo>
                    <a:lnTo>
                      <a:pt x="1250" y="790"/>
                    </a:lnTo>
                    <a:lnTo>
                      <a:pt x="1250" y="790"/>
                    </a:lnTo>
                    <a:lnTo>
                      <a:pt x="1248" y="788"/>
                    </a:lnTo>
                    <a:lnTo>
                      <a:pt x="1248" y="788"/>
                    </a:lnTo>
                    <a:lnTo>
                      <a:pt x="1248" y="788"/>
                    </a:lnTo>
                    <a:lnTo>
                      <a:pt x="1244" y="788"/>
                    </a:lnTo>
                    <a:lnTo>
                      <a:pt x="1244" y="788"/>
                    </a:lnTo>
                    <a:lnTo>
                      <a:pt x="1244" y="788"/>
                    </a:lnTo>
                    <a:lnTo>
                      <a:pt x="1242" y="786"/>
                    </a:lnTo>
                    <a:lnTo>
                      <a:pt x="1236" y="786"/>
                    </a:lnTo>
                    <a:lnTo>
                      <a:pt x="1234" y="786"/>
                    </a:lnTo>
                    <a:lnTo>
                      <a:pt x="1234" y="786"/>
                    </a:lnTo>
                    <a:lnTo>
                      <a:pt x="1232" y="786"/>
                    </a:lnTo>
                    <a:lnTo>
                      <a:pt x="1232" y="786"/>
                    </a:lnTo>
                    <a:lnTo>
                      <a:pt x="1232" y="784"/>
                    </a:lnTo>
                    <a:lnTo>
                      <a:pt x="1230" y="782"/>
                    </a:lnTo>
                    <a:lnTo>
                      <a:pt x="1228" y="780"/>
                    </a:lnTo>
                    <a:lnTo>
                      <a:pt x="1228" y="780"/>
                    </a:lnTo>
                    <a:lnTo>
                      <a:pt x="1228" y="778"/>
                    </a:lnTo>
                    <a:lnTo>
                      <a:pt x="1228" y="778"/>
                    </a:lnTo>
                    <a:lnTo>
                      <a:pt x="1228" y="778"/>
                    </a:lnTo>
                    <a:lnTo>
                      <a:pt x="1226" y="776"/>
                    </a:lnTo>
                    <a:lnTo>
                      <a:pt x="1224" y="776"/>
                    </a:lnTo>
                    <a:lnTo>
                      <a:pt x="1224" y="776"/>
                    </a:lnTo>
                    <a:lnTo>
                      <a:pt x="1224" y="776"/>
                    </a:lnTo>
                    <a:lnTo>
                      <a:pt x="1220" y="776"/>
                    </a:lnTo>
                    <a:lnTo>
                      <a:pt x="1220" y="776"/>
                    </a:lnTo>
                    <a:lnTo>
                      <a:pt x="1220" y="776"/>
                    </a:lnTo>
                    <a:lnTo>
                      <a:pt x="1216" y="778"/>
                    </a:lnTo>
                    <a:lnTo>
                      <a:pt x="1216" y="778"/>
                    </a:lnTo>
                    <a:lnTo>
                      <a:pt x="1216" y="778"/>
                    </a:lnTo>
                    <a:lnTo>
                      <a:pt x="1212" y="780"/>
                    </a:lnTo>
                    <a:lnTo>
                      <a:pt x="1208" y="784"/>
                    </a:lnTo>
                    <a:lnTo>
                      <a:pt x="1204" y="788"/>
                    </a:lnTo>
                    <a:lnTo>
                      <a:pt x="1198" y="790"/>
                    </a:lnTo>
                    <a:lnTo>
                      <a:pt x="1194" y="794"/>
                    </a:lnTo>
                    <a:lnTo>
                      <a:pt x="1190" y="796"/>
                    </a:lnTo>
                    <a:lnTo>
                      <a:pt x="1188" y="798"/>
                    </a:lnTo>
                    <a:lnTo>
                      <a:pt x="1186" y="798"/>
                    </a:lnTo>
                    <a:lnTo>
                      <a:pt x="1184" y="798"/>
                    </a:lnTo>
                    <a:lnTo>
                      <a:pt x="1182" y="798"/>
                    </a:lnTo>
                    <a:lnTo>
                      <a:pt x="1180" y="798"/>
                    </a:lnTo>
                    <a:lnTo>
                      <a:pt x="1180" y="796"/>
                    </a:lnTo>
                    <a:lnTo>
                      <a:pt x="1180" y="796"/>
                    </a:lnTo>
                    <a:lnTo>
                      <a:pt x="1180" y="796"/>
                    </a:lnTo>
                    <a:lnTo>
                      <a:pt x="1180" y="796"/>
                    </a:lnTo>
                    <a:lnTo>
                      <a:pt x="1180" y="794"/>
                    </a:lnTo>
                    <a:lnTo>
                      <a:pt x="1182" y="790"/>
                    </a:lnTo>
                    <a:lnTo>
                      <a:pt x="1186" y="788"/>
                    </a:lnTo>
                    <a:lnTo>
                      <a:pt x="1188" y="784"/>
                    </a:lnTo>
                    <a:lnTo>
                      <a:pt x="1192" y="782"/>
                    </a:lnTo>
                    <a:lnTo>
                      <a:pt x="1196" y="778"/>
                    </a:lnTo>
                    <a:lnTo>
                      <a:pt x="1200" y="776"/>
                    </a:lnTo>
                    <a:lnTo>
                      <a:pt x="1202" y="774"/>
                    </a:lnTo>
                    <a:lnTo>
                      <a:pt x="1204" y="772"/>
                    </a:lnTo>
                    <a:lnTo>
                      <a:pt x="1208" y="772"/>
                    </a:lnTo>
                    <a:lnTo>
                      <a:pt x="1214" y="772"/>
                    </a:lnTo>
                    <a:lnTo>
                      <a:pt x="1216" y="772"/>
                    </a:lnTo>
                    <a:lnTo>
                      <a:pt x="1220" y="772"/>
                    </a:lnTo>
                    <a:lnTo>
                      <a:pt x="1220" y="772"/>
                    </a:lnTo>
                    <a:lnTo>
                      <a:pt x="1220" y="772"/>
                    </a:lnTo>
                    <a:lnTo>
                      <a:pt x="1222" y="772"/>
                    </a:lnTo>
                    <a:lnTo>
                      <a:pt x="1222" y="772"/>
                    </a:lnTo>
                    <a:lnTo>
                      <a:pt x="1224" y="770"/>
                    </a:lnTo>
                    <a:lnTo>
                      <a:pt x="1224" y="770"/>
                    </a:lnTo>
                    <a:lnTo>
                      <a:pt x="1224" y="770"/>
                    </a:lnTo>
                    <a:lnTo>
                      <a:pt x="1224" y="766"/>
                    </a:lnTo>
                    <a:lnTo>
                      <a:pt x="1224" y="766"/>
                    </a:lnTo>
                    <a:lnTo>
                      <a:pt x="1224" y="766"/>
                    </a:lnTo>
                    <a:lnTo>
                      <a:pt x="1224" y="764"/>
                    </a:lnTo>
                    <a:lnTo>
                      <a:pt x="1222" y="764"/>
                    </a:lnTo>
                    <a:lnTo>
                      <a:pt x="1222" y="764"/>
                    </a:lnTo>
                    <a:lnTo>
                      <a:pt x="1222" y="764"/>
                    </a:lnTo>
                    <a:lnTo>
                      <a:pt x="1220" y="762"/>
                    </a:lnTo>
                    <a:lnTo>
                      <a:pt x="1216" y="760"/>
                    </a:lnTo>
                    <a:lnTo>
                      <a:pt x="1214" y="758"/>
                    </a:lnTo>
                    <a:lnTo>
                      <a:pt x="1206" y="756"/>
                    </a:lnTo>
                    <a:lnTo>
                      <a:pt x="1202" y="754"/>
                    </a:lnTo>
                    <a:lnTo>
                      <a:pt x="1198" y="754"/>
                    </a:lnTo>
                    <a:lnTo>
                      <a:pt x="1196" y="754"/>
                    </a:lnTo>
                    <a:lnTo>
                      <a:pt x="1192" y="752"/>
                    </a:lnTo>
                    <a:lnTo>
                      <a:pt x="1188" y="752"/>
                    </a:lnTo>
                    <a:lnTo>
                      <a:pt x="1184" y="752"/>
                    </a:lnTo>
                    <a:lnTo>
                      <a:pt x="1184" y="752"/>
                    </a:lnTo>
                    <a:lnTo>
                      <a:pt x="1182" y="752"/>
                    </a:lnTo>
                    <a:lnTo>
                      <a:pt x="1182" y="752"/>
                    </a:lnTo>
                    <a:lnTo>
                      <a:pt x="1182" y="750"/>
                    </a:lnTo>
                    <a:lnTo>
                      <a:pt x="1182" y="748"/>
                    </a:lnTo>
                    <a:lnTo>
                      <a:pt x="1184" y="746"/>
                    </a:lnTo>
                    <a:lnTo>
                      <a:pt x="1184" y="744"/>
                    </a:lnTo>
                    <a:lnTo>
                      <a:pt x="1184" y="742"/>
                    </a:lnTo>
                    <a:lnTo>
                      <a:pt x="1184" y="742"/>
                    </a:lnTo>
                    <a:lnTo>
                      <a:pt x="1184" y="742"/>
                    </a:lnTo>
                    <a:lnTo>
                      <a:pt x="1184" y="740"/>
                    </a:lnTo>
                    <a:lnTo>
                      <a:pt x="1184" y="740"/>
                    </a:lnTo>
                    <a:lnTo>
                      <a:pt x="1184" y="740"/>
                    </a:lnTo>
                    <a:lnTo>
                      <a:pt x="1182" y="738"/>
                    </a:lnTo>
                    <a:lnTo>
                      <a:pt x="1182" y="738"/>
                    </a:lnTo>
                    <a:lnTo>
                      <a:pt x="1182" y="736"/>
                    </a:lnTo>
                    <a:lnTo>
                      <a:pt x="1180" y="736"/>
                    </a:lnTo>
                    <a:lnTo>
                      <a:pt x="1180" y="736"/>
                    </a:lnTo>
                    <a:lnTo>
                      <a:pt x="1180" y="734"/>
                    </a:lnTo>
                    <a:lnTo>
                      <a:pt x="1178" y="734"/>
                    </a:lnTo>
                    <a:lnTo>
                      <a:pt x="1178" y="734"/>
                    </a:lnTo>
                    <a:lnTo>
                      <a:pt x="1178" y="734"/>
                    </a:lnTo>
                    <a:lnTo>
                      <a:pt x="1174" y="732"/>
                    </a:lnTo>
                    <a:lnTo>
                      <a:pt x="1172" y="732"/>
                    </a:lnTo>
                    <a:lnTo>
                      <a:pt x="1170" y="730"/>
                    </a:lnTo>
                    <a:lnTo>
                      <a:pt x="1168" y="730"/>
                    </a:lnTo>
                    <a:lnTo>
                      <a:pt x="1168" y="728"/>
                    </a:lnTo>
                    <a:lnTo>
                      <a:pt x="1166" y="726"/>
                    </a:lnTo>
                    <a:lnTo>
                      <a:pt x="1164" y="722"/>
                    </a:lnTo>
                    <a:lnTo>
                      <a:pt x="1160" y="718"/>
                    </a:lnTo>
                    <a:lnTo>
                      <a:pt x="1158" y="714"/>
                    </a:lnTo>
                    <a:lnTo>
                      <a:pt x="1156" y="710"/>
                    </a:lnTo>
                    <a:lnTo>
                      <a:pt x="1154" y="706"/>
                    </a:lnTo>
                    <a:lnTo>
                      <a:pt x="1154" y="704"/>
                    </a:lnTo>
                    <a:lnTo>
                      <a:pt x="1154" y="704"/>
                    </a:lnTo>
                    <a:lnTo>
                      <a:pt x="1156" y="704"/>
                    </a:lnTo>
                    <a:lnTo>
                      <a:pt x="1158" y="706"/>
                    </a:lnTo>
                    <a:lnTo>
                      <a:pt x="1158" y="706"/>
                    </a:lnTo>
                    <a:lnTo>
                      <a:pt x="1158" y="706"/>
                    </a:lnTo>
                    <a:lnTo>
                      <a:pt x="1160" y="706"/>
                    </a:lnTo>
                    <a:lnTo>
                      <a:pt x="1160" y="706"/>
                    </a:lnTo>
                    <a:lnTo>
                      <a:pt x="1162" y="706"/>
                    </a:lnTo>
                    <a:lnTo>
                      <a:pt x="1162" y="704"/>
                    </a:lnTo>
                    <a:lnTo>
                      <a:pt x="1162" y="702"/>
                    </a:lnTo>
                    <a:lnTo>
                      <a:pt x="1162" y="702"/>
                    </a:lnTo>
                    <a:lnTo>
                      <a:pt x="1162" y="700"/>
                    </a:lnTo>
                    <a:lnTo>
                      <a:pt x="1162" y="698"/>
                    </a:lnTo>
                    <a:lnTo>
                      <a:pt x="1160" y="696"/>
                    </a:lnTo>
                    <a:lnTo>
                      <a:pt x="1158" y="692"/>
                    </a:lnTo>
                    <a:lnTo>
                      <a:pt x="1156" y="690"/>
                    </a:lnTo>
                    <a:lnTo>
                      <a:pt x="1150" y="682"/>
                    </a:lnTo>
                    <a:lnTo>
                      <a:pt x="1148" y="678"/>
                    </a:lnTo>
                    <a:lnTo>
                      <a:pt x="1146" y="676"/>
                    </a:lnTo>
                    <a:lnTo>
                      <a:pt x="1142" y="670"/>
                    </a:lnTo>
                    <a:lnTo>
                      <a:pt x="1138" y="666"/>
                    </a:lnTo>
                    <a:lnTo>
                      <a:pt x="1136" y="666"/>
                    </a:lnTo>
                    <a:lnTo>
                      <a:pt x="1136" y="664"/>
                    </a:lnTo>
                    <a:lnTo>
                      <a:pt x="1136" y="664"/>
                    </a:lnTo>
                    <a:lnTo>
                      <a:pt x="1136" y="662"/>
                    </a:lnTo>
                    <a:lnTo>
                      <a:pt x="1136" y="662"/>
                    </a:lnTo>
                    <a:lnTo>
                      <a:pt x="1136" y="662"/>
                    </a:lnTo>
                    <a:lnTo>
                      <a:pt x="1138" y="662"/>
                    </a:lnTo>
                    <a:lnTo>
                      <a:pt x="1140" y="660"/>
                    </a:lnTo>
                    <a:lnTo>
                      <a:pt x="1140" y="660"/>
                    </a:lnTo>
                    <a:lnTo>
                      <a:pt x="1140" y="660"/>
                    </a:lnTo>
                    <a:lnTo>
                      <a:pt x="1142" y="660"/>
                    </a:lnTo>
                    <a:lnTo>
                      <a:pt x="1142" y="660"/>
                    </a:lnTo>
                    <a:lnTo>
                      <a:pt x="1142" y="658"/>
                    </a:lnTo>
                    <a:lnTo>
                      <a:pt x="1144" y="658"/>
                    </a:lnTo>
                    <a:lnTo>
                      <a:pt x="1144" y="658"/>
                    </a:lnTo>
                    <a:lnTo>
                      <a:pt x="1144" y="656"/>
                    </a:lnTo>
                    <a:lnTo>
                      <a:pt x="1144" y="654"/>
                    </a:lnTo>
                    <a:lnTo>
                      <a:pt x="1144" y="654"/>
                    </a:lnTo>
                    <a:lnTo>
                      <a:pt x="1144" y="654"/>
                    </a:lnTo>
                    <a:lnTo>
                      <a:pt x="1144" y="652"/>
                    </a:lnTo>
                    <a:lnTo>
                      <a:pt x="1142" y="648"/>
                    </a:lnTo>
                    <a:lnTo>
                      <a:pt x="1140" y="644"/>
                    </a:lnTo>
                    <a:lnTo>
                      <a:pt x="1138" y="642"/>
                    </a:lnTo>
                    <a:lnTo>
                      <a:pt x="1136" y="638"/>
                    </a:lnTo>
                    <a:lnTo>
                      <a:pt x="1134" y="634"/>
                    </a:lnTo>
                    <a:lnTo>
                      <a:pt x="1132" y="632"/>
                    </a:lnTo>
                    <a:lnTo>
                      <a:pt x="1130" y="630"/>
                    </a:lnTo>
                    <a:lnTo>
                      <a:pt x="1128" y="628"/>
                    </a:lnTo>
                    <a:lnTo>
                      <a:pt x="1128" y="628"/>
                    </a:lnTo>
                    <a:lnTo>
                      <a:pt x="1128" y="628"/>
                    </a:lnTo>
                    <a:lnTo>
                      <a:pt x="1126" y="628"/>
                    </a:lnTo>
                    <a:lnTo>
                      <a:pt x="1126" y="628"/>
                    </a:lnTo>
                    <a:lnTo>
                      <a:pt x="1126" y="626"/>
                    </a:lnTo>
                    <a:lnTo>
                      <a:pt x="1122" y="626"/>
                    </a:lnTo>
                    <a:lnTo>
                      <a:pt x="1122" y="626"/>
                    </a:lnTo>
                    <a:lnTo>
                      <a:pt x="1122" y="626"/>
                    </a:lnTo>
                    <a:lnTo>
                      <a:pt x="1118" y="626"/>
                    </a:lnTo>
                    <a:lnTo>
                      <a:pt x="1118" y="626"/>
                    </a:lnTo>
                    <a:lnTo>
                      <a:pt x="1118" y="626"/>
                    </a:lnTo>
                    <a:lnTo>
                      <a:pt x="1116" y="628"/>
                    </a:lnTo>
                    <a:lnTo>
                      <a:pt x="1116" y="628"/>
                    </a:lnTo>
                    <a:lnTo>
                      <a:pt x="1114" y="630"/>
                    </a:lnTo>
                    <a:lnTo>
                      <a:pt x="1114" y="632"/>
                    </a:lnTo>
                    <a:lnTo>
                      <a:pt x="1114" y="632"/>
                    </a:lnTo>
                    <a:lnTo>
                      <a:pt x="1114" y="632"/>
                    </a:lnTo>
                    <a:lnTo>
                      <a:pt x="1114" y="634"/>
                    </a:lnTo>
                    <a:lnTo>
                      <a:pt x="1114" y="638"/>
                    </a:lnTo>
                    <a:lnTo>
                      <a:pt x="1114" y="640"/>
                    </a:lnTo>
                    <a:lnTo>
                      <a:pt x="1114" y="644"/>
                    </a:lnTo>
                    <a:lnTo>
                      <a:pt x="1114" y="646"/>
                    </a:lnTo>
                    <a:lnTo>
                      <a:pt x="1114" y="648"/>
                    </a:lnTo>
                    <a:lnTo>
                      <a:pt x="1114" y="648"/>
                    </a:lnTo>
                    <a:lnTo>
                      <a:pt x="1112" y="650"/>
                    </a:lnTo>
                    <a:lnTo>
                      <a:pt x="1112" y="650"/>
                    </a:lnTo>
                    <a:lnTo>
                      <a:pt x="1108" y="652"/>
                    </a:lnTo>
                    <a:lnTo>
                      <a:pt x="1106" y="652"/>
                    </a:lnTo>
                    <a:lnTo>
                      <a:pt x="1106" y="652"/>
                    </a:lnTo>
                    <a:lnTo>
                      <a:pt x="1104" y="652"/>
                    </a:lnTo>
                    <a:lnTo>
                      <a:pt x="1104" y="652"/>
                    </a:lnTo>
                    <a:lnTo>
                      <a:pt x="1104" y="652"/>
                    </a:lnTo>
                    <a:lnTo>
                      <a:pt x="1102" y="654"/>
                    </a:lnTo>
                    <a:lnTo>
                      <a:pt x="1102" y="654"/>
                    </a:lnTo>
                    <a:lnTo>
                      <a:pt x="1102" y="654"/>
                    </a:lnTo>
                    <a:lnTo>
                      <a:pt x="1102" y="656"/>
                    </a:lnTo>
                    <a:lnTo>
                      <a:pt x="1100" y="656"/>
                    </a:lnTo>
                    <a:lnTo>
                      <a:pt x="1100" y="656"/>
                    </a:lnTo>
                    <a:lnTo>
                      <a:pt x="1100" y="658"/>
                    </a:lnTo>
                    <a:lnTo>
                      <a:pt x="1100" y="658"/>
                    </a:lnTo>
                    <a:lnTo>
                      <a:pt x="1100" y="658"/>
                    </a:lnTo>
                    <a:lnTo>
                      <a:pt x="1098" y="656"/>
                    </a:lnTo>
                    <a:lnTo>
                      <a:pt x="1098" y="656"/>
                    </a:lnTo>
                    <a:lnTo>
                      <a:pt x="1098" y="656"/>
                    </a:lnTo>
                    <a:lnTo>
                      <a:pt x="1096" y="656"/>
                    </a:lnTo>
                    <a:lnTo>
                      <a:pt x="1096" y="656"/>
                    </a:lnTo>
                    <a:lnTo>
                      <a:pt x="1096" y="658"/>
                    </a:lnTo>
                    <a:lnTo>
                      <a:pt x="1094" y="658"/>
                    </a:lnTo>
                    <a:lnTo>
                      <a:pt x="1094" y="658"/>
                    </a:lnTo>
                    <a:lnTo>
                      <a:pt x="1094" y="658"/>
                    </a:lnTo>
                    <a:lnTo>
                      <a:pt x="1090" y="660"/>
                    </a:lnTo>
                    <a:lnTo>
                      <a:pt x="1086" y="664"/>
                    </a:lnTo>
                    <a:lnTo>
                      <a:pt x="1084" y="666"/>
                    </a:lnTo>
                    <a:lnTo>
                      <a:pt x="1082" y="668"/>
                    </a:lnTo>
                    <a:lnTo>
                      <a:pt x="1082" y="668"/>
                    </a:lnTo>
                    <a:lnTo>
                      <a:pt x="1082" y="668"/>
                    </a:lnTo>
                    <a:lnTo>
                      <a:pt x="1080" y="668"/>
                    </a:lnTo>
                    <a:lnTo>
                      <a:pt x="1078" y="672"/>
                    </a:lnTo>
                    <a:lnTo>
                      <a:pt x="1078" y="672"/>
                    </a:lnTo>
                    <a:lnTo>
                      <a:pt x="1078" y="674"/>
                    </a:lnTo>
                    <a:lnTo>
                      <a:pt x="1076" y="674"/>
                    </a:lnTo>
                    <a:lnTo>
                      <a:pt x="1074" y="674"/>
                    </a:lnTo>
                    <a:lnTo>
                      <a:pt x="1072" y="676"/>
                    </a:lnTo>
                    <a:lnTo>
                      <a:pt x="1068" y="676"/>
                    </a:lnTo>
                    <a:lnTo>
                      <a:pt x="1064" y="678"/>
                    </a:lnTo>
                    <a:lnTo>
                      <a:pt x="1060" y="678"/>
                    </a:lnTo>
                    <a:lnTo>
                      <a:pt x="1060" y="678"/>
                    </a:lnTo>
                    <a:lnTo>
                      <a:pt x="1060" y="678"/>
                    </a:lnTo>
                    <a:lnTo>
                      <a:pt x="1062" y="676"/>
                    </a:lnTo>
                    <a:lnTo>
                      <a:pt x="1062" y="676"/>
                    </a:lnTo>
                    <a:lnTo>
                      <a:pt x="1062" y="676"/>
                    </a:lnTo>
                    <a:lnTo>
                      <a:pt x="1062" y="674"/>
                    </a:lnTo>
                    <a:lnTo>
                      <a:pt x="1064" y="670"/>
                    </a:lnTo>
                    <a:lnTo>
                      <a:pt x="1064" y="668"/>
                    </a:lnTo>
                    <a:lnTo>
                      <a:pt x="1064" y="664"/>
                    </a:lnTo>
                    <a:lnTo>
                      <a:pt x="1064" y="660"/>
                    </a:lnTo>
                    <a:lnTo>
                      <a:pt x="1064" y="658"/>
                    </a:lnTo>
                    <a:lnTo>
                      <a:pt x="1064" y="654"/>
                    </a:lnTo>
                    <a:lnTo>
                      <a:pt x="1064" y="654"/>
                    </a:lnTo>
                    <a:lnTo>
                      <a:pt x="1064" y="654"/>
                    </a:lnTo>
                    <a:lnTo>
                      <a:pt x="1064" y="652"/>
                    </a:lnTo>
                    <a:lnTo>
                      <a:pt x="1064" y="652"/>
                    </a:lnTo>
                    <a:lnTo>
                      <a:pt x="1062" y="652"/>
                    </a:lnTo>
                    <a:lnTo>
                      <a:pt x="1062" y="650"/>
                    </a:lnTo>
                    <a:lnTo>
                      <a:pt x="1062" y="650"/>
                    </a:lnTo>
                    <a:lnTo>
                      <a:pt x="1060" y="650"/>
                    </a:lnTo>
                    <a:lnTo>
                      <a:pt x="1058" y="650"/>
                    </a:lnTo>
                    <a:lnTo>
                      <a:pt x="1058" y="650"/>
                    </a:lnTo>
                    <a:lnTo>
                      <a:pt x="1058" y="650"/>
                    </a:lnTo>
                    <a:lnTo>
                      <a:pt x="1056" y="652"/>
                    </a:lnTo>
                    <a:lnTo>
                      <a:pt x="1056" y="652"/>
                    </a:lnTo>
                    <a:lnTo>
                      <a:pt x="1056" y="652"/>
                    </a:lnTo>
                    <a:lnTo>
                      <a:pt x="1054" y="652"/>
                    </a:lnTo>
                    <a:lnTo>
                      <a:pt x="1052" y="656"/>
                    </a:lnTo>
                    <a:lnTo>
                      <a:pt x="1050" y="656"/>
                    </a:lnTo>
                    <a:lnTo>
                      <a:pt x="1050" y="656"/>
                    </a:lnTo>
                    <a:lnTo>
                      <a:pt x="1048" y="656"/>
                    </a:lnTo>
                    <a:lnTo>
                      <a:pt x="1046" y="658"/>
                    </a:lnTo>
                    <a:lnTo>
                      <a:pt x="1044" y="658"/>
                    </a:lnTo>
                    <a:lnTo>
                      <a:pt x="1042" y="658"/>
                    </a:lnTo>
                    <a:lnTo>
                      <a:pt x="1042" y="658"/>
                    </a:lnTo>
                    <a:lnTo>
                      <a:pt x="1042" y="656"/>
                    </a:lnTo>
                    <a:lnTo>
                      <a:pt x="1042" y="654"/>
                    </a:lnTo>
                    <a:lnTo>
                      <a:pt x="1044" y="652"/>
                    </a:lnTo>
                    <a:lnTo>
                      <a:pt x="1046" y="648"/>
                    </a:lnTo>
                    <a:lnTo>
                      <a:pt x="1050" y="642"/>
                    </a:lnTo>
                    <a:lnTo>
                      <a:pt x="1050" y="638"/>
                    </a:lnTo>
                    <a:lnTo>
                      <a:pt x="1052" y="636"/>
                    </a:lnTo>
                    <a:lnTo>
                      <a:pt x="1054" y="630"/>
                    </a:lnTo>
                    <a:lnTo>
                      <a:pt x="1054" y="624"/>
                    </a:lnTo>
                    <a:lnTo>
                      <a:pt x="1054" y="624"/>
                    </a:lnTo>
                    <a:lnTo>
                      <a:pt x="1054" y="624"/>
                    </a:lnTo>
                    <a:lnTo>
                      <a:pt x="1054" y="620"/>
                    </a:lnTo>
                    <a:lnTo>
                      <a:pt x="1054" y="620"/>
                    </a:lnTo>
                    <a:lnTo>
                      <a:pt x="1054" y="620"/>
                    </a:lnTo>
                    <a:lnTo>
                      <a:pt x="1052" y="618"/>
                    </a:lnTo>
                    <a:lnTo>
                      <a:pt x="1052" y="618"/>
                    </a:lnTo>
                    <a:lnTo>
                      <a:pt x="1052" y="618"/>
                    </a:lnTo>
                    <a:lnTo>
                      <a:pt x="1052" y="616"/>
                    </a:lnTo>
                    <a:lnTo>
                      <a:pt x="1052" y="616"/>
                    </a:lnTo>
                    <a:lnTo>
                      <a:pt x="1050" y="614"/>
                    </a:lnTo>
                    <a:lnTo>
                      <a:pt x="1050" y="614"/>
                    </a:lnTo>
                    <a:lnTo>
                      <a:pt x="1050" y="614"/>
                    </a:lnTo>
                    <a:lnTo>
                      <a:pt x="1048" y="612"/>
                    </a:lnTo>
                    <a:lnTo>
                      <a:pt x="1046" y="612"/>
                    </a:lnTo>
                    <a:lnTo>
                      <a:pt x="1046" y="612"/>
                    </a:lnTo>
                    <a:lnTo>
                      <a:pt x="1046" y="612"/>
                    </a:lnTo>
                    <a:lnTo>
                      <a:pt x="1042" y="612"/>
                    </a:lnTo>
                    <a:lnTo>
                      <a:pt x="1040" y="612"/>
                    </a:lnTo>
                    <a:lnTo>
                      <a:pt x="1040" y="610"/>
                    </a:lnTo>
                    <a:lnTo>
                      <a:pt x="1044" y="610"/>
                    </a:lnTo>
                    <a:lnTo>
                      <a:pt x="1046" y="608"/>
                    </a:lnTo>
                    <a:lnTo>
                      <a:pt x="1046" y="608"/>
                    </a:lnTo>
                    <a:lnTo>
                      <a:pt x="1046" y="608"/>
                    </a:lnTo>
                    <a:lnTo>
                      <a:pt x="1048" y="608"/>
                    </a:lnTo>
                    <a:lnTo>
                      <a:pt x="1048" y="608"/>
                    </a:lnTo>
                    <a:lnTo>
                      <a:pt x="1048" y="606"/>
                    </a:lnTo>
                    <a:lnTo>
                      <a:pt x="1050" y="604"/>
                    </a:lnTo>
                    <a:lnTo>
                      <a:pt x="1050" y="604"/>
                    </a:lnTo>
                    <a:lnTo>
                      <a:pt x="1050" y="604"/>
                    </a:lnTo>
                    <a:lnTo>
                      <a:pt x="1052" y="600"/>
                    </a:lnTo>
                    <a:lnTo>
                      <a:pt x="1052" y="600"/>
                    </a:lnTo>
                    <a:lnTo>
                      <a:pt x="1052" y="600"/>
                    </a:lnTo>
                    <a:lnTo>
                      <a:pt x="1052" y="596"/>
                    </a:lnTo>
                    <a:lnTo>
                      <a:pt x="1052" y="596"/>
                    </a:lnTo>
                    <a:lnTo>
                      <a:pt x="1050" y="596"/>
                    </a:lnTo>
                    <a:lnTo>
                      <a:pt x="1050" y="594"/>
                    </a:lnTo>
                    <a:lnTo>
                      <a:pt x="1050" y="594"/>
                    </a:lnTo>
                    <a:lnTo>
                      <a:pt x="1048" y="592"/>
                    </a:lnTo>
                    <a:lnTo>
                      <a:pt x="1048" y="592"/>
                    </a:lnTo>
                    <a:lnTo>
                      <a:pt x="1046" y="592"/>
                    </a:lnTo>
                    <a:lnTo>
                      <a:pt x="1042" y="592"/>
                    </a:lnTo>
                    <a:lnTo>
                      <a:pt x="1036" y="590"/>
                    </a:lnTo>
                    <a:lnTo>
                      <a:pt x="1032" y="590"/>
                    </a:lnTo>
                    <a:lnTo>
                      <a:pt x="1030" y="590"/>
                    </a:lnTo>
                    <a:lnTo>
                      <a:pt x="1026" y="588"/>
                    </a:lnTo>
                    <a:lnTo>
                      <a:pt x="1022" y="588"/>
                    </a:lnTo>
                    <a:lnTo>
                      <a:pt x="1020" y="586"/>
                    </a:lnTo>
                    <a:lnTo>
                      <a:pt x="1018" y="584"/>
                    </a:lnTo>
                    <a:lnTo>
                      <a:pt x="1016" y="582"/>
                    </a:lnTo>
                    <a:lnTo>
                      <a:pt x="1014" y="580"/>
                    </a:lnTo>
                    <a:lnTo>
                      <a:pt x="1012" y="576"/>
                    </a:lnTo>
                    <a:lnTo>
                      <a:pt x="1008" y="572"/>
                    </a:lnTo>
                    <a:lnTo>
                      <a:pt x="1006" y="568"/>
                    </a:lnTo>
                    <a:lnTo>
                      <a:pt x="1004" y="564"/>
                    </a:lnTo>
                    <a:lnTo>
                      <a:pt x="1002" y="562"/>
                    </a:lnTo>
                    <a:lnTo>
                      <a:pt x="1000" y="558"/>
                    </a:lnTo>
                    <a:lnTo>
                      <a:pt x="998" y="556"/>
                    </a:lnTo>
                    <a:lnTo>
                      <a:pt x="996" y="554"/>
                    </a:lnTo>
                    <a:lnTo>
                      <a:pt x="994" y="552"/>
                    </a:lnTo>
                    <a:lnTo>
                      <a:pt x="994" y="552"/>
                    </a:lnTo>
                    <a:lnTo>
                      <a:pt x="994" y="552"/>
                    </a:lnTo>
                    <a:lnTo>
                      <a:pt x="990" y="550"/>
                    </a:lnTo>
                    <a:lnTo>
                      <a:pt x="990" y="550"/>
                    </a:lnTo>
                    <a:lnTo>
                      <a:pt x="990" y="550"/>
                    </a:lnTo>
                    <a:lnTo>
                      <a:pt x="988" y="550"/>
                    </a:lnTo>
                    <a:lnTo>
                      <a:pt x="988" y="550"/>
                    </a:lnTo>
                    <a:lnTo>
                      <a:pt x="988" y="550"/>
                    </a:lnTo>
                    <a:lnTo>
                      <a:pt x="986" y="550"/>
                    </a:lnTo>
                    <a:lnTo>
                      <a:pt x="986" y="550"/>
                    </a:lnTo>
                    <a:lnTo>
                      <a:pt x="986" y="550"/>
                    </a:lnTo>
                    <a:lnTo>
                      <a:pt x="984" y="550"/>
                    </a:lnTo>
                    <a:lnTo>
                      <a:pt x="984" y="550"/>
                    </a:lnTo>
                    <a:lnTo>
                      <a:pt x="984" y="550"/>
                    </a:lnTo>
                    <a:lnTo>
                      <a:pt x="980" y="550"/>
                    </a:lnTo>
                    <a:lnTo>
                      <a:pt x="978" y="552"/>
                    </a:lnTo>
                    <a:lnTo>
                      <a:pt x="976" y="552"/>
                    </a:lnTo>
                    <a:lnTo>
                      <a:pt x="974" y="552"/>
                    </a:lnTo>
                    <a:lnTo>
                      <a:pt x="972" y="552"/>
                    </a:lnTo>
                    <a:lnTo>
                      <a:pt x="966" y="552"/>
                    </a:lnTo>
                    <a:lnTo>
                      <a:pt x="962" y="552"/>
                    </a:lnTo>
                    <a:lnTo>
                      <a:pt x="958" y="552"/>
                    </a:lnTo>
                    <a:lnTo>
                      <a:pt x="956" y="552"/>
                    </a:lnTo>
                    <a:lnTo>
                      <a:pt x="952" y="550"/>
                    </a:lnTo>
                    <a:lnTo>
                      <a:pt x="950" y="548"/>
                    </a:lnTo>
                    <a:lnTo>
                      <a:pt x="946" y="546"/>
                    </a:lnTo>
                    <a:lnTo>
                      <a:pt x="944" y="546"/>
                    </a:lnTo>
                    <a:lnTo>
                      <a:pt x="940" y="544"/>
                    </a:lnTo>
                    <a:lnTo>
                      <a:pt x="940" y="544"/>
                    </a:lnTo>
                    <a:lnTo>
                      <a:pt x="940" y="544"/>
                    </a:lnTo>
                    <a:lnTo>
                      <a:pt x="938" y="544"/>
                    </a:lnTo>
                    <a:lnTo>
                      <a:pt x="938" y="544"/>
                    </a:lnTo>
                    <a:lnTo>
                      <a:pt x="936" y="544"/>
                    </a:lnTo>
                    <a:lnTo>
                      <a:pt x="934" y="544"/>
                    </a:lnTo>
                    <a:lnTo>
                      <a:pt x="934" y="544"/>
                    </a:lnTo>
                    <a:lnTo>
                      <a:pt x="932" y="544"/>
                    </a:lnTo>
                    <a:lnTo>
                      <a:pt x="930" y="546"/>
                    </a:lnTo>
                    <a:lnTo>
                      <a:pt x="930" y="546"/>
                    </a:lnTo>
                    <a:lnTo>
                      <a:pt x="930" y="546"/>
                    </a:lnTo>
                    <a:lnTo>
                      <a:pt x="928" y="550"/>
                    </a:lnTo>
                    <a:lnTo>
                      <a:pt x="928" y="552"/>
                    </a:lnTo>
                    <a:lnTo>
                      <a:pt x="926" y="556"/>
                    </a:lnTo>
                    <a:lnTo>
                      <a:pt x="924" y="564"/>
                    </a:lnTo>
                    <a:lnTo>
                      <a:pt x="924" y="568"/>
                    </a:lnTo>
                    <a:lnTo>
                      <a:pt x="922" y="572"/>
                    </a:lnTo>
                    <a:lnTo>
                      <a:pt x="924" y="576"/>
                    </a:lnTo>
                    <a:lnTo>
                      <a:pt x="924" y="576"/>
                    </a:lnTo>
                    <a:lnTo>
                      <a:pt x="924" y="576"/>
                    </a:lnTo>
                    <a:lnTo>
                      <a:pt x="924" y="578"/>
                    </a:lnTo>
                    <a:lnTo>
                      <a:pt x="924" y="578"/>
                    </a:lnTo>
                    <a:lnTo>
                      <a:pt x="924" y="578"/>
                    </a:lnTo>
                    <a:lnTo>
                      <a:pt x="926" y="584"/>
                    </a:lnTo>
                    <a:lnTo>
                      <a:pt x="928" y="590"/>
                    </a:lnTo>
                    <a:lnTo>
                      <a:pt x="930" y="592"/>
                    </a:lnTo>
                    <a:lnTo>
                      <a:pt x="930" y="594"/>
                    </a:lnTo>
                    <a:lnTo>
                      <a:pt x="932" y="600"/>
                    </a:lnTo>
                    <a:lnTo>
                      <a:pt x="934" y="606"/>
                    </a:lnTo>
                    <a:lnTo>
                      <a:pt x="934" y="612"/>
                    </a:lnTo>
                    <a:lnTo>
                      <a:pt x="934" y="618"/>
                    </a:lnTo>
                    <a:lnTo>
                      <a:pt x="934" y="624"/>
                    </a:lnTo>
                    <a:lnTo>
                      <a:pt x="932" y="630"/>
                    </a:lnTo>
                    <a:lnTo>
                      <a:pt x="930" y="636"/>
                    </a:lnTo>
                    <a:lnTo>
                      <a:pt x="928" y="642"/>
                    </a:lnTo>
                    <a:lnTo>
                      <a:pt x="928" y="644"/>
                    </a:lnTo>
                    <a:lnTo>
                      <a:pt x="926" y="646"/>
                    </a:lnTo>
                    <a:lnTo>
                      <a:pt x="924" y="650"/>
                    </a:lnTo>
                    <a:lnTo>
                      <a:pt x="922" y="652"/>
                    </a:lnTo>
                    <a:lnTo>
                      <a:pt x="922" y="652"/>
                    </a:lnTo>
                    <a:lnTo>
                      <a:pt x="922" y="654"/>
                    </a:lnTo>
                    <a:lnTo>
                      <a:pt x="922" y="656"/>
                    </a:lnTo>
                    <a:lnTo>
                      <a:pt x="922" y="656"/>
                    </a:lnTo>
                    <a:lnTo>
                      <a:pt x="920" y="656"/>
                    </a:lnTo>
                    <a:lnTo>
                      <a:pt x="920" y="660"/>
                    </a:lnTo>
                    <a:lnTo>
                      <a:pt x="920" y="660"/>
                    </a:lnTo>
                    <a:lnTo>
                      <a:pt x="922" y="660"/>
                    </a:lnTo>
                    <a:lnTo>
                      <a:pt x="922" y="664"/>
                    </a:lnTo>
                    <a:lnTo>
                      <a:pt x="922" y="664"/>
                    </a:lnTo>
                    <a:lnTo>
                      <a:pt x="922" y="664"/>
                    </a:lnTo>
                    <a:lnTo>
                      <a:pt x="924" y="666"/>
                    </a:lnTo>
                    <a:lnTo>
                      <a:pt x="924" y="666"/>
                    </a:lnTo>
                    <a:lnTo>
                      <a:pt x="924" y="666"/>
                    </a:lnTo>
                    <a:lnTo>
                      <a:pt x="924" y="668"/>
                    </a:lnTo>
                    <a:lnTo>
                      <a:pt x="924" y="668"/>
                    </a:lnTo>
                    <a:lnTo>
                      <a:pt x="926" y="668"/>
                    </a:lnTo>
                    <a:lnTo>
                      <a:pt x="928" y="670"/>
                    </a:lnTo>
                    <a:lnTo>
                      <a:pt x="934" y="674"/>
                    </a:lnTo>
                    <a:lnTo>
                      <a:pt x="938" y="676"/>
                    </a:lnTo>
                    <a:lnTo>
                      <a:pt x="944" y="680"/>
                    </a:lnTo>
                    <a:lnTo>
                      <a:pt x="948" y="682"/>
                    </a:lnTo>
                    <a:lnTo>
                      <a:pt x="950" y="686"/>
                    </a:lnTo>
                    <a:lnTo>
                      <a:pt x="950" y="688"/>
                    </a:lnTo>
                    <a:lnTo>
                      <a:pt x="952" y="690"/>
                    </a:lnTo>
                    <a:lnTo>
                      <a:pt x="952" y="692"/>
                    </a:lnTo>
                    <a:lnTo>
                      <a:pt x="952" y="694"/>
                    </a:lnTo>
                    <a:lnTo>
                      <a:pt x="952" y="702"/>
                    </a:lnTo>
                    <a:lnTo>
                      <a:pt x="952" y="708"/>
                    </a:lnTo>
                    <a:lnTo>
                      <a:pt x="950" y="716"/>
                    </a:lnTo>
                    <a:lnTo>
                      <a:pt x="948" y="724"/>
                    </a:lnTo>
                    <a:lnTo>
                      <a:pt x="946" y="730"/>
                    </a:lnTo>
                    <a:lnTo>
                      <a:pt x="944" y="736"/>
                    </a:lnTo>
                    <a:lnTo>
                      <a:pt x="944" y="738"/>
                    </a:lnTo>
                    <a:lnTo>
                      <a:pt x="942" y="740"/>
                    </a:lnTo>
                    <a:lnTo>
                      <a:pt x="942" y="744"/>
                    </a:lnTo>
                    <a:lnTo>
                      <a:pt x="940" y="746"/>
                    </a:lnTo>
                    <a:lnTo>
                      <a:pt x="936" y="748"/>
                    </a:lnTo>
                    <a:lnTo>
                      <a:pt x="934" y="748"/>
                    </a:lnTo>
                    <a:lnTo>
                      <a:pt x="932" y="750"/>
                    </a:lnTo>
                    <a:lnTo>
                      <a:pt x="930" y="750"/>
                    </a:lnTo>
                    <a:lnTo>
                      <a:pt x="926" y="750"/>
                    </a:lnTo>
                    <a:lnTo>
                      <a:pt x="924" y="750"/>
                    </a:lnTo>
                    <a:lnTo>
                      <a:pt x="922" y="752"/>
                    </a:lnTo>
                    <a:lnTo>
                      <a:pt x="920" y="750"/>
                    </a:lnTo>
                    <a:lnTo>
                      <a:pt x="920" y="750"/>
                    </a:lnTo>
                    <a:lnTo>
                      <a:pt x="916" y="750"/>
                    </a:lnTo>
                    <a:lnTo>
                      <a:pt x="914" y="750"/>
                    </a:lnTo>
                    <a:lnTo>
                      <a:pt x="914" y="750"/>
                    </a:lnTo>
                    <a:lnTo>
                      <a:pt x="914" y="750"/>
                    </a:lnTo>
                    <a:lnTo>
                      <a:pt x="912" y="750"/>
                    </a:lnTo>
                    <a:lnTo>
                      <a:pt x="912" y="750"/>
                    </a:lnTo>
                    <a:lnTo>
                      <a:pt x="912" y="750"/>
                    </a:lnTo>
                    <a:lnTo>
                      <a:pt x="910" y="750"/>
                    </a:lnTo>
                    <a:lnTo>
                      <a:pt x="910" y="750"/>
                    </a:lnTo>
                    <a:lnTo>
                      <a:pt x="908" y="752"/>
                    </a:lnTo>
                    <a:lnTo>
                      <a:pt x="908" y="752"/>
                    </a:lnTo>
                    <a:lnTo>
                      <a:pt x="908" y="752"/>
                    </a:lnTo>
                    <a:lnTo>
                      <a:pt x="908" y="754"/>
                    </a:lnTo>
                    <a:lnTo>
                      <a:pt x="906" y="756"/>
                    </a:lnTo>
                    <a:lnTo>
                      <a:pt x="906" y="756"/>
                    </a:lnTo>
                    <a:lnTo>
                      <a:pt x="906" y="756"/>
                    </a:lnTo>
                    <a:lnTo>
                      <a:pt x="906" y="758"/>
                    </a:lnTo>
                    <a:lnTo>
                      <a:pt x="906" y="762"/>
                    </a:lnTo>
                    <a:lnTo>
                      <a:pt x="908" y="766"/>
                    </a:lnTo>
                    <a:lnTo>
                      <a:pt x="908" y="774"/>
                    </a:lnTo>
                    <a:lnTo>
                      <a:pt x="910" y="778"/>
                    </a:lnTo>
                    <a:lnTo>
                      <a:pt x="910" y="782"/>
                    </a:lnTo>
                    <a:lnTo>
                      <a:pt x="912" y="786"/>
                    </a:lnTo>
                    <a:lnTo>
                      <a:pt x="912" y="790"/>
                    </a:lnTo>
                    <a:lnTo>
                      <a:pt x="916" y="798"/>
                    </a:lnTo>
                    <a:lnTo>
                      <a:pt x="918" y="806"/>
                    </a:lnTo>
                    <a:lnTo>
                      <a:pt x="920" y="810"/>
                    </a:lnTo>
                    <a:lnTo>
                      <a:pt x="920" y="812"/>
                    </a:lnTo>
                    <a:lnTo>
                      <a:pt x="920" y="816"/>
                    </a:lnTo>
                    <a:lnTo>
                      <a:pt x="920" y="818"/>
                    </a:lnTo>
                    <a:lnTo>
                      <a:pt x="920" y="824"/>
                    </a:lnTo>
                    <a:lnTo>
                      <a:pt x="918" y="828"/>
                    </a:lnTo>
                    <a:lnTo>
                      <a:pt x="916" y="832"/>
                    </a:lnTo>
                    <a:lnTo>
                      <a:pt x="914" y="836"/>
                    </a:lnTo>
                    <a:lnTo>
                      <a:pt x="914" y="840"/>
                    </a:lnTo>
                    <a:lnTo>
                      <a:pt x="912" y="842"/>
                    </a:lnTo>
                    <a:lnTo>
                      <a:pt x="912" y="844"/>
                    </a:lnTo>
                    <a:lnTo>
                      <a:pt x="912" y="844"/>
                    </a:lnTo>
                    <a:lnTo>
                      <a:pt x="910" y="844"/>
                    </a:lnTo>
                    <a:lnTo>
                      <a:pt x="908" y="846"/>
                    </a:lnTo>
                    <a:lnTo>
                      <a:pt x="904" y="846"/>
                    </a:lnTo>
                    <a:lnTo>
                      <a:pt x="900" y="846"/>
                    </a:lnTo>
                    <a:lnTo>
                      <a:pt x="900" y="844"/>
                    </a:lnTo>
                    <a:lnTo>
                      <a:pt x="898" y="844"/>
                    </a:lnTo>
                    <a:lnTo>
                      <a:pt x="894" y="842"/>
                    </a:lnTo>
                    <a:lnTo>
                      <a:pt x="892" y="838"/>
                    </a:lnTo>
                    <a:lnTo>
                      <a:pt x="888" y="834"/>
                    </a:lnTo>
                    <a:lnTo>
                      <a:pt x="886" y="830"/>
                    </a:lnTo>
                    <a:lnTo>
                      <a:pt x="884" y="828"/>
                    </a:lnTo>
                    <a:lnTo>
                      <a:pt x="880" y="826"/>
                    </a:lnTo>
                    <a:lnTo>
                      <a:pt x="876" y="820"/>
                    </a:lnTo>
                    <a:lnTo>
                      <a:pt x="874" y="818"/>
                    </a:lnTo>
                    <a:lnTo>
                      <a:pt x="872" y="816"/>
                    </a:lnTo>
                    <a:lnTo>
                      <a:pt x="870" y="812"/>
                    </a:lnTo>
                    <a:lnTo>
                      <a:pt x="870" y="810"/>
                    </a:lnTo>
                    <a:lnTo>
                      <a:pt x="868" y="804"/>
                    </a:lnTo>
                    <a:lnTo>
                      <a:pt x="868" y="798"/>
                    </a:lnTo>
                    <a:lnTo>
                      <a:pt x="868" y="792"/>
                    </a:lnTo>
                    <a:lnTo>
                      <a:pt x="866" y="786"/>
                    </a:lnTo>
                    <a:lnTo>
                      <a:pt x="866" y="778"/>
                    </a:lnTo>
                    <a:lnTo>
                      <a:pt x="866" y="772"/>
                    </a:lnTo>
                    <a:lnTo>
                      <a:pt x="866" y="766"/>
                    </a:lnTo>
                    <a:lnTo>
                      <a:pt x="866" y="762"/>
                    </a:lnTo>
                    <a:lnTo>
                      <a:pt x="864" y="758"/>
                    </a:lnTo>
                    <a:lnTo>
                      <a:pt x="864" y="756"/>
                    </a:lnTo>
                    <a:lnTo>
                      <a:pt x="864" y="754"/>
                    </a:lnTo>
                    <a:lnTo>
                      <a:pt x="864" y="752"/>
                    </a:lnTo>
                    <a:lnTo>
                      <a:pt x="864" y="752"/>
                    </a:lnTo>
                    <a:lnTo>
                      <a:pt x="864" y="752"/>
                    </a:lnTo>
                    <a:lnTo>
                      <a:pt x="864" y="750"/>
                    </a:lnTo>
                    <a:lnTo>
                      <a:pt x="864" y="750"/>
                    </a:lnTo>
                    <a:lnTo>
                      <a:pt x="864" y="750"/>
                    </a:lnTo>
                    <a:lnTo>
                      <a:pt x="862" y="748"/>
                    </a:lnTo>
                    <a:lnTo>
                      <a:pt x="862" y="748"/>
                    </a:lnTo>
                    <a:lnTo>
                      <a:pt x="862" y="748"/>
                    </a:lnTo>
                    <a:lnTo>
                      <a:pt x="860" y="746"/>
                    </a:lnTo>
                    <a:lnTo>
                      <a:pt x="858" y="746"/>
                    </a:lnTo>
                    <a:lnTo>
                      <a:pt x="858" y="746"/>
                    </a:lnTo>
                    <a:lnTo>
                      <a:pt x="858" y="744"/>
                    </a:lnTo>
                    <a:lnTo>
                      <a:pt x="854" y="744"/>
                    </a:lnTo>
                    <a:lnTo>
                      <a:pt x="854" y="744"/>
                    </a:lnTo>
                    <a:lnTo>
                      <a:pt x="854" y="744"/>
                    </a:lnTo>
                    <a:lnTo>
                      <a:pt x="848" y="742"/>
                    </a:lnTo>
                    <a:lnTo>
                      <a:pt x="844" y="742"/>
                    </a:lnTo>
                    <a:lnTo>
                      <a:pt x="838" y="742"/>
                    </a:lnTo>
                    <a:lnTo>
                      <a:pt x="832" y="740"/>
                    </a:lnTo>
                    <a:lnTo>
                      <a:pt x="824" y="740"/>
                    </a:lnTo>
                    <a:lnTo>
                      <a:pt x="820" y="738"/>
                    </a:lnTo>
                    <a:lnTo>
                      <a:pt x="814" y="738"/>
                    </a:lnTo>
                    <a:lnTo>
                      <a:pt x="810" y="734"/>
                    </a:lnTo>
                    <a:lnTo>
                      <a:pt x="804" y="730"/>
                    </a:lnTo>
                    <a:lnTo>
                      <a:pt x="798" y="726"/>
                    </a:lnTo>
                    <a:lnTo>
                      <a:pt x="794" y="722"/>
                    </a:lnTo>
                    <a:lnTo>
                      <a:pt x="788" y="718"/>
                    </a:lnTo>
                    <a:lnTo>
                      <a:pt x="784" y="714"/>
                    </a:lnTo>
                    <a:lnTo>
                      <a:pt x="780" y="710"/>
                    </a:lnTo>
                    <a:lnTo>
                      <a:pt x="776" y="708"/>
                    </a:lnTo>
                    <a:lnTo>
                      <a:pt x="772" y="706"/>
                    </a:lnTo>
                    <a:lnTo>
                      <a:pt x="768" y="704"/>
                    </a:lnTo>
                    <a:lnTo>
                      <a:pt x="764" y="704"/>
                    </a:lnTo>
                    <a:lnTo>
                      <a:pt x="762" y="702"/>
                    </a:lnTo>
                    <a:lnTo>
                      <a:pt x="756" y="702"/>
                    </a:lnTo>
                    <a:lnTo>
                      <a:pt x="754" y="702"/>
                    </a:lnTo>
                    <a:lnTo>
                      <a:pt x="752" y="700"/>
                    </a:lnTo>
                    <a:lnTo>
                      <a:pt x="750" y="700"/>
                    </a:lnTo>
                    <a:lnTo>
                      <a:pt x="748" y="698"/>
                    </a:lnTo>
                    <a:lnTo>
                      <a:pt x="746" y="696"/>
                    </a:lnTo>
                    <a:lnTo>
                      <a:pt x="744" y="694"/>
                    </a:lnTo>
                    <a:lnTo>
                      <a:pt x="744" y="694"/>
                    </a:lnTo>
                    <a:lnTo>
                      <a:pt x="744" y="694"/>
                    </a:lnTo>
                    <a:lnTo>
                      <a:pt x="742" y="694"/>
                    </a:lnTo>
                    <a:lnTo>
                      <a:pt x="742" y="694"/>
                    </a:lnTo>
                    <a:lnTo>
                      <a:pt x="742" y="692"/>
                    </a:lnTo>
                    <a:lnTo>
                      <a:pt x="740" y="692"/>
                    </a:lnTo>
                    <a:lnTo>
                      <a:pt x="740" y="692"/>
                    </a:lnTo>
                    <a:lnTo>
                      <a:pt x="738" y="692"/>
                    </a:lnTo>
                    <a:lnTo>
                      <a:pt x="736" y="692"/>
                    </a:lnTo>
                    <a:lnTo>
                      <a:pt x="736" y="692"/>
                    </a:lnTo>
                    <a:lnTo>
                      <a:pt x="736" y="692"/>
                    </a:lnTo>
                    <a:lnTo>
                      <a:pt x="734" y="694"/>
                    </a:lnTo>
                    <a:lnTo>
                      <a:pt x="734" y="694"/>
                    </a:lnTo>
                    <a:lnTo>
                      <a:pt x="734" y="694"/>
                    </a:lnTo>
                    <a:lnTo>
                      <a:pt x="732" y="694"/>
                    </a:lnTo>
                    <a:lnTo>
                      <a:pt x="730" y="696"/>
                    </a:lnTo>
                    <a:lnTo>
                      <a:pt x="726" y="698"/>
                    </a:lnTo>
                    <a:lnTo>
                      <a:pt x="726" y="698"/>
                    </a:lnTo>
                    <a:lnTo>
                      <a:pt x="724" y="698"/>
                    </a:lnTo>
                    <a:lnTo>
                      <a:pt x="724" y="698"/>
                    </a:lnTo>
                    <a:lnTo>
                      <a:pt x="724" y="698"/>
                    </a:lnTo>
                    <a:lnTo>
                      <a:pt x="722" y="696"/>
                    </a:lnTo>
                    <a:lnTo>
                      <a:pt x="722" y="692"/>
                    </a:lnTo>
                    <a:lnTo>
                      <a:pt x="720" y="690"/>
                    </a:lnTo>
                    <a:lnTo>
                      <a:pt x="718" y="682"/>
                    </a:lnTo>
                    <a:lnTo>
                      <a:pt x="716" y="680"/>
                    </a:lnTo>
                    <a:lnTo>
                      <a:pt x="714" y="676"/>
                    </a:lnTo>
                    <a:lnTo>
                      <a:pt x="714" y="674"/>
                    </a:lnTo>
                    <a:lnTo>
                      <a:pt x="714" y="670"/>
                    </a:lnTo>
                    <a:lnTo>
                      <a:pt x="712" y="664"/>
                    </a:lnTo>
                    <a:lnTo>
                      <a:pt x="712" y="660"/>
                    </a:lnTo>
                    <a:lnTo>
                      <a:pt x="710" y="658"/>
                    </a:lnTo>
                    <a:lnTo>
                      <a:pt x="710" y="658"/>
                    </a:lnTo>
                    <a:lnTo>
                      <a:pt x="710" y="658"/>
                    </a:lnTo>
                    <a:lnTo>
                      <a:pt x="710" y="654"/>
                    </a:lnTo>
                    <a:lnTo>
                      <a:pt x="710" y="654"/>
                    </a:lnTo>
                    <a:lnTo>
                      <a:pt x="710" y="654"/>
                    </a:lnTo>
                    <a:lnTo>
                      <a:pt x="708" y="652"/>
                    </a:lnTo>
                    <a:lnTo>
                      <a:pt x="708" y="652"/>
                    </a:lnTo>
                    <a:lnTo>
                      <a:pt x="706" y="652"/>
                    </a:lnTo>
                    <a:lnTo>
                      <a:pt x="704" y="650"/>
                    </a:lnTo>
                    <a:lnTo>
                      <a:pt x="704" y="650"/>
                    </a:lnTo>
                    <a:lnTo>
                      <a:pt x="704" y="650"/>
                    </a:lnTo>
                    <a:lnTo>
                      <a:pt x="700" y="650"/>
                    </a:lnTo>
                    <a:lnTo>
                      <a:pt x="700" y="650"/>
                    </a:lnTo>
                    <a:lnTo>
                      <a:pt x="700" y="650"/>
                    </a:lnTo>
                    <a:lnTo>
                      <a:pt x="698" y="650"/>
                    </a:lnTo>
                    <a:lnTo>
                      <a:pt x="694" y="652"/>
                    </a:lnTo>
                    <a:lnTo>
                      <a:pt x="692" y="652"/>
                    </a:lnTo>
                    <a:lnTo>
                      <a:pt x="690" y="652"/>
                    </a:lnTo>
                    <a:lnTo>
                      <a:pt x="688" y="650"/>
                    </a:lnTo>
                    <a:lnTo>
                      <a:pt x="688" y="650"/>
                    </a:lnTo>
                    <a:lnTo>
                      <a:pt x="688" y="650"/>
                    </a:lnTo>
                    <a:lnTo>
                      <a:pt x="686" y="646"/>
                    </a:lnTo>
                    <a:lnTo>
                      <a:pt x="686" y="642"/>
                    </a:lnTo>
                    <a:lnTo>
                      <a:pt x="686" y="638"/>
                    </a:lnTo>
                    <a:lnTo>
                      <a:pt x="686" y="632"/>
                    </a:lnTo>
                    <a:lnTo>
                      <a:pt x="686" y="626"/>
                    </a:lnTo>
                    <a:lnTo>
                      <a:pt x="686" y="620"/>
                    </a:lnTo>
                    <a:lnTo>
                      <a:pt x="686" y="614"/>
                    </a:lnTo>
                    <a:lnTo>
                      <a:pt x="688" y="608"/>
                    </a:lnTo>
                    <a:lnTo>
                      <a:pt x="688" y="602"/>
                    </a:lnTo>
                    <a:lnTo>
                      <a:pt x="690" y="596"/>
                    </a:lnTo>
                    <a:lnTo>
                      <a:pt x="694" y="590"/>
                    </a:lnTo>
                    <a:lnTo>
                      <a:pt x="696" y="584"/>
                    </a:lnTo>
                    <a:lnTo>
                      <a:pt x="702" y="572"/>
                    </a:lnTo>
                    <a:lnTo>
                      <a:pt x="704" y="566"/>
                    </a:lnTo>
                    <a:lnTo>
                      <a:pt x="708" y="562"/>
                    </a:lnTo>
                    <a:lnTo>
                      <a:pt x="710" y="558"/>
                    </a:lnTo>
                    <a:lnTo>
                      <a:pt x="714" y="554"/>
                    </a:lnTo>
                    <a:lnTo>
                      <a:pt x="722" y="546"/>
                    </a:lnTo>
                    <a:lnTo>
                      <a:pt x="728" y="538"/>
                    </a:lnTo>
                    <a:lnTo>
                      <a:pt x="732" y="536"/>
                    </a:lnTo>
                    <a:lnTo>
                      <a:pt x="734" y="534"/>
                    </a:lnTo>
                    <a:lnTo>
                      <a:pt x="738" y="532"/>
                    </a:lnTo>
                    <a:lnTo>
                      <a:pt x="740" y="530"/>
                    </a:lnTo>
                    <a:lnTo>
                      <a:pt x="742" y="530"/>
                    </a:lnTo>
                    <a:lnTo>
                      <a:pt x="744" y="530"/>
                    </a:lnTo>
                    <a:lnTo>
                      <a:pt x="744" y="528"/>
                    </a:lnTo>
                    <a:lnTo>
                      <a:pt x="746" y="528"/>
                    </a:lnTo>
                    <a:lnTo>
                      <a:pt x="746" y="528"/>
                    </a:lnTo>
                    <a:lnTo>
                      <a:pt x="748" y="526"/>
                    </a:lnTo>
                    <a:lnTo>
                      <a:pt x="748" y="526"/>
                    </a:lnTo>
                    <a:lnTo>
                      <a:pt x="748" y="526"/>
                    </a:lnTo>
                    <a:lnTo>
                      <a:pt x="748" y="526"/>
                    </a:lnTo>
                    <a:lnTo>
                      <a:pt x="750" y="524"/>
                    </a:lnTo>
                    <a:lnTo>
                      <a:pt x="750" y="524"/>
                    </a:lnTo>
                    <a:lnTo>
                      <a:pt x="750" y="522"/>
                    </a:lnTo>
                    <a:lnTo>
                      <a:pt x="750" y="520"/>
                    </a:lnTo>
                    <a:lnTo>
                      <a:pt x="750" y="520"/>
                    </a:lnTo>
                    <a:lnTo>
                      <a:pt x="750" y="518"/>
                    </a:lnTo>
                    <a:lnTo>
                      <a:pt x="750" y="516"/>
                    </a:lnTo>
                    <a:lnTo>
                      <a:pt x="750" y="514"/>
                    </a:lnTo>
                    <a:lnTo>
                      <a:pt x="750" y="514"/>
                    </a:lnTo>
                    <a:lnTo>
                      <a:pt x="748" y="514"/>
                    </a:lnTo>
                    <a:lnTo>
                      <a:pt x="748" y="512"/>
                    </a:lnTo>
                    <a:lnTo>
                      <a:pt x="748" y="512"/>
                    </a:lnTo>
                    <a:lnTo>
                      <a:pt x="748" y="512"/>
                    </a:lnTo>
                    <a:lnTo>
                      <a:pt x="748" y="512"/>
                    </a:lnTo>
                    <a:lnTo>
                      <a:pt x="748" y="512"/>
                    </a:lnTo>
                    <a:lnTo>
                      <a:pt x="748" y="510"/>
                    </a:lnTo>
                    <a:lnTo>
                      <a:pt x="748" y="510"/>
                    </a:lnTo>
                    <a:lnTo>
                      <a:pt x="748" y="510"/>
                    </a:lnTo>
                    <a:lnTo>
                      <a:pt x="750" y="510"/>
                    </a:lnTo>
                    <a:lnTo>
                      <a:pt x="750" y="508"/>
                    </a:lnTo>
                    <a:lnTo>
                      <a:pt x="750" y="508"/>
                    </a:lnTo>
                    <a:lnTo>
                      <a:pt x="752" y="506"/>
                    </a:lnTo>
                    <a:lnTo>
                      <a:pt x="752" y="504"/>
                    </a:lnTo>
                    <a:lnTo>
                      <a:pt x="754" y="500"/>
                    </a:lnTo>
                    <a:lnTo>
                      <a:pt x="754" y="496"/>
                    </a:lnTo>
                    <a:lnTo>
                      <a:pt x="756" y="494"/>
                    </a:lnTo>
                    <a:lnTo>
                      <a:pt x="756" y="492"/>
                    </a:lnTo>
                    <a:lnTo>
                      <a:pt x="756" y="492"/>
                    </a:lnTo>
                    <a:lnTo>
                      <a:pt x="758" y="492"/>
                    </a:lnTo>
                    <a:lnTo>
                      <a:pt x="760" y="494"/>
                    </a:lnTo>
                    <a:lnTo>
                      <a:pt x="760" y="496"/>
                    </a:lnTo>
                    <a:lnTo>
                      <a:pt x="760" y="496"/>
                    </a:lnTo>
                    <a:lnTo>
                      <a:pt x="762" y="496"/>
                    </a:lnTo>
                    <a:lnTo>
                      <a:pt x="764" y="496"/>
                    </a:lnTo>
                    <a:lnTo>
                      <a:pt x="764" y="496"/>
                    </a:lnTo>
                    <a:lnTo>
                      <a:pt x="764" y="496"/>
                    </a:lnTo>
                    <a:lnTo>
                      <a:pt x="766" y="496"/>
                    </a:lnTo>
                    <a:lnTo>
                      <a:pt x="766" y="496"/>
                    </a:lnTo>
                    <a:lnTo>
                      <a:pt x="768" y="496"/>
                    </a:lnTo>
                    <a:lnTo>
                      <a:pt x="768" y="496"/>
                    </a:lnTo>
                    <a:lnTo>
                      <a:pt x="768" y="496"/>
                    </a:lnTo>
                    <a:lnTo>
                      <a:pt x="770" y="496"/>
                    </a:lnTo>
                    <a:lnTo>
                      <a:pt x="770" y="496"/>
                    </a:lnTo>
                    <a:lnTo>
                      <a:pt x="774" y="492"/>
                    </a:lnTo>
                    <a:lnTo>
                      <a:pt x="778" y="490"/>
                    </a:lnTo>
                    <a:lnTo>
                      <a:pt x="782" y="484"/>
                    </a:lnTo>
                    <a:lnTo>
                      <a:pt x="786" y="480"/>
                    </a:lnTo>
                    <a:lnTo>
                      <a:pt x="790" y="476"/>
                    </a:lnTo>
                    <a:lnTo>
                      <a:pt x="794" y="470"/>
                    </a:lnTo>
                    <a:lnTo>
                      <a:pt x="794" y="468"/>
                    </a:lnTo>
                    <a:lnTo>
                      <a:pt x="796" y="466"/>
                    </a:lnTo>
                    <a:lnTo>
                      <a:pt x="796" y="466"/>
                    </a:lnTo>
                    <a:lnTo>
                      <a:pt x="796" y="466"/>
                    </a:lnTo>
                    <a:lnTo>
                      <a:pt x="796" y="464"/>
                    </a:lnTo>
                    <a:lnTo>
                      <a:pt x="796" y="464"/>
                    </a:lnTo>
                    <a:lnTo>
                      <a:pt x="796" y="464"/>
                    </a:lnTo>
                    <a:lnTo>
                      <a:pt x="798" y="462"/>
                    </a:lnTo>
                    <a:lnTo>
                      <a:pt x="798" y="462"/>
                    </a:lnTo>
                    <a:lnTo>
                      <a:pt x="798" y="460"/>
                    </a:lnTo>
                    <a:lnTo>
                      <a:pt x="796" y="460"/>
                    </a:lnTo>
                    <a:lnTo>
                      <a:pt x="796" y="460"/>
                    </a:lnTo>
                    <a:lnTo>
                      <a:pt x="796" y="458"/>
                    </a:lnTo>
                    <a:lnTo>
                      <a:pt x="796" y="458"/>
                    </a:lnTo>
                    <a:lnTo>
                      <a:pt x="796" y="458"/>
                    </a:lnTo>
                    <a:lnTo>
                      <a:pt x="796" y="456"/>
                    </a:lnTo>
                    <a:lnTo>
                      <a:pt x="794" y="454"/>
                    </a:lnTo>
                    <a:lnTo>
                      <a:pt x="794" y="454"/>
                    </a:lnTo>
                    <a:lnTo>
                      <a:pt x="792" y="454"/>
                    </a:lnTo>
                    <a:lnTo>
                      <a:pt x="794" y="454"/>
                    </a:lnTo>
                    <a:lnTo>
                      <a:pt x="794" y="454"/>
                    </a:lnTo>
                    <a:lnTo>
                      <a:pt x="794" y="454"/>
                    </a:lnTo>
                    <a:lnTo>
                      <a:pt x="796" y="452"/>
                    </a:lnTo>
                    <a:lnTo>
                      <a:pt x="796" y="452"/>
                    </a:lnTo>
                    <a:lnTo>
                      <a:pt x="796" y="450"/>
                    </a:lnTo>
                    <a:lnTo>
                      <a:pt x="798" y="448"/>
                    </a:lnTo>
                    <a:lnTo>
                      <a:pt x="798" y="446"/>
                    </a:lnTo>
                    <a:lnTo>
                      <a:pt x="800" y="442"/>
                    </a:lnTo>
                    <a:lnTo>
                      <a:pt x="802" y="440"/>
                    </a:lnTo>
                    <a:lnTo>
                      <a:pt x="802" y="442"/>
                    </a:lnTo>
                    <a:lnTo>
                      <a:pt x="802" y="442"/>
                    </a:lnTo>
                    <a:lnTo>
                      <a:pt x="802" y="444"/>
                    </a:lnTo>
                    <a:lnTo>
                      <a:pt x="802" y="444"/>
                    </a:lnTo>
                    <a:lnTo>
                      <a:pt x="802" y="446"/>
                    </a:lnTo>
                    <a:lnTo>
                      <a:pt x="802" y="452"/>
                    </a:lnTo>
                    <a:lnTo>
                      <a:pt x="804" y="460"/>
                    </a:lnTo>
                    <a:lnTo>
                      <a:pt x="804" y="468"/>
                    </a:lnTo>
                    <a:lnTo>
                      <a:pt x="804" y="474"/>
                    </a:lnTo>
                    <a:lnTo>
                      <a:pt x="804" y="482"/>
                    </a:lnTo>
                    <a:lnTo>
                      <a:pt x="804" y="484"/>
                    </a:lnTo>
                    <a:lnTo>
                      <a:pt x="802" y="488"/>
                    </a:lnTo>
                    <a:lnTo>
                      <a:pt x="800" y="490"/>
                    </a:lnTo>
                    <a:lnTo>
                      <a:pt x="798" y="494"/>
                    </a:lnTo>
                    <a:lnTo>
                      <a:pt x="796" y="496"/>
                    </a:lnTo>
                    <a:lnTo>
                      <a:pt x="794" y="498"/>
                    </a:lnTo>
                    <a:lnTo>
                      <a:pt x="794" y="498"/>
                    </a:lnTo>
                    <a:lnTo>
                      <a:pt x="794" y="498"/>
                    </a:lnTo>
                    <a:lnTo>
                      <a:pt x="792" y="502"/>
                    </a:lnTo>
                    <a:lnTo>
                      <a:pt x="792" y="502"/>
                    </a:lnTo>
                    <a:lnTo>
                      <a:pt x="790" y="504"/>
                    </a:lnTo>
                    <a:lnTo>
                      <a:pt x="790" y="506"/>
                    </a:lnTo>
                    <a:lnTo>
                      <a:pt x="790" y="506"/>
                    </a:lnTo>
                    <a:lnTo>
                      <a:pt x="790" y="506"/>
                    </a:lnTo>
                    <a:lnTo>
                      <a:pt x="788" y="508"/>
                    </a:lnTo>
                    <a:lnTo>
                      <a:pt x="788" y="508"/>
                    </a:lnTo>
                    <a:lnTo>
                      <a:pt x="790" y="510"/>
                    </a:lnTo>
                    <a:lnTo>
                      <a:pt x="790" y="510"/>
                    </a:lnTo>
                    <a:lnTo>
                      <a:pt x="790" y="510"/>
                    </a:lnTo>
                    <a:lnTo>
                      <a:pt x="790" y="512"/>
                    </a:lnTo>
                    <a:lnTo>
                      <a:pt x="792" y="512"/>
                    </a:lnTo>
                    <a:lnTo>
                      <a:pt x="792" y="512"/>
                    </a:lnTo>
                    <a:lnTo>
                      <a:pt x="792" y="512"/>
                    </a:lnTo>
                    <a:lnTo>
                      <a:pt x="794" y="514"/>
                    </a:lnTo>
                    <a:lnTo>
                      <a:pt x="794" y="514"/>
                    </a:lnTo>
                    <a:lnTo>
                      <a:pt x="796" y="514"/>
                    </a:lnTo>
                    <a:lnTo>
                      <a:pt x="800" y="514"/>
                    </a:lnTo>
                    <a:lnTo>
                      <a:pt x="802" y="512"/>
                    </a:lnTo>
                    <a:lnTo>
                      <a:pt x="806" y="512"/>
                    </a:lnTo>
                    <a:lnTo>
                      <a:pt x="808" y="512"/>
                    </a:lnTo>
                    <a:lnTo>
                      <a:pt x="810" y="512"/>
                    </a:lnTo>
                    <a:lnTo>
                      <a:pt x="810" y="512"/>
                    </a:lnTo>
                    <a:lnTo>
                      <a:pt x="812" y="512"/>
                    </a:lnTo>
                    <a:lnTo>
                      <a:pt x="812" y="514"/>
                    </a:lnTo>
                    <a:lnTo>
                      <a:pt x="812" y="516"/>
                    </a:lnTo>
                    <a:lnTo>
                      <a:pt x="814" y="518"/>
                    </a:lnTo>
                    <a:lnTo>
                      <a:pt x="814" y="520"/>
                    </a:lnTo>
                    <a:lnTo>
                      <a:pt x="814" y="524"/>
                    </a:lnTo>
                    <a:lnTo>
                      <a:pt x="814" y="524"/>
                    </a:lnTo>
                    <a:lnTo>
                      <a:pt x="816" y="526"/>
                    </a:lnTo>
                    <a:lnTo>
                      <a:pt x="818" y="526"/>
                    </a:lnTo>
                    <a:lnTo>
                      <a:pt x="820" y="526"/>
                    </a:lnTo>
                    <a:lnTo>
                      <a:pt x="824" y="526"/>
                    </a:lnTo>
                    <a:lnTo>
                      <a:pt x="828" y="524"/>
                    </a:lnTo>
                    <a:lnTo>
                      <a:pt x="834" y="522"/>
                    </a:lnTo>
                    <a:lnTo>
                      <a:pt x="836" y="522"/>
                    </a:lnTo>
                    <a:lnTo>
                      <a:pt x="840" y="520"/>
                    </a:lnTo>
                    <a:lnTo>
                      <a:pt x="840" y="520"/>
                    </a:lnTo>
                    <a:lnTo>
                      <a:pt x="840" y="520"/>
                    </a:lnTo>
                    <a:lnTo>
                      <a:pt x="844" y="514"/>
                    </a:lnTo>
                    <a:lnTo>
                      <a:pt x="850" y="506"/>
                    </a:lnTo>
                    <a:lnTo>
                      <a:pt x="850" y="506"/>
                    </a:lnTo>
                    <a:lnTo>
                      <a:pt x="850" y="504"/>
                    </a:lnTo>
                    <a:lnTo>
                      <a:pt x="850" y="502"/>
                    </a:lnTo>
                    <a:lnTo>
                      <a:pt x="850" y="500"/>
                    </a:lnTo>
                    <a:lnTo>
                      <a:pt x="850" y="500"/>
                    </a:lnTo>
                    <a:lnTo>
                      <a:pt x="850" y="500"/>
                    </a:lnTo>
                    <a:lnTo>
                      <a:pt x="852" y="502"/>
                    </a:lnTo>
                    <a:lnTo>
                      <a:pt x="854" y="504"/>
                    </a:lnTo>
                    <a:lnTo>
                      <a:pt x="856" y="504"/>
                    </a:lnTo>
                    <a:lnTo>
                      <a:pt x="860" y="508"/>
                    </a:lnTo>
                    <a:lnTo>
                      <a:pt x="862" y="510"/>
                    </a:lnTo>
                    <a:lnTo>
                      <a:pt x="866" y="512"/>
                    </a:lnTo>
                    <a:lnTo>
                      <a:pt x="868" y="514"/>
                    </a:lnTo>
                    <a:lnTo>
                      <a:pt x="868" y="514"/>
                    </a:lnTo>
                    <a:lnTo>
                      <a:pt x="870" y="514"/>
                    </a:lnTo>
                    <a:lnTo>
                      <a:pt x="872" y="514"/>
                    </a:lnTo>
                    <a:lnTo>
                      <a:pt x="872" y="514"/>
                    </a:lnTo>
                    <a:lnTo>
                      <a:pt x="874" y="514"/>
                    </a:lnTo>
                    <a:lnTo>
                      <a:pt x="878" y="514"/>
                    </a:lnTo>
                    <a:lnTo>
                      <a:pt x="882" y="514"/>
                    </a:lnTo>
                    <a:lnTo>
                      <a:pt x="886" y="514"/>
                    </a:lnTo>
                    <a:lnTo>
                      <a:pt x="886" y="514"/>
                    </a:lnTo>
                    <a:lnTo>
                      <a:pt x="886" y="514"/>
                    </a:lnTo>
                    <a:lnTo>
                      <a:pt x="890" y="514"/>
                    </a:lnTo>
                    <a:lnTo>
                      <a:pt x="890" y="514"/>
                    </a:lnTo>
                    <a:lnTo>
                      <a:pt x="890" y="514"/>
                    </a:lnTo>
                    <a:lnTo>
                      <a:pt x="892" y="512"/>
                    </a:lnTo>
                    <a:lnTo>
                      <a:pt x="892" y="512"/>
                    </a:lnTo>
                    <a:lnTo>
                      <a:pt x="894" y="512"/>
                    </a:lnTo>
                    <a:lnTo>
                      <a:pt x="894" y="510"/>
                    </a:lnTo>
                    <a:lnTo>
                      <a:pt x="894" y="510"/>
                    </a:lnTo>
                    <a:lnTo>
                      <a:pt x="896" y="510"/>
                    </a:lnTo>
                    <a:lnTo>
                      <a:pt x="896" y="508"/>
                    </a:lnTo>
                    <a:lnTo>
                      <a:pt x="896" y="508"/>
                    </a:lnTo>
                    <a:lnTo>
                      <a:pt x="896" y="506"/>
                    </a:lnTo>
                    <a:lnTo>
                      <a:pt x="894" y="506"/>
                    </a:lnTo>
                    <a:lnTo>
                      <a:pt x="894" y="506"/>
                    </a:lnTo>
                    <a:lnTo>
                      <a:pt x="894" y="504"/>
                    </a:lnTo>
                    <a:lnTo>
                      <a:pt x="894" y="504"/>
                    </a:lnTo>
                    <a:lnTo>
                      <a:pt x="894" y="504"/>
                    </a:lnTo>
                    <a:lnTo>
                      <a:pt x="892" y="502"/>
                    </a:lnTo>
                    <a:lnTo>
                      <a:pt x="892" y="502"/>
                    </a:lnTo>
                    <a:lnTo>
                      <a:pt x="890" y="500"/>
                    </a:lnTo>
                    <a:lnTo>
                      <a:pt x="886" y="498"/>
                    </a:lnTo>
                    <a:lnTo>
                      <a:pt x="882" y="494"/>
                    </a:lnTo>
                    <a:lnTo>
                      <a:pt x="878" y="492"/>
                    </a:lnTo>
                    <a:lnTo>
                      <a:pt x="876" y="490"/>
                    </a:lnTo>
                    <a:lnTo>
                      <a:pt x="874" y="490"/>
                    </a:lnTo>
                    <a:lnTo>
                      <a:pt x="872" y="490"/>
                    </a:lnTo>
                    <a:lnTo>
                      <a:pt x="872" y="488"/>
                    </a:lnTo>
                    <a:lnTo>
                      <a:pt x="870" y="486"/>
                    </a:lnTo>
                    <a:lnTo>
                      <a:pt x="870" y="486"/>
                    </a:lnTo>
                    <a:lnTo>
                      <a:pt x="870" y="484"/>
                    </a:lnTo>
                    <a:lnTo>
                      <a:pt x="870" y="482"/>
                    </a:lnTo>
                    <a:lnTo>
                      <a:pt x="868" y="478"/>
                    </a:lnTo>
                    <a:lnTo>
                      <a:pt x="868" y="476"/>
                    </a:lnTo>
                    <a:lnTo>
                      <a:pt x="868" y="472"/>
                    </a:lnTo>
                    <a:lnTo>
                      <a:pt x="868" y="472"/>
                    </a:lnTo>
                    <a:lnTo>
                      <a:pt x="866" y="472"/>
                    </a:lnTo>
                    <a:lnTo>
                      <a:pt x="864" y="470"/>
                    </a:lnTo>
                    <a:lnTo>
                      <a:pt x="864" y="470"/>
                    </a:lnTo>
                    <a:lnTo>
                      <a:pt x="864" y="470"/>
                    </a:lnTo>
                    <a:lnTo>
                      <a:pt x="862" y="468"/>
                    </a:lnTo>
                    <a:lnTo>
                      <a:pt x="860" y="468"/>
                    </a:lnTo>
                    <a:lnTo>
                      <a:pt x="858" y="466"/>
                    </a:lnTo>
                    <a:lnTo>
                      <a:pt x="856" y="464"/>
                    </a:lnTo>
                    <a:lnTo>
                      <a:pt x="854" y="460"/>
                    </a:lnTo>
                    <a:lnTo>
                      <a:pt x="852" y="456"/>
                    </a:lnTo>
                    <a:lnTo>
                      <a:pt x="852" y="456"/>
                    </a:lnTo>
                    <a:lnTo>
                      <a:pt x="852" y="456"/>
                    </a:lnTo>
                    <a:lnTo>
                      <a:pt x="848" y="454"/>
                    </a:lnTo>
                    <a:lnTo>
                      <a:pt x="848" y="454"/>
                    </a:lnTo>
                    <a:lnTo>
                      <a:pt x="848" y="454"/>
                    </a:lnTo>
                    <a:lnTo>
                      <a:pt x="844" y="450"/>
                    </a:lnTo>
                    <a:lnTo>
                      <a:pt x="840" y="448"/>
                    </a:lnTo>
                    <a:lnTo>
                      <a:pt x="840" y="448"/>
                    </a:lnTo>
                    <a:lnTo>
                      <a:pt x="840" y="448"/>
                    </a:lnTo>
                    <a:lnTo>
                      <a:pt x="842" y="448"/>
                    </a:lnTo>
                    <a:lnTo>
                      <a:pt x="844" y="446"/>
                    </a:lnTo>
                    <a:lnTo>
                      <a:pt x="844" y="446"/>
                    </a:lnTo>
                    <a:lnTo>
                      <a:pt x="846" y="446"/>
                    </a:lnTo>
                    <a:lnTo>
                      <a:pt x="848" y="446"/>
                    </a:lnTo>
                    <a:lnTo>
                      <a:pt x="848" y="446"/>
                    </a:lnTo>
                    <a:lnTo>
                      <a:pt x="848" y="444"/>
                    </a:lnTo>
                    <a:lnTo>
                      <a:pt x="850" y="442"/>
                    </a:lnTo>
                    <a:lnTo>
                      <a:pt x="850" y="442"/>
                    </a:lnTo>
                    <a:lnTo>
                      <a:pt x="850" y="442"/>
                    </a:lnTo>
                    <a:lnTo>
                      <a:pt x="852" y="440"/>
                    </a:lnTo>
                    <a:lnTo>
                      <a:pt x="852" y="440"/>
                    </a:lnTo>
                    <a:lnTo>
                      <a:pt x="852" y="438"/>
                    </a:lnTo>
                    <a:lnTo>
                      <a:pt x="854" y="430"/>
                    </a:lnTo>
                    <a:lnTo>
                      <a:pt x="854" y="422"/>
                    </a:lnTo>
                    <a:lnTo>
                      <a:pt x="854" y="414"/>
                    </a:lnTo>
                    <a:lnTo>
                      <a:pt x="854" y="414"/>
                    </a:lnTo>
                    <a:lnTo>
                      <a:pt x="854" y="414"/>
                    </a:lnTo>
                    <a:lnTo>
                      <a:pt x="852" y="410"/>
                    </a:lnTo>
                    <a:lnTo>
                      <a:pt x="852" y="410"/>
                    </a:lnTo>
                    <a:lnTo>
                      <a:pt x="852" y="410"/>
                    </a:lnTo>
                    <a:lnTo>
                      <a:pt x="854" y="408"/>
                    </a:lnTo>
                    <a:lnTo>
                      <a:pt x="854" y="408"/>
                    </a:lnTo>
                    <a:lnTo>
                      <a:pt x="856" y="408"/>
                    </a:lnTo>
                    <a:lnTo>
                      <a:pt x="858" y="406"/>
                    </a:lnTo>
                    <a:lnTo>
                      <a:pt x="862" y="404"/>
                    </a:lnTo>
                    <a:lnTo>
                      <a:pt x="866" y="400"/>
                    </a:lnTo>
                    <a:lnTo>
                      <a:pt x="870" y="396"/>
                    </a:lnTo>
                    <a:lnTo>
                      <a:pt x="874" y="392"/>
                    </a:lnTo>
                    <a:lnTo>
                      <a:pt x="878" y="388"/>
                    </a:lnTo>
                    <a:lnTo>
                      <a:pt x="882" y="384"/>
                    </a:lnTo>
                    <a:lnTo>
                      <a:pt x="882" y="384"/>
                    </a:lnTo>
                    <a:lnTo>
                      <a:pt x="882" y="384"/>
                    </a:lnTo>
                    <a:lnTo>
                      <a:pt x="882" y="382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80"/>
                    </a:lnTo>
                    <a:lnTo>
                      <a:pt x="884" y="378"/>
                    </a:lnTo>
                    <a:lnTo>
                      <a:pt x="884" y="378"/>
                    </a:lnTo>
                    <a:lnTo>
                      <a:pt x="884" y="378"/>
                    </a:lnTo>
                    <a:lnTo>
                      <a:pt x="884" y="376"/>
                    </a:lnTo>
                    <a:lnTo>
                      <a:pt x="882" y="374"/>
                    </a:lnTo>
                    <a:lnTo>
                      <a:pt x="882" y="374"/>
                    </a:lnTo>
                    <a:lnTo>
                      <a:pt x="882" y="372"/>
                    </a:lnTo>
                    <a:lnTo>
                      <a:pt x="880" y="370"/>
                    </a:lnTo>
                    <a:lnTo>
                      <a:pt x="878" y="366"/>
                    </a:lnTo>
                    <a:lnTo>
                      <a:pt x="874" y="364"/>
                    </a:lnTo>
                    <a:lnTo>
                      <a:pt x="872" y="360"/>
                    </a:lnTo>
                    <a:lnTo>
                      <a:pt x="872" y="358"/>
                    </a:lnTo>
                    <a:lnTo>
                      <a:pt x="872" y="356"/>
                    </a:lnTo>
                    <a:lnTo>
                      <a:pt x="872" y="354"/>
                    </a:lnTo>
                    <a:lnTo>
                      <a:pt x="872" y="350"/>
                    </a:lnTo>
                    <a:lnTo>
                      <a:pt x="874" y="348"/>
                    </a:lnTo>
                    <a:lnTo>
                      <a:pt x="876" y="344"/>
                    </a:lnTo>
                    <a:lnTo>
                      <a:pt x="878" y="338"/>
                    </a:lnTo>
                    <a:lnTo>
                      <a:pt x="880" y="334"/>
                    </a:lnTo>
                    <a:lnTo>
                      <a:pt x="880" y="332"/>
                    </a:lnTo>
                    <a:lnTo>
                      <a:pt x="880" y="328"/>
                    </a:lnTo>
                    <a:lnTo>
                      <a:pt x="880" y="324"/>
                    </a:lnTo>
                    <a:lnTo>
                      <a:pt x="880" y="316"/>
                    </a:lnTo>
                    <a:lnTo>
                      <a:pt x="880" y="310"/>
                    </a:lnTo>
                    <a:lnTo>
                      <a:pt x="880" y="306"/>
                    </a:lnTo>
                    <a:lnTo>
                      <a:pt x="878" y="302"/>
                    </a:lnTo>
                    <a:lnTo>
                      <a:pt x="876" y="298"/>
                    </a:lnTo>
                    <a:lnTo>
                      <a:pt x="876" y="298"/>
                    </a:lnTo>
                    <a:lnTo>
                      <a:pt x="876" y="298"/>
                    </a:lnTo>
                    <a:lnTo>
                      <a:pt x="872" y="294"/>
                    </a:lnTo>
                    <a:lnTo>
                      <a:pt x="872" y="294"/>
                    </a:lnTo>
                    <a:lnTo>
                      <a:pt x="872" y="294"/>
                    </a:lnTo>
                    <a:lnTo>
                      <a:pt x="870" y="292"/>
                    </a:lnTo>
                    <a:lnTo>
                      <a:pt x="868" y="290"/>
                    </a:lnTo>
                    <a:lnTo>
                      <a:pt x="864" y="288"/>
                    </a:lnTo>
                    <a:lnTo>
                      <a:pt x="862" y="286"/>
                    </a:lnTo>
                    <a:lnTo>
                      <a:pt x="858" y="284"/>
                    </a:lnTo>
                    <a:lnTo>
                      <a:pt x="854" y="282"/>
                    </a:lnTo>
                    <a:lnTo>
                      <a:pt x="848" y="280"/>
                    </a:lnTo>
                    <a:lnTo>
                      <a:pt x="842" y="278"/>
                    </a:lnTo>
                    <a:lnTo>
                      <a:pt x="848" y="278"/>
                    </a:lnTo>
                    <a:lnTo>
                      <a:pt x="856" y="278"/>
                    </a:lnTo>
                    <a:lnTo>
                      <a:pt x="856" y="278"/>
                    </a:lnTo>
                    <a:lnTo>
                      <a:pt x="860" y="276"/>
                    </a:lnTo>
                    <a:lnTo>
                      <a:pt x="860" y="276"/>
                    </a:lnTo>
                    <a:lnTo>
                      <a:pt x="858" y="272"/>
                    </a:lnTo>
                    <a:lnTo>
                      <a:pt x="854" y="270"/>
                    </a:lnTo>
                    <a:lnTo>
                      <a:pt x="852" y="270"/>
                    </a:lnTo>
                    <a:lnTo>
                      <a:pt x="852" y="268"/>
                    </a:lnTo>
                    <a:lnTo>
                      <a:pt x="850" y="266"/>
                    </a:lnTo>
                    <a:lnTo>
                      <a:pt x="850" y="266"/>
                    </a:lnTo>
                    <a:lnTo>
                      <a:pt x="852" y="266"/>
                    </a:lnTo>
                    <a:lnTo>
                      <a:pt x="852" y="264"/>
                    </a:lnTo>
                    <a:lnTo>
                      <a:pt x="854" y="264"/>
                    </a:lnTo>
                    <a:lnTo>
                      <a:pt x="858" y="264"/>
                    </a:lnTo>
                    <a:lnTo>
                      <a:pt x="864" y="266"/>
                    </a:lnTo>
                    <a:lnTo>
                      <a:pt x="874" y="268"/>
                    </a:lnTo>
                    <a:lnTo>
                      <a:pt x="876" y="268"/>
                    </a:lnTo>
                    <a:lnTo>
                      <a:pt x="876" y="268"/>
                    </a:lnTo>
                    <a:lnTo>
                      <a:pt x="876" y="268"/>
                    </a:lnTo>
                    <a:lnTo>
                      <a:pt x="880" y="270"/>
                    </a:lnTo>
                    <a:lnTo>
                      <a:pt x="880" y="270"/>
                    </a:lnTo>
                    <a:lnTo>
                      <a:pt x="880" y="270"/>
                    </a:lnTo>
                    <a:lnTo>
                      <a:pt x="884" y="270"/>
                    </a:lnTo>
                    <a:lnTo>
                      <a:pt x="886" y="270"/>
                    </a:lnTo>
                    <a:lnTo>
                      <a:pt x="894" y="270"/>
                    </a:lnTo>
                    <a:lnTo>
                      <a:pt x="896" y="270"/>
                    </a:lnTo>
                    <a:lnTo>
                      <a:pt x="898" y="270"/>
                    </a:lnTo>
                    <a:lnTo>
                      <a:pt x="898" y="270"/>
                    </a:lnTo>
                    <a:lnTo>
                      <a:pt x="900" y="274"/>
                    </a:lnTo>
                    <a:lnTo>
                      <a:pt x="902" y="278"/>
                    </a:lnTo>
                    <a:lnTo>
                      <a:pt x="902" y="278"/>
                    </a:lnTo>
                    <a:lnTo>
                      <a:pt x="902" y="280"/>
                    </a:lnTo>
                    <a:lnTo>
                      <a:pt x="902" y="282"/>
                    </a:lnTo>
                    <a:lnTo>
                      <a:pt x="902" y="282"/>
                    </a:lnTo>
                    <a:lnTo>
                      <a:pt x="904" y="282"/>
                    </a:lnTo>
                    <a:lnTo>
                      <a:pt x="906" y="284"/>
                    </a:lnTo>
                    <a:lnTo>
                      <a:pt x="906" y="284"/>
                    </a:lnTo>
                    <a:lnTo>
                      <a:pt x="906" y="284"/>
                    </a:lnTo>
                    <a:lnTo>
                      <a:pt x="908" y="286"/>
                    </a:lnTo>
                    <a:lnTo>
                      <a:pt x="908" y="286"/>
                    </a:lnTo>
                    <a:lnTo>
                      <a:pt x="908" y="286"/>
                    </a:lnTo>
                    <a:lnTo>
                      <a:pt x="912" y="286"/>
                    </a:lnTo>
                    <a:lnTo>
                      <a:pt x="912" y="286"/>
                    </a:lnTo>
                    <a:lnTo>
                      <a:pt x="914" y="286"/>
                    </a:lnTo>
                    <a:lnTo>
                      <a:pt x="914" y="286"/>
                    </a:lnTo>
                    <a:lnTo>
                      <a:pt x="916" y="286"/>
                    </a:lnTo>
                    <a:lnTo>
                      <a:pt x="918" y="286"/>
                    </a:lnTo>
                    <a:lnTo>
                      <a:pt x="918" y="286"/>
                    </a:lnTo>
                    <a:lnTo>
                      <a:pt x="920" y="286"/>
                    </a:lnTo>
                    <a:lnTo>
                      <a:pt x="922" y="284"/>
                    </a:lnTo>
                    <a:lnTo>
                      <a:pt x="922" y="284"/>
                    </a:lnTo>
                    <a:lnTo>
                      <a:pt x="922" y="284"/>
                    </a:lnTo>
                    <a:lnTo>
                      <a:pt x="922" y="282"/>
                    </a:lnTo>
                    <a:lnTo>
                      <a:pt x="922" y="282"/>
                    </a:lnTo>
                    <a:lnTo>
                      <a:pt x="924" y="282"/>
                    </a:lnTo>
                    <a:lnTo>
                      <a:pt x="924" y="280"/>
                    </a:lnTo>
                    <a:lnTo>
                      <a:pt x="924" y="280"/>
                    </a:lnTo>
                    <a:lnTo>
                      <a:pt x="924" y="278"/>
                    </a:lnTo>
                    <a:lnTo>
                      <a:pt x="924" y="278"/>
                    </a:lnTo>
                    <a:lnTo>
                      <a:pt x="924" y="278"/>
                    </a:lnTo>
                    <a:lnTo>
                      <a:pt x="922" y="276"/>
                    </a:lnTo>
                    <a:lnTo>
                      <a:pt x="922" y="276"/>
                    </a:lnTo>
                    <a:lnTo>
                      <a:pt x="922" y="276"/>
                    </a:lnTo>
                    <a:lnTo>
                      <a:pt x="922" y="274"/>
                    </a:lnTo>
                    <a:lnTo>
                      <a:pt x="920" y="274"/>
                    </a:lnTo>
                    <a:lnTo>
                      <a:pt x="920" y="274"/>
                    </a:lnTo>
                    <a:lnTo>
                      <a:pt x="918" y="272"/>
                    </a:lnTo>
                    <a:lnTo>
                      <a:pt x="916" y="272"/>
                    </a:lnTo>
                    <a:lnTo>
                      <a:pt x="912" y="270"/>
                    </a:lnTo>
                    <a:lnTo>
                      <a:pt x="908" y="270"/>
                    </a:lnTo>
                    <a:lnTo>
                      <a:pt x="908" y="270"/>
                    </a:lnTo>
                    <a:lnTo>
                      <a:pt x="906" y="266"/>
                    </a:lnTo>
                    <a:lnTo>
                      <a:pt x="906" y="262"/>
                    </a:lnTo>
                    <a:lnTo>
                      <a:pt x="906" y="258"/>
                    </a:lnTo>
                    <a:lnTo>
                      <a:pt x="906" y="256"/>
                    </a:lnTo>
                    <a:lnTo>
                      <a:pt x="906" y="254"/>
                    </a:lnTo>
                    <a:lnTo>
                      <a:pt x="908" y="252"/>
                    </a:lnTo>
                    <a:lnTo>
                      <a:pt x="910" y="250"/>
                    </a:lnTo>
                    <a:lnTo>
                      <a:pt x="912" y="250"/>
                    </a:lnTo>
                    <a:lnTo>
                      <a:pt x="914" y="250"/>
                    </a:lnTo>
                    <a:lnTo>
                      <a:pt x="916" y="252"/>
                    </a:lnTo>
                    <a:lnTo>
                      <a:pt x="916" y="252"/>
                    </a:lnTo>
                    <a:lnTo>
                      <a:pt x="918" y="254"/>
                    </a:lnTo>
                    <a:lnTo>
                      <a:pt x="918" y="256"/>
                    </a:lnTo>
                    <a:lnTo>
                      <a:pt x="920" y="260"/>
                    </a:lnTo>
                    <a:lnTo>
                      <a:pt x="922" y="262"/>
                    </a:lnTo>
                    <a:lnTo>
                      <a:pt x="924" y="264"/>
                    </a:lnTo>
                    <a:lnTo>
                      <a:pt x="924" y="264"/>
                    </a:lnTo>
                    <a:lnTo>
                      <a:pt x="924" y="264"/>
                    </a:lnTo>
                    <a:lnTo>
                      <a:pt x="926" y="266"/>
                    </a:lnTo>
                    <a:lnTo>
                      <a:pt x="926" y="266"/>
                    </a:lnTo>
                    <a:lnTo>
                      <a:pt x="926" y="266"/>
                    </a:lnTo>
                    <a:lnTo>
                      <a:pt x="928" y="268"/>
                    </a:lnTo>
                    <a:lnTo>
                      <a:pt x="930" y="272"/>
                    </a:lnTo>
                    <a:lnTo>
                      <a:pt x="932" y="274"/>
                    </a:lnTo>
                    <a:lnTo>
                      <a:pt x="934" y="276"/>
                    </a:lnTo>
                    <a:lnTo>
                      <a:pt x="934" y="276"/>
                    </a:lnTo>
                    <a:lnTo>
                      <a:pt x="934" y="276"/>
                    </a:lnTo>
                    <a:lnTo>
                      <a:pt x="936" y="278"/>
                    </a:lnTo>
                    <a:lnTo>
                      <a:pt x="936" y="278"/>
                    </a:lnTo>
                    <a:lnTo>
                      <a:pt x="936" y="278"/>
                    </a:lnTo>
                    <a:lnTo>
                      <a:pt x="938" y="278"/>
                    </a:lnTo>
                    <a:lnTo>
                      <a:pt x="938" y="278"/>
                    </a:lnTo>
                    <a:lnTo>
                      <a:pt x="938" y="278"/>
                    </a:lnTo>
                    <a:lnTo>
                      <a:pt x="942" y="278"/>
                    </a:lnTo>
                    <a:lnTo>
                      <a:pt x="944" y="278"/>
                    </a:lnTo>
                    <a:lnTo>
                      <a:pt x="946" y="278"/>
                    </a:lnTo>
                    <a:lnTo>
                      <a:pt x="948" y="278"/>
                    </a:lnTo>
                    <a:lnTo>
                      <a:pt x="948" y="278"/>
                    </a:lnTo>
                    <a:lnTo>
                      <a:pt x="950" y="286"/>
                    </a:lnTo>
                    <a:lnTo>
                      <a:pt x="954" y="296"/>
                    </a:lnTo>
                    <a:lnTo>
                      <a:pt x="956" y="302"/>
                    </a:lnTo>
                    <a:lnTo>
                      <a:pt x="958" y="306"/>
                    </a:lnTo>
                    <a:lnTo>
                      <a:pt x="960" y="312"/>
                    </a:lnTo>
                    <a:lnTo>
                      <a:pt x="964" y="316"/>
                    </a:lnTo>
                    <a:lnTo>
                      <a:pt x="964" y="318"/>
                    </a:lnTo>
                    <a:lnTo>
                      <a:pt x="964" y="318"/>
                    </a:lnTo>
                    <a:lnTo>
                      <a:pt x="964" y="318"/>
                    </a:lnTo>
                    <a:lnTo>
                      <a:pt x="966" y="320"/>
                    </a:lnTo>
                    <a:lnTo>
                      <a:pt x="966" y="320"/>
                    </a:lnTo>
                    <a:lnTo>
                      <a:pt x="966" y="320"/>
                    </a:lnTo>
                    <a:lnTo>
                      <a:pt x="966" y="322"/>
                    </a:lnTo>
                    <a:lnTo>
                      <a:pt x="966" y="322"/>
                    </a:lnTo>
                    <a:lnTo>
                      <a:pt x="966" y="322"/>
                    </a:lnTo>
                    <a:lnTo>
                      <a:pt x="968" y="324"/>
                    </a:lnTo>
                    <a:lnTo>
                      <a:pt x="968" y="324"/>
                    </a:lnTo>
                    <a:lnTo>
                      <a:pt x="968" y="324"/>
                    </a:lnTo>
                    <a:lnTo>
                      <a:pt x="972" y="324"/>
                    </a:lnTo>
                    <a:lnTo>
                      <a:pt x="972" y="324"/>
                    </a:lnTo>
                    <a:lnTo>
                      <a:pt x="972" y="324"/>
                    </a:lnTo>
                    <a:lnTo>
                      <a:pt x="974" y="326"/>
                    </a:lnTo>
                    <a:lnTo>
                      <a:pt x="978" y="326"/>
                    </a:lnTo>
                    <a:lnTo>
                      <a:pt x="980" y="326"/>
                    </a:lnTo>
                    <a:lnTo>
                      <a:pt x="982" y="326"/>
                    </a:lnTo>
                    <a:lnTo>
                      <a:pt x="986" y="328"/>
                    </a:lnTo>
                    <a:lnTo>
                      <a:pt x="988" y="328"/>
                    </a:lnTo>
                    <a:lnTo>
                      <a:pt x="990" y="328"/>
                    </a:lnTo>
                    <a:lnTo>
                      <a:pt x="990" y="328"/>
                    </a:lnTo>
                    <a:lnTo>
                      <a:pt x="992" y="332"/>
                    </a:lnTo>
                    <a:lnTo>
                      <a:pt x="994" y="338"/>
                    </a:lnTo>
                    <a:lnTo>
                      <a:pt x="996" y="344"/>
                    </a:lnTo>
                    <a:lnTo>
                      <a:pt x="998" y="348"/>
                    </a:lnTo>
                    <a:lnTo>
                      <a:pt x="1000" y="352"/>
                    </a:lnTo>
                    <a:lnTo>
                      <a:pt x="1000" y="352"/>
                    </a:lnTo>
                    <a:lnTo>
                      <a:pt x="1000" y="352"/>
                    </a:lnTo>
                    <a:lnTo>
                      <a:pt x="1000" y="354"/>
                    </a:lnTo>
                    <a:lnTo>
                      <a:pt x="1000" y="354"/>
                    </a:lnTo>
                    <a:lnTo>
                      <a:pt x="1000" y="354"/>
                    </a:lnTo>
                    <a:lnTo>
                      <a:pt x="1002" y="356"/>
                    </a:lnTo>
                    <a:lnTo>
                      <a:pt x="1004" y="358"/>
                    </a:lnTo>
                    <a:lnTo>
                      <a:pt x="1006" y="360"/>
                    </a:lnTo>
                    <a:lnTo>
                      <a:pt x="1008" y="362"/>
                    </a:lnTo>
                    <a:lnTo>
                      <a:pt x="1010" y="362"/>
                    </a:lnTo>
                    <a:lnTo>
                      <a:pt x="1010" y="364"/>
                    </a:lnTo>
                    <a:lnTo>
                      <a:pt x="1010" y="374"/>
                    </a:lnTo>
                    <a:lnTo>
                      <a:pt x="1010" y="380"/>
                    </a:lnTo>
                    <a:lnTo>
                      <a:pt x="1008" y="384"/>
                    </a:lnTo>
                    <a:lnTo>
                      <a:pt x="1006" y="388"/>
                    </a:lnTo>
                    <a:lnTo>
                      <a:pt x="1004" y="392"/>
                    </a:lnTo>
                    <a:lnTo>
                      <a:pt x="1002" y="396"/>
                    </a:lnTo>
                    <a:lnTo>
                      <a:pt x="998" y="400"/>
                    </a:lnTo>
                    <a:lnTo>
                      <a:pt x="998" y="400"/>
                    </a:lnTo>
                    <a:lnTo>
                      <a:pt x="998" y="400"/>
                    </a:lnTo>
                    <a:lnTo>
                      <a:pt x="996" y="402"/>
                    </a:lnTo>
                    <a:lnTo>
                      <a:pt x="994" y="404"/>
                    </a:lnTo>
                    <a:lnTo>
                      <a:pt x="992" y="406"/>
                    </a:lnTo>
                    <a:lnTo>
                      <a:pt x="992" y="406"/>
                    </a:lnTo>
                    <a:lnTo>
                      <a:pt x="992" y="408"/>
                    </a:lnTo>
                    <a:lnTo>
                      <a:pt x="990" y="408"/>
                    </a:lnTo>
                    <a:lnTo>
                      <a:pt x="990" y="410"/>
                    </a:lnTo>
                    <a:lnTo>
                      <a:pt x="988" y="412"/>
                    </a:lnTo>
                    <a:lnTo>
                      <a:pt x="988" y="414"/>
                    </a:lnTo>
                    <a:lnTo>
                      <a:pt x="988" y="414"/>
                    </a:lnTo>
                    <a:lnTo>
                      <a:pt x="986" y="414"/>
                    </a:lnTo>
                    <a:lnTo>
                      <a:pt x="986" y="418"/>
                    </a:lnTo>
                    <a:lnTo>
                      <a:pt x="986" y="420"/>
                    </a:lnTo>
                    <a:lnTo>
                      <a:pt x="986" y="422"/>
                    </a:lnTo>
                    <a:lnTo>
                      <a:pt x="984" y="424"/>
                    </a:lnTo>
                    <a:lnTo>
                      <a:pt x="984" y="426"/>
                    </a:lnTo>
                    <a:lnTo>
                      <a:pt x="984" y="428"/>
                    </a:lnTo>
                    <a:lnTo>
                      <a:pt x="984" y="428"/>
                    </a:lnTo>
                    <a:lnTo>
                      <a:pt x="984" y="428"/>
                    </a:lnTo>
                    <a:lnTo>
                      <a:pt x="984" y="430"/>
                    </a:lnTo>
                    <a:lnTo>
                      <a:pt x="984" y="430"/>
                    </a:lnTo>
                    <a:lnTo>
                      <a:pt x="984" y="432"/>
                    </a:lnTo>
                    <a:lnTo>
                      <a:pt x="984" y="436"/>
                    </a:lnTo>
                    <a:lnTo>
                      <a:pt x="984" y="436"/>
                    </a:lnTo>
                    <a:lnTo>
                      <a:pt x="984" y="438"/>
                    </a:lnTo>
                    <a:lnTo>
                      <a:pt x="984" y="442"/>
                    </a:lnTo>
                    <a:lnTo>
                      <a:pt x="984" y="444"/>
                    </a:lnTo>
                    <a:lnTo>
                      <a:pt x="984" y="446"/>
                    </a:lnTo>
                    <a:lnTo>
                      <a:pt x="984" y="448"/>
                    </a:lnTo>
                    <a:lnTo>
                      <a:pt x="984" y="450"/>
                    </a:lnTo>
                    <a:lnTo>
                      <a:pt x="984" y="450"/>
                    </a:lnTo>
                    <a:lnTo>
                      <a:pt x="984" y="450"/>
                    </a:lnTo>
                    <a:lnTo>
                      <a:pt x="982" y="450"/>
                    </a:lnTo>
                    <a:lnTo>
                      <a:pt x="980" y="452"/>
                    </a:lnTo>
                    <a:lnTo>
                      <a:pt x="978" y="452"/>
                    </a:lnTo>
                    <a:lnTo>
                      <a:pt x="974" y="452"/>
                    </a:lnTo>
                    <a:lnTo>
                      <a:pt x="972" y="454"/>
                    </a:lnTo>
                    <a:lnTo>
                      <a:pt x="964" y="452"/>
                    </a:lnTo>
                    <a:lnTo>
                      <a:pt x="956" y="452"/>
                    </a:lnTo>
                    <a:lnTo>
                      <a:pt x="954" y="452"/>
                    </a:lnTo>
                    <a:lnTo>
                      <a:pt x="950" y="452"/>
                    </a:lnTo>
                    <a:lnTo>
                      <a:pt x="946" y="450"/>
                    </a:lnTo>
                    <a:lnTo>
                      <a:pt x="944" y="448"/>
                    </a:lnTo>
                    <a:lnTo>
                      <a:pt x="944" y="448"/>
                    </a:lnTo>
                    <a:lnTo>
                      <a:pt x="940" y="448"/>
                    </a:lnTo>
                    <a:lnTo>
                      <a:pt x="938" y="450"/>
                    </a:lnTo>
                    <a:lnTo>
                      <a:pt x="934" y="452"/>
                    </a:lnTo>
                    <a:lnTo>
                      <a:pt x="932" y="454"/>
                    </a:lnTo>
                    <a:lnTo>
                      <a:pt x="928" y="454"/>
                    </a:lnTo>
                    <a:lnTo>
                      <a:pt x="926" y="456"/>
                    </a:lnTo>
                    <a:lnTo>
                      <a:pt x="924" y="456"/>
                    </a:lnTo>
                    <a:lnTo>
                      <a:pt x="920" y="456"/>
                    </a:lnTo>
                    <a:lnTo>
                      <a:pt x="920" y="456"/>
                    </a:lnTo>
                    <a:lnTo>
                      <a:pt x="920" y="456"/>
                    </a:lnTo>
                    <a:lnTo>
                      <a:pt x="918" y="458"/>
                    </a:lnTo>
                    <a:lnTo>
                      <a:pt x="918" y="458"/>
                    </a:lnTo>
                    <a:lnTo>
                      <a:pt x="918" y="458"/>
                    </a:lnTo>
                    <a:lnTo>
                      <a:pt x="918" y="460"/>
                    </a:lnTo>
                    <a:lnTo>
                      <a:pt x="918" y="460"/>
                    </a:lnTo>
                    <a:lnTo>
                      <a:pt x="916" y="460"/>
                    </a:lnTo>
                    <a:lnTo>
                      <a:pt x="916" y="462"/>
                    </a:lnTo>
                    <a:lnTo>
                      <a:pt x="916" y="462"/>
                    </a:lnTo>
                    <a:lnTo>
                      <a:pt x="916" y="462"/>
                    </a:lnTo>
                    <a:lnTo>
                      <a:pt x="916" y="464"/>
                    </a:lnTo>
                    <a:lnTo>
                      <a:pt x="916" y="464"/>
                    </a:lnTo>
                    <a:lnTo>
                      <a:pt x="916" y="464"/>
                    </a:lnTo>
                    <a:lnTo>
                      <a:pt x="916" y="468"/>
                    </a:lnTo>
                    <a:lnTo>
                      <a:pt x="916" y="470"/>
                    </a:lnTo>
                    <a:lnTo>
                      <a:pt x="916" y="470"/>
                    </a:lnTo>
                    <a:lnTo>
                      <a:pt x="916" y="472"/>
                    </a:lnTo>
                    <a:lnTo>
                      <a:pt x="916" y="472"/>
                    </a:lnTo>
                    <a:lnTo>
                      <a:pt x="916" y="472"/>
                    </a:lnTo>
                    <a:lnTo>
                      <a:pt x="918" y="474"/>
                    </a:lnTo>
                    <a:lnTo>
                      <a:pt x="918" y="474"/>
                    </a:lnTo>
                    <a:lnTo>
                      <a:pt x="918" y="476"/>
                    </a:lnTo>
                    <a:lnTo>
                      <a:pt x="918" y="476"/>
                    </a:lnTo>
                    <a:lnTo>
                      <a:pt x="918" y="476"/>
                    </a:lnTo>
                    <a:lnTo>
                      <a:pt x="920" y="476"/>
                    </a:lnTo>
                    <a:lnTo>
                      <a:pt x="922" y="476"/>
                    </a:lnTo>
                    <a:lnTo>
                      <a:pt x="924" y="476"/>
                    </a:lnTo>
                    <a:lnTo>
                      <a:pt x="926" y="476"/>
                    </a:lnTo>
                    <a:lnTo>
                      <a:pt x="928" y="476"/>
                    </a:lnTo>
                    <a:lnTo>
                      <a:pt x="928" y="478"/>
                    </a:lnTo>
                    <a:lnTo>
                      <a:pt x="928" y="480"/>
                    </a:lnTo>
                    <a:lnTo>
                      <a:pt x="928" y="480"/>
                    </a:lnTo>
                    <a:lnTo>
                      <a:pt x="928" y="482"/>
                    </a:lnTo>
                    <a:lnTo>
                      <a:pt x="930" y="482"/>
                    </a:lnTo>
                    <a:lnTo>
                      <a:pt x="930" y="482"/>
                    </a:lnTo>
                    <a:lnTo>
                      <a:pt x="930" y="484"/>
                    </a:lnTo>
                    <a:lnTo>
                      <a:pt x="932" y="484"/>
                    </a:lnTo>
                    <a:lnTo>
                      <a:pt x="932" y="484"/>
                    </a:lnTo>
                    <a:lnTo>
                      <a:pt x="932" y="486"/>
                    </a:lnTo>
                    <a:lnTo>
                      <a:pt x="934" y="486"/>
                    </a:lnTo>
                    <a:lnTo>
                      <a:pt x="934" y="486"/>
                    </a:lnTo>
                    <a:lnTo>
                      <a:pt x="934" y="486"/>
                    </a:lnTo>
                    <a:lnTo>
                      <a:pt x="936" y="486"/>
                    </a:lnTo>
                    <a:lnTo>
                      <a:pt x="938" y="488"/>
                    </a:lnTo>
                    <a:lnTo>
                      <a:pt x="942" y="488"/>
                    </a:lnTo>
                    <a:lnTo>
                      <a:pt x="942" y="488"/>
                    </a:lnTo>
                    <a:lnTo>
                      <a:pt x="944" y="488"/>
                    </a:lnTo>
                    <a:lnTo>
                      <a:pt x="948" y="488"/>
                    </a:lnTo>
                    <a:lnTo>
                      <a:pt x="952" y="488"/>
                    </a:lnTo>
                    <a:lnTo>
                      <a:pt x="956" y="486"/>
                    </a:lnTo>
                    <a:lnTo>
                      <a:pt x="956" y="486"/>
                    </a:lnTo>
                    <a:lnTo>
                      <a:pt x="956" y="486"/>
                    </a:lnTo>
                    <a:lnTo>
                      <a:pt x="960" y="486"/>
                    </a:lnTo>
                    <a:lnTo>
                      <a:pt x="964" y="484"/>
                    </a:lnTo>
                    <a:lnTo>
                      <a:pt x="964" y="484"/>
                    </a:lnTo>
                    <a:lnTo>
                      <a:pt x="964" y="484"/>
                    </a:lnTo>
                    <a:lnTo>
                      <a:pt x="966" y="484"/>
                    </a:lnTo>
                    <a:lnTo>
                      <a:pt x="966" y="484"/>
                    </a:lnTo>
                    <a:lnTo>
                      <a:pt x="966" y="482"/>
                    </a:lnTo>
                    <a:lnTo>
                      <a:pt x="966" y="482"/>
                    </a:lnTo>
                    <a:lnTo>
                      <a:pt x="966" y="482"/>
                    </a:lnTo>
                    <a:lnTo>
                      <a:pt x="968" y="480"/>
                    </a:lnTo>
                    <a:lnTo>
                      <a:pt x="968" y="480"/>
                    </a:lnTo>
                    <a:lnTo>
                      <a:pt x="968" y="478"/>
                    </a:lnTo>
                    <a:lnTo>
                      <a:pt x="968" y="478"/>
                    </a:lnTo>
                    <a:lnTo>
                      <a:pt x="970" y="476"/>
                    </a:lnTo>
                    <a:lnTo>
                      <a:pt x="972" y="476"/>
                    </a:lnTo>
                    <a:lnTo>
                      <a:pt x="972" y="476"/>
                    </a:lnTo>
                    <a:lnTo>
                      <a:pt x="976" y="476"/>
                    </a:lnTo>
                    <a:lnTo>
                      <a:pt x="980" y="476"/>
                    </a:lnTo>
                    <a:lnTo>
                      <a:pt x="982" y="476"/>
                    </a:lnTo>
                    <a:lnTo>
                      <a:pt x="986" y="476"/>
                    </a:lnTo>
                    <a:lnTo>
                      <a:pt x="988" y="476"/>
                    </a:lnTo>
                    <a:lnTo>
                      <a:pt x="990" y="478"/>
                    </a:lnTo>
                    <a:lnTo>
                      <a:pt x="992" y="480"/>
                    </a:lnTo>
                    <a:lnTo>
                      <a:pt x="992" y="482"/>
                    </a:lnTo>
                    <a:lnTo>
                      <a:pt x="994" y="484"/>
                    </a:lnTo>
                    <a:lnTo>
                      <a:pt x="994" y="488"/>
                    </a:lnTo>
                    <a:lnTo>
                      <a:pt x="994" y="488"/>
                    </a:lnTo>
                    <a:lnTo>
                      <a:pt x="994" y="488"/>
                    </a:lnTo>
                    <a:lnTo>
                      <a:pt x="996" y="490"/>
                    </a:lnTo>
                    <a:lnTo>
                      <a:pt x="996" y="490"/>
                    </a:lnTo>
                    <a:lnTo>
                      <a:pt x="996" y="490"/>
                    </a:lnTo>
                    <a:lnTo>
                      <a:pt x="996" y="492"/>
                    </a:lnTo>
                    <a:lnTo>
                      <a:pt x="996" y="492"/>
                    </a:lnTo>
                    <a:lnTo>
                      <a:pt x="998" y="494"/>
                    </a:lnTo>
                    <a:lnTo>
                      <a:pt x="1002" y="496"/>
                    </a:lnTo>
                    <a:lnTo>
                      <a:pt x="1004" y="498"/>
                    </a:lnTo>
                    <a:lnTo>
                      <a:pt x="1006" y="500"/>
                    </a:lnTo>
                    <a:lnTo>
                      <a:pt x="1008" y="502"/>
                    </a:lnTo>
                    <a:lnTo>
                      <a:pt x="1010" y="506"/>
                    </a:lnTo>
                    <a:lnTo>
                      <a:pt x="1012" y="508"/>
                    </a:lnTo>
                    <a:lnTo>
                      <a:pt x="1014" y="510"/>
                    </a:lnTo>
                    <a:lnTo>
                      <a:pt x="1018" y="516"/>
                    </a:lnTo>
                    <a:lnTo>
                      <a:pt x="1024" y="518"/>
                    </a:lnTo>
                    <a:lnTo>
                      <a:pt x="1024" y="520"/>
                    </a:lnTo>
                    <a:lnTo>
                      <a:pt x="1024" y="522"/>
                    </a:lnTo>
                    <a:lnTo>
                      <a:pt x="1024" y="522"/>
                    </a:lnTo>
                    <a:lnTo>
                      <a:pt x="1024" y="524"/>
                    </a:lnTo>
                    <a:lnTo>
                      <a:pt x="1024" y="524"/>
                    </a:lnTo>
                    <a:lnTo>
                      <a:pt x="1024" y="524"/>
                    </a:lnTo>
                    <a:lnTo>
                      <a:pt x="1024" y="524"/>
                    </a:lnTo>
                    <a:lnTo>
                      <a:pt x="1024" y="524"/>
                    </a:lnTo>
                    <a:lnTo>
                      <a:pt x="1024" y="526"/>
                    </a:lnTo>
                    <a:lnTo>
                      <a:pt x="1024" y="528"/>
                    </a:lnTo>
                    <a:lnTo>
                      <a:pt x="1024" y="528"/>
                    </a:lnTo>
                    <a:lnTo>
                      <a:pt x="1026" y="528"/>
                    </a:lnTo>
                    <a:lnTo>
                      <a:pt x="1028" y="528"/>
                    </a:lnTo>
                    <a:lnTo>
                      <a:pt x="1028" y="528"/>
                    </a:lnTo>
                    <a:lnTo>
                      <a:pt x="1028" y="530"/>
                    </a:lnTo>
                    <a:lnTo>
                      <a:pt x="1028" y="530"/>
                    </a:lnTo>
                    <a:lnTo>
                      <a:pt x="1030" y="530"/>
                    </a:lnTo>
                    <a:lnTo>
                      <a:pt x="1034" y="532"/>
                    </a:lnTo>
                    <a:lnTo>
                      <a:pt x="1038" y="534"/>
                    </a:lnTo>
                    <a:lnTo>
                      <a:pt x="1044" y="534"/>
                    </a:lnTo>
                    <a:lnTo>
                      <a:pt x="1046" y="536"/>
                    </a:lnTo>
                    <a:lnTo>
                      <a:pt x="1050" y="540"/>
                    </a:lnTo>
                    <a:lnTo>
                      <a:pt x="1050" y="540"/>
                    </a:lnTo>
                    <a:lnTo>
                      <a:pt x="1050" y="540"/>
                    </a:lnTo>
                    <a:lnTo>
                      <a:pt x="1052" y="542"/>
                    </a:lnTo>
                    <a:lnTo>
                      <a:pt x="1052" y="542"/>
                    </a:lnTo>
                    <a:lnTo>
                      <a:pt x="1052" y="542"/>
                    </a:lnTo>
                    <a:lnTo>
                      <a:pt x="1056" y="544"/>
                    </a:lnTo>
                    <a:lnTo>
                      <a:pt x="1056" y="544"/>
                    </a:lnTo>
                    <a:lnTo>
                      <a:pt x="1056" y="544"/>
                    </a:lnTo>
                    <a:lnTo>
                      <a:pt x="1058" y="544"/>
                    </a:lnTo>
                    <a:lnTo>
                      <a:pt x="1058" y="544"/>
                    </a:lnTo>
                    <a:lnTo>
                      <a:pt x="1060" y="546"/>
                    </a:lnTo>
                    <a:lnTo>
                      <a:pt x="1060" y="548"/>
                    </a:lnTo>
                    <a:lnTo>
                      <a:pt x="1062" y="548"/>
                    </a:lnTo>
                    <a:lnTo>
                      <a:pt x="1062" y="548"/>
                    </a:lnTo>
                    <a:lnTo>
                      <a:pt x="1062" y="550"/>
                    </a:lnTo>
                    <a:lnTo>
                      <a:pt x="1064" y="550"/>
                    </a:lnTo>
                    <a:lnTo>
                      <a:pt x="1064" y="550"/>
                    </a:lnTo>
                    <a:lnTo>
                      <a:pt x="1064" y="550"/>
                    </a:lnTo>
                    <a:lnTo>
                      <a:pt x="1066" y="552"/>
                    </a:lnTo>
                    <a:lnTo>
                      <a:pt x="1066" y="552"/>
                    </a:lnTo>
                    <a:lnTo>
                      <a:pt x="1066" y="552"/>
                    </a:lnTo>
                    <a:lnTo>
                      <a:pt x="1068" y="552"/>
                    </a:lnTo>
                    <a:lnTo>
                      <a:pt x="1070" y="552"/>
                    </a:lnTo>
                    <a:lnTo>
                      <a:pt x="1072" y="554"/>
                    </a:lnTo>
                    <a:lnTo>
                      <a:pt x="1074" y="554"/>
                    </a:lnTo>
                    <a:lnTo>
                      <a:pt x="1074" y="554"/>
                    </a:lnTo>
                    <a:lnTo>
                      <a:pt x="1074" y="554"/>
                    </a:lnTo>
                    <a:lnTo>
                      <a:pt x="1074" y="554"/>
                    </a:lnTo>
                    <a:lnTo>
                      <a:pt x="1076" y="554"/>
                    </a:lnTo>
                    <a:lnTo>
                      <a:pt x="1076" y="554"/>
                    </a:lnTo>
                    <a:lnTo>
                      <a:pt x="1076" y="554"/>
                    </a:lnTo>
                    <a:lnTo>
                      <a:pt x="1078" y="556"/>
                    </a:lnTo>
                    <a:lnTo>
                      <a:pt x="1082" y="556"/>
                    </a:lnTo>
                    <a:lnTo>
                      <a:pt x="1086" y="556"/>
                    </a:lnTo>
                    <a:lnTo>
                      <a:pt x="1088" y="556"/>
                    </a:lnTo>
                    <a:lnTo>
                      <a:pt x="1090" y="558"/>
                    </a:lnTo>
                    <a:lnTo>
                      <a:pt x="1092" y="558"/>
                    </a:lnTo>
                    <a:lnTo>
                      <a:pt x="1094" y="558"/>
                    </a:lnTo>
                    <a:lnTo>
                      <a:pt x="1094" y="558"/>
                    </a:lnTo>
                    <a:lnTo>
                      <a:pt x="1094" y="558"/>
                    </a:lnTo>
                    <a:lnTo>
                      <a:pt x="1096" y="558"/>
                    </a:lnTo>
                    <a:lnTo>
                      <a:pt x="1096" y="558"/>
                    </a:lnTo>
                    <a:lnTo>
                      <a:pt x="1096" y="558"/>
                    </a:lnTo>
                    <a:lnTo>
                      <a:pt x="1098" y="556"/>
                    </a:lnTo>
                    <a:lnTo>
                      <a:pt x="1098" y="556"/>
                    </a:lnTo>
                    <a:lnTo>
                      <a:pt x="1098" y="554"/>
                    </a:lnTo>
                    <a:lnTo>
                      <a:pt x="1098" y="554"/>
                    </a:lnTo>
                    <a:lnTo>
                      <a:pt x="1098" y="554"/>
                    </a:lnTo>
                    <a:lnTo>
                      <a:pt x="1098" y="552"/>
                    </a:lnTo>
                    <a:lnTo>
                      <a:pt x="1096" y="550"/>
                    </a:lnTo>
                    <a:lnTo>
                      <a:pt x="1094" y="550"/>
                    </a:lnTo>
                    <a:lnTo>
                      <a:pt x="1092" y="548"/>
                    </a:lnTo>
                    <a:lnTo>
                      <a:pt x="1088" y="544"/>
                    </a:lnTo>
                    <a:lnTo>
                      <a:pt x="1084" y="540"/>
                    </a:lnTo>
                    <a:lnTo>
                      <a:pt x="1080" y="536"/>
                    </a:lnTo>
                    <a:lnTo>
                      <a:pt x="1076" y="534"/>
                    </a:lnTo>
                    <a:lnTo>
                      <a:pt x="1074" y="532"/>
                    </a:lnTo>
                    <a:lnTo>
                      <a:pt x="1074" y="530"/>
                    </a:lnTo>
                    <a:lnTo>
                      <a:pt x="1072" y="528"/>
                    </a:lnTo>
                    <a:lnTo>
                      <a:pt x="1072" y="526"/>
                    </a:lnTo>
                    <a:lnTo>
                      <a:pt x="1070" y="524"/>
                    </a:lnTo>
                    <a:lnTo>
                      <a:pt x="1070" y="524"/>
                    </a:lnTo>
                    <a:lnTo>
                      <a:pt x="1070" y="524"/>
                    </a:lnTo>
                    <a:lnTo>
                      <a:pt x="1068" y="522"/>
                    </a:lnTo>
                    <a:lnTo>
                      <a:pt x="1066" y="522"/>
                    </a:lnTo>
                    <a:lnTo>
                      <a:pt x="1066" y="518"/>
                    </a:lnTo>
                    <a:lnTo>
                      <a:pt x="1064" y="516"/>
                    </a:lnTo>
                    <a:lnTo>
                      <a:pt x="1062" y="514"/>
                    </a:lnTo>
                    <a:lnTo>
                      <a:pt x="1062" y="512"/>
                    </a:lnTo>
                    <a:lnTo>
                      <a:pt x="1062" y="512"/>
                    </a:lnTo>
                    <a:lnTo>
                      <a:pt x="1062" y="512"/>
                    </a:lnTo>
                    <a:lnTo>
                      <a:pt x="1064" y="512"/>
                    </a:lnTo>
                    <a:lnTo>
                      <a:pt x="1068" y="512"/>
                    </a:lnTo>
                    <a:lnTo>
                      <a:pt x="1074" y="514"/>
                    </a:lnTo>
                    <a:lnTo>
                      <a:pt x="1080" y="514"/>
                    </a:lnTo>
                    <a:lnTo>
                      <a:pt x="1080" y="516"/>
                    </a:lnTo>
                    <a:lnTo>
                      <a:pt x="1082" y="518"/>
                    </a:lnTo>
                    <a:lnTo>
                      <a:pt x="1086" y="522"/>
                    </a:lnTo>
                    <a:lnTo>
                      <a:pt x="1088" y="524"/>
                    </a:lnTo>
                    <a:lnTo>
                      <a:pt x="1090" y="526"/>
                    </a:lnTo>
                    <a:lnTo>
                      <a:pt x="1090" y="526"/>
                    </a:lnTo>
                    <a:lnTo>
                      <a:pt x="1092" y="528"/>
                    </a:lnTo>
                    <a:lnTo>
                      <a:pt x="1092" y="528"/>
                    </a:lnTo>
                    <a:lnTo>
                      <a:pt x="1092" y="528"/>
                    </a:lnTo>
                    <a:lnTo>
                      <a:pt x="1094" y="530"/>
                    </a:lnTo>
                    <a:lnTo>
                      <a:pt x="1094" y="530"/>
                    </a:lnTo>
                    <a:lnTo>
                      <a:pt x="1096" y="530"/>
                    </a:lnTo>
                    <a:lnTo>
                      <a:pt x="1098" y="532"/>
                    </a:lnTo>
                    <a:lnTo>
                      <a:pt x="1098" y="532"/>
                    </a:lnTo>
                    <a:lnTo>
                      <a:pt x="1098" y="532"/>
                    </a:lnTo>
                    <a:lnTo>
                      <a:pt x="1100" y="532"/>
                    </a:lnTo>
                    <a:lnTo>
                      <a:pt x="1100" y="532"/>
                    </a:lnTo>
                    <a:lnTo>
                      <a:pt x="1102" y="532"/>
                    </a:lnTo>
                    <a:lnTo>
                      <a:pt x="1104" y="532"/>
                    </a:lnTo>
                    <a:lnTo>
                      <a:pt x="1104" y="532"/>
                    </a:lnTo>
                    <a:lnTo>
                      <a:pt x="1104" y="532"/>
                    </a:lnTo>
                    <a:lnTo>
                      <a:pt x="1106" y="530"/>
                    </a:lnTo>
                    <a:lnTo>
                      <a:pt x="1106" y="530"/>
                    </a:lnTo>
                    <a:lnTo>
                      <a:pt x="1106" y="530"/>
                    </a:lnTo>
                    <a:lnTo>
                      <a:pt x="1108" y="528"/>
                    </a:lnTo>
                    <a:lnTo>
                      <a:pt x="1108" y="528"/>
                    </a:lnTo>
                    <a:lnTo>
                      <a:pt x="1108" y="528"/>
                    </a:lnTo>
                    <a:lnTo>
                      <a:pt x="1110" y="524"/>
                    </a:lnTo>
                    <a:lnTo>
                      <a:pt x="1110" y="524"/>
                    </a:lnTo>
                    <a:lnTo>
                      <a:pt x="1110" y="524"/>
                    </a:lnTo>
                    <a:lnTo>
                      <a:pt x="1112" y="520"/>
                    </a:lnTo>
                    <a:lnTo>
                      <a:pt x="1112" y="518"/>
                    </a:lnTo>
                    <a:lnTo>
                      <a:pt x="1114" y="514"/>
                    </a:lnTo>
                    <a:lnTo>
                      <a:pt x="1114" y="512"/>
                    </a:lnTo>
                    <a:lnTo>
                      <a:pt x="1116" y="508"/>
                    </a:lnTo>
                    <a:lnTo>
                      <a:pt x="1116" y="508"/>
                    </a:lnTo>
                    <a:lnTo>
                      <a:pt x="1116" y="506"/>
                    </a:lnTo>
                    <a:lnTo>
                      <a:pt x="1114" y="504"/>
                    </a:lnTo>
                    <a:lnTo>
                      <a:pt x="1114" y="504"/>
                    </a:lnTo>
                    <a:lnTo>
                      <a:pt x="1114" y="502"/>
                    </a:lnTo>
                    <a:lnTo>
                      <a:pt x="1114" y="500"/>
                    </a:lnTo>
                    <a:lnTo>
                      <a:pt x="1114" y="500"/>
                    </a:lnTo>
                    <a:lnTo>
                      <a:pt x="1114" y="498"/>
                    </a:lnTo>
                    <a:lnTo>
                      <a:pt x="1112" y="496"/>
                    </a:lnTo>
                    <a:lnTo>
                      <a:pt x="1110" y="494"/>
                    </a:lnTo>
                    <a:lnTo>
                      <a:pt x="1108" y="490"/>
                    </a:lnTo>
                    <a:lnTo>
                      <a:pt x="1104" y="486"/>
                    </a:lnTo>
                    <a:lnTo>
                      <a:pt x="1102" y="486"/>
                    </a:lnTo>
                    <a:lnTo>
                      <a:pt x="1100" y="484"/>
                    </a:lnTo>
                    <a:lnTo>
                      <a:pt x="1098" y="484"/>
                    </a:lnTo>
                    <a:lnTo>
                      <a:pt x="1096" y="476"/>
                    </a:lnTo>
                    <a:lnTo>
                      <a:pt x="1094" y="472"/>
                    </a:lnTo>
                    <a:lnTo>
                      <a:pt x="1090" y="470"/>
                    </a:lnTo>
                    <a:lnTo>
                      <a:pt x="1090" y="464"/>
                    </a:lnTo>
                    <a:lnTo>
                      <a:pt x="1090" y="460"/>
                    </a:lnTo>
                    <a:lnTo>
                      <a:pt x="1088" y="458"/>
                    </a:lnTo>
                    <a:lnTo>
                      <a:pt x="1088" y="458"/>
                    </a:lnTo>
                    <a:lnTo>
                      <a:pt x="1088" y="456"/>
                    </a:lnTo>
                    <a:lnTo>
                      <a:pt x="1086" y="454"/>
                    </a:lnTo>
                    <a:lnTo>
                      <a:pt x="1086" y="454"/>
                    </a:lnTo>
                    <a:lnTo>
                      <a:pt x="1086" y="454"/>
                    </a:lnTo>
                    <a:lnTo>
                      <a:pt x="1084" y="452"/>
                    </a:lnTo>
                    <a:lnTo>
                      <a:pt x="1084" y="452"/>
                    </a:lnTo>
                    <a:lnTo>
                      <a:pt x="1084" y="452"/>
                    </a:lnTo>
                    <a:lnTo>
                      <a:pt x="1082" y="450"/>
                    </a:lnTo>
                    <a:lnTo>
                      <a:pt x="1078" y="448"/>
                    </a:lnTo>
                    <a:lnTo>
                      <a:pt x="1076" y="446"/>
                    </a:lnTo>
                    <a:lnTo>
                      <a:pt x="1074" y="442"/>
                    </a:lnTo>
                    <a:lnTo>
                      <a:pt x="1072" y="440"/>
                    </a:lnTo>
                    <a:lnTo>
                      <a:pt x="1070" y="438"/>
                    </a:lnTo>
                    <a:lnTo>
                      <a:pt x="1070" y="434"/>
                    </a:lnTo>
                    <a:lnTo>
                      <a:pt x="1070" y="432"/>
                    </a:lnTo>
                    <a:lnTo>
                      <a:pt x="1070" y="428"/>
                    </a:lnTo>
                    <a:lnTo>
                      <a:pt x="1072" y="428"/>
                    </a:lnTo>
                    <a:lnTo>
                      <a:pt x="1072" y="426"/>
                    </a:lnTo>
                    <a:lnTo>
                      <a:pt x="1072" y="426"/>
                    </a:lnTo>
                    <a:lnTo>
                      <a:pt x="1074" y="424"/>
                    </a:lnTo>
                    <a:lnTo>
                      <a:pt x="1074" y="422"/>
                    </a:lnTo>
                    <a:lnTo>
                      <a:pt x="1074" y="418"/>
                    </a:lnTo>
                    <a:lnTo>
                      <a:pt x="1074" y="414"/>
                    </a:lnTo>
                    <a:lnTo>
                      <a:pt x="1076" y="412"/>
                    </a:lnTo>
                    <a:lnTo>
                      <a:pt x="1076" y="412"/>
                    </a:lnTo>
                    <a:lnTo>
                      <a:pt x="1076" y="410"/>
                    </a:lnTo>
                    <a:lnTo>
                      <a:pt x="1078" y="410"/>
                    </a:lnTo>
                    <a:lnTo>
                      <a:pt x="1082" y="412"/>
                    </a:lnTo>
                    <a:lnTo>
                      <a:pt x="1084" y="412"/>
                    </a:lnTo>
                    <a:lnTo>
                      <a:pt x="1086" y="412"/>
                    </a:lnTo>
                    <a:lnTo>
                      <a:pt x="1088" y="414"/>
                    </a:lnTo>
                    <a:lnTo>
                      <a:pt x="1090" y="416"/>
                    </a:lnTo>
                    <a:lnTo>
                      <a:pt x="1094" y="418"/>
                    </a:lnTo>
                    <a:lnTo>
                      <a:pt x="1096" y="420"/>
                    </a:lnTo>
                    <a:lnTo>
                      <a:pt x="1098" y="422"/>
                    </a:lnTo>
                    <a:lnTo>
                      <a:pt x="1100" y="422"/>
                    </a:lnTo>
                    <a:lnTo>
                      <a:pt x="1104" y="424"/>
                    </a:lnTo>
                    <a:lnTo>
                      <a:pt x="1106" y="426"/>
                    </a:lnTo>
                    <a:lnTo>
                      <a:pt x="1106" y="428"/>
                    </a:lnTo>
                    <a:lnTo>
                      <a:pt x="1108" y="432"/>
                    </a:lnTo>
                    <a:lnTo>
                      <a:pt x="1108" y="432"/>
                    </a:lnTo>
                    <a:lnTo>
                      <a:pt x="1110" y="432"/>
                    </a:lnTo>
                    <a:lnTo>
                      <a:pt x="1112" y="436"/>
                    </a:lnTo>
                    <a:lnTo>
                      <a:pt x="1112" y="436"/>
                    </a:lnTo>
                    <a:lnTo>
                      <a:pt x="1112" y="436"/>
                    </a:lnTo>
                    <a:lnTo>
                      <a:pt x="1114" y="438"/>
                    </a:lnTo>
                    <a:lnTo>
                      <a:pt x="1118" y="440"/>
                    </a:lnTo>
                    <a:lnTo>
                      <a:pt x="1122" y="442"/>
                    </a:lnTo>
                    <a:lnTo>
                      <a:pt x="1124" y="444"/>
                    </a:lnTo>
                    <a:lnTo>
                      <a:pt x="1126" y="446"/>
                    </a:lnTo>
                    <a:lnTo>
                      <a:pt x="1128" y="448"/>
                    </a:lnTo>
                    <a:lnTo>
                      <a:pt x="1128" y="452"/>
                    </a:lnTo>
                    <a:lnTo>
                      <a:pt x="1128" y="452"/>
                    </a:lnTo>
                    <a:lnTo>
                      <a:pt x="1132" y="452"/>
                    </a:lnTo>
                    <a:lnTo>
                      <a:pt x="1132" y="452"/>
                    </a:lnTo>
                    <a:lnTo>
                      <a:pt x="1134" y="452"/>
                    </a:lnTo>
                    <a:lnTo>
                      <a:pt x="1136" y="448"/>
                    </a:lnTo>
                    <a:lnTo>
                      <a:pt x="1138" y="444"/>
                    </a:lnTo>
                    <a:lnTo>
                      <a:pt x="1142" y="438"/>
                    </a:lnTo>
                    <a:lnTo>
                      <a:pt x="1142" y="438"/>
                    </a:lnTo>
                    <a:lnTo>
                      <a:pt x="1144" y="436"/>
                    </a:lnTo>
                    <a:lnTo>
                      <a:pt x="1144" y="430"/>
                    </a:lnTo>
                    <a:lnTo>
                      <a:pt x="1144" y="422"/>
                    </a:lnTo>
                    <a:lnTo>
                      <a:pt x="1142" y="414"/>
                    </a:lnTo>
                    <a:lnTo>
                      <a:pt x="1142" y="408"/>
                    </a:lnTo>
                    <a:lnTo>
                      <a:pt x="1142" y="408"/>
                    </a:lnTo>
                    <a:lnTo>
                      <a:pt x="1142" y="406"/>
                    </a:lnTo>
                    <a:lnTo>
                      <a:pt x="1140" y="400"/>
                    </a:lnTo>
                    <a:lnTo>
                      <a:pt x="1140" y="400"/>
                    </a:lnTo>
                    <a:lnTo>
                      <a:pt x="1138" y="400"/>
                    </a:lnTo>
                    <a:lnTo>
                      <a:pt x="1138" y="396"/>
                    </a:lnTo>
                    <a:lnTo>
                      <a:pt x="1136" y="394"/>
                    </a:lnTo>
                    <a:lnTo>
                      <a:pt x="1136" y="394"/>
                    </a:lnTo>
                    <a:lnTo>
                      <a:pt x="1134" y="394"/>
                    </a:lnTo>
                    <a:lnTo>
                      <a:pt x="1132" y="392"/>
                    </a:lnTo>
                    <a:lnTo>
                      <a:pt x="1132" y="392"/>
                    </a:lnTo>
                    <a:lnTo>
                      <a:pt x="1132" y="390"/>
                    </a:lnTo>
                    <a:lnTo>
                      <a:pt x="1130" y="388"/>
                    </a:lnTo>
                    <a:lnTo>
                      <a:pt x="1130" y="388"/>
                    </a:lnTo>
                    <a:lnTo>
                      <a:pt x="1128" y="388"/>
                    </a:lnTo>
                    <a:lnTo>
                      <a:pt x="1126" y="388"/>
                    </a:lnTo>
                    <a:lnTo>
                      <a:pt x="1126" y="388"/>
                    </a:lnTo>
                    <a:lnTo>
                      <a:pt x="1126" y="388"/>
                    </a:lnTo>
                    <a:lnTo>
                      <a:pt x="1122" y="386"/>
                    </a:lnTo>
                    <a:lnTo>
                      <a:pt x="1122" y="386"/>
                    </a:lnTo>
                    <a:lnTo>
                      <a:pt x="1120" y="382"/>
                    </a:lnTo>
                    <a:lnTo>
                      <a:pt x="1118" y="380"/>
                    </a:lnTo>
                    <a:lnTo>
                      <a:pt x="1118" y="378"/>
                    </a:lnTo>
                    <a:lnTo>
                      <a:pt x="1118" y="378"/>
                    </a:lnTo>
                    <a:lnTo>
                      <a:pt x="1118" y="378"/>
                    </a:lnTo>
                    <a:lnTo>
                      <a:pt x="1116" y="378"/>
                    </a:lnTo>
                    <a:lnTo>
                      <a:pt x="1116" y="376"/>
                    </a:lnTo>
                    <a:lnTo>
                      <a:pt x="1114" y="376"/>
                    </a:lnTo>
                    <a:lnTo>
                      <a:pt x="1110" y="374"/>
                    </a:lnTo>
                    <a:lnTo>
                      <a:pt x="1108" y="374"/>
                    </a:lnTo>
                    <a:lnTo>
                      <a:pt x="1108" y="374"/>
                    </a:lnTo>
                    <a:lnTo>
                      <a:pt x="1106" y="372"/>
                    </a:lnTo>
                    <a:lnTo>
                      <a:pt x="1100" y="364"/>
                    </a:lnTo>
                    <a:lnTo>
                      <a:pt x="1094" y="356"/>
                    </a:lnTo>
                    <a:lnTo>
                      <a:pt x="1086" y="348"/>
                    </a:lnTo>
                    <a:lnTo>
                      <a:pt x="1082" y="344"/>
                    </a:lnTo>
                    <a:lnTo>
                      <a:pt x="1078" y="340"/>
                    </a:lnTo>
                    <a:lnTo>
                      <a:pt x="1072" y="336"/>
                    </a:lnTo>
                    <a:lnTo>
                      <a:pt x="1068" y="334"/>
                    </a:lnTo>
                    <a:lnTo>
                      <a:pt x="1062" y="328"/>
                    </a:lnTo>
                    <a:lnTo>
                      <a:pt x="1058" y="326"/>
                    </a:lnTo>
                    <a:lnTo>
                      <a:pt x="1054" y="322"/>
                    </a:lnTo>
                    <a:lnTo>
                      <a:pt x="1052" y="318"/>
                    </a:lnTo>
                    <a:lnTo>
                      <a:pt x="1050" y="316"/>
                    </a:lnTo>
                    <a:lnTo>
                      <a:pt x="1050" y="314"/>
                    </a:lnTo>
                    <a:lnTo>
                      <a:pt x="1050" y="314"/>
                    </a:lnTo>
                    <a:lnTo>
                      <a:pt x="1050" y="314"/>
                    </a:lnTo>
                    <a:lnTo>
                      <a:pt x="1050" y="312"/>
                    </a:lnTo>
                    <a:lnTo>
                      <a:pt x="1050" y="312"/>
                    </a:lnTo>
                    <a:lnTo>
                      <a:pt x="1050" y="312"/>
                    </a:lnTo>
                    <a:lnTo>
                      <a:pt x="1050" y="310"/>
                    </a:lnTo>
                    <a:lnTo>
                      <a:pt x="1050" y="310"/>
                    </a:lnTo>
                    <a:lnTo>
                      <a:pt x="1050" y="308"/>
                    </a:lnTo>
                    <a:lnTo>
                      <a:pt x="1050" y="306"/>
                    </a:lnTo>
                    <a:lnTo>
                      <a:pt x="1050" y="306"/>
                    </a:lnTo>
                    <a:lnTo>
                      <a:pt x="1050" y="306"/>
                    </a:lnTo>
                    <a:lnTo>
                      <a:pt x="1048" y="304"/>
                    </a:lnTo>
                    <a:lnTo>
                      <a:pt x="1048" y="304"/>
                    </a:lnTo>
                    <a:lnTo>
                      <a:pt x="1048" y="304"/>
                    </a:lnTo>
                    <a:lnTo>
                      <a:pt x="1048" y="302"/>
                    </a:lnTo>
                    <a:lnTo>
                      <a:pt x="1048" y="302"/>
                    </a:lnTo>
                    <a:lnTo>
                      <a:pt x="1046" y="302"/>
                    </a:lnTo>
                    <a:lnTo>
                      <a:pt x="1044" y="300"/>
                    </a:lnTo>
                    <a:lnTo>
                      <a:pt x="1044" y="300"/>
                    </a:lnTo>
                    <a:lnTo>
                      <a:pt x="1044" y="300"/>
                    </a:lnTo>
                    <a:lnTo>
                      <a:pt x="1042" y="300"/>
                    </a:lnTo>
                    <a:lnTo>
                      <a:pt x="1040" y="298"/>
                    </a:lnTo>
                    <a:lnTo>
                      <a:pt x="1040" y="294"/>
                    </a:lnTo>
                    <a:lnTo>
                      <a:pt x="1038" y="292"/>
                    </a:lnTo>
                    <a:lnTo>
                      <a:pt x="1038" y="288"/>
                    </a:lnTo>
                    <a:lnTo>
                      <a:pt x="1038" y="286"/>
                    </a:lnTo>
                    <a:lnTo>
                      <a:pt x="1040" y="284"/>
                    </a:lnTo>
                    <a:lnTo>
                      <a:pt x="1040" y="280"/>
                    </a:lnTo>
                    <a:lnTo>
                      <a:pt x="1042" y="278"/>
                    </a:lnTo>
                    <a:lnTo>
                      <a:pt x="1046" y="272"/>
                    </a:lnTo>
                    <a:lnTo>
                      <a:pt x="1050" y="268"/>
                    </a:lnTo>
                    <a:lnTo>
                      <a:pt x="1054" y="262"/>
                    </a:lnTo>
                    <a:lnTo>
                      <a:pt x="1058" y="256"/>
                    </a:lnTo>
                    <a:lnTo>
                      <a:pt x="1058" y="256"/>
                    </a:lnTo>
                    <a:lnTo>
                      <a:pt x="1058" y="252"/>
                    </a:lnTo>
                    <a:lnTo>
                      <a:pt x="1056" y="250"/>
                    </a:lnTo>
                    <a:lnTo>
                      <a:pt x="1056" y="250"/>
                    </a:lnTo>
                    <a:lnTo>
                      <a:pt x="1054" y="250"/>
                    </a:lnTo>
                    <a:lnTo>
                      <a:pt x="1052" y="248"/>
                    </a:lnTo>
                    <a:lnTo>
                      <a:pt x="1052" y="248"/>
                    </a:lnTo>
                    <a:lnTo>
                      <a:pt x="1052" y="248"/>
                    </a:lnTo>
                    <a:lnTo>
                      <a:pt x="1050" y="246"/>
                    </a:lnTo>
                    <a:lnTo>
                      <a:pt x="1050" y="246"/>
                    </a:lnTo>
                    <a:lnTo>
                      <a:pt x="1048" y="246"/>
                    </a:lnTo>
                    <a:lnTo>
                      <a:pt x="1046" y="246"/>
                    </a:lnTo>
                    <a:lnTo>
                      <a:pt x="1046" y="246"/>
                    </a:lnTo>
                    <a:lnTo>
                      <a:pt x="1046" y="246"/>
                    </a:lnTo>
                    <a:lnTo>
                      <a:pt x="1044" y="248"/>
                    </a:lnTo>
                    <a:lnTo>
                      <a:pt x="1040" y="248"/>
                    </a:lnTo>
                    <a:lnTo>
                      <a:pt x="1034" y="250"/>
                    </a:lnTo>
                    <a:lnTo>
                      <a:pt x="1034" y="250"/>
                    </a:lnTo>
                    <a:lnTo>
                      <a:pt x="1034" y="250"/>
                    </a:lnTo>
                    <a:lnTo>
                      <a:pt x="1030" y="252"/>
                    </a:lnTo>
                    <a:lnTo>
                      <a:pt x="1030" y="252"/>
                    </a:lnTo>
                    <a:lnTo>
                      <a:pt x="1030" y="252"/>
                    </a:lnTo>
                    <a:lnTo>
                      <a:pt x="1028" y="254"/>
                    </a:lnTo>
                    <a:lnTo>
                      <a:pt x="1028" y="254"/>
                    </a:lnTo>
                    <a:lnTo>
                      <a:pt x="1028" y="256"/>
                    </a:lnTo>
                    <a:lnTo>
                      <a:pt x="1028" y="258"/>
                    </a:lnTo>
                    <a:lnTo>
                      <a:pt x="1026" y="260"/>
                    </a:lnTo>
                    <a:lnTo>
                      <a:pt x="1024" y="264"/>
                    </a:lnTo>
                    <a:lnTo>
                      <a:pt x="1022" y="266"/>
                    </a:lnTo>
                    <a:lnTo>
                      <a:pt x="1020" y="268"/>
                    </a:lnTo>
                    <a:lnTo>
                      <a:pt x="1020" y="268"/>
                    </a:lnTo>
                    <a:lnTo>
                      <a:pt x="1020" y="270"/>
                    </a:lnTo>
                    <a:lnTo>
                      <a:pt x="1020" y="270"/>
                    </a:lnTo>
                    <a:lnTo>
                      <a:pt x="1020" y="270"/>
                    </a:lnTo>
                    <a:lnTo>
                      <a:pt x="1018" y="268"/>
                    </a:lnTo>
                    <a:lnTo>
                      <a:pt x="1018" y="264"/>
                    </a:lnTo>
                    <a:lnTo>
                      <a:pt x="1016" y="260"/>
                    </a:lnTo>
                    <a:lnTo>
                      <a:pt x="1016" y="258"/>
                    </a:lnTo>
                    <a:lnTo>
                      <a:pt x="1016" y="258"/>
                    </a:lnTo>
                    <a:lnTo>
                      <a:pt x="1016" y="256"/>
                    </a:lnTo>
                    <a:lnTo>
                      <a:pt x="1014" y="254"/>
                    </a:lnTo>
                    <a:lnTo>
                      <a:pt x="1014" y="254"/>
                    </a:lnTo>
                    <a:lnTo>
                      <a:pt x="1014" y="252"/>
                    </a:lnTo>
                    <a:lnTo>
                      <a:pt x="1014" y="248"/>
                    </a:lnTo>
                    <a:lnTo>
                      <a:pt x="1014" y="246"/>
                    </a:lnTo>
                    <a:lnTo>
                      <a:pt x="1014" y="244"/>
                    </a:lnTo>
                    <a:lnTo>
                      <a:pt x="1014" y="242"/>
                    </a:lnTo>
                    <a:lnTo>
                      <a:pt x="1014" y="240"/>
                    </a:lnTo>
                    <a:lnTo>
                      <a:pt x="1016" y="238"/>
                    </a:lnTo>
                    <a:lnTo>
                      <a:pt x="1018" y="238"/>
                    </a:lnTo>
                    <a:lnTo>
                      <a:pt x="1018" y="238"/>
                    </a:lnTo>
                    <a:lnTo>
                      <a:pt x="1020" y="236"/>
                    </a:lnTo>
                    <a:lnTo>
                      <a:pt x="1022" y="234"/>
                    </a:lnTo>
                    <a:lnTo>
                      <a:pt x="1022" y="234"/>
                    </a:lnTo>
                    <a:lnTo>
                      <a:pt x="1022" y="232"/>
                    </a:lnTo>
                    <a:lnTo>
                      <a:pt x="1024" y="230"/>
                    </a:lnTo>
                    <a:lnTo>
                      <a:pt x="1024" y="230"/>
                    </a:lnTo>
                    <a:lnTo>
                      <a:pt x="1024" y="230"/>
                    </a:lnTo>
                    <a:lnTo>
                      <a:pt x="1026" y="226"/>
                    </a:lnTo>
                    <a:lnTo>
                      <a:pt x="1026" y="222"/>
                    </a:lnTo>
                    <a:lnTo>
                      <a:pt x="1026" y="222"/>
                    </a:lnTo>
                    <a:lnTo>
                      <a:pt x="1026" y="218"/>
                    </a:lnTo>
                    <a:lnTo>
                      <a:pt x="1024" y="216"/>
                    </a:lnTo>
                    <a:lnTo>
                      <a:pt x="1022" y="216"/>
                    </a:lnTo>
                    <a:lnTo>
                      <a:pt x="1022" y="214"/>
                    </a:lnTo>
                    <a:lnTo>
                      <a:pt x="1020" y="212"/>
                    </a:lnTo>
                    <a:lnTo>
                      <a:pt x="1020" y="212"/>
                    </a:lnTo>
                    <a:lnTo>
                      <a:pt x="1020" y="212"/>
                    </a:lnTo>
                    <a:lnTo>
                      <a:pt x="1020" y="210"/>
                    </a:lnTo>
                    <a:lnTo>
                      <a:pt x="1020" y="210"/>
                    </a:lnTo>
                    <a:lnTo>
                      <a:pt x="1018" y="210"/>
                    </a:lnTo>
                    <a:lnTo>
                      <a:pt x="1016" y="210"/>
                    </a:lnTo>
                    <a:lnTo>
                      <a:pt x="1016" y="210"/>
                    </a:lnTo>
                    <a:lnTo>
                      <a:pt x="1016" y="210"/>
                    </a:lnTo>
                    <a:lnTo>
                      <a:pt x="1014" y="210"/>
                    </a:lnTo>
                    <a:lnTo>
                      <a:pt x="1014" y="210"/>
                    </a:lnTo>
                    <a:lnTo>
                      <a:pt x="1014" y="210"/>
                    </a:lnTo>
                    <a:lnTo>
                      <a:pt x="1010" y="210"/>
                    </a:lnTo>
                    <a:lnTo>
                      <a:pt x="1010" y="210"/>
                    </a:lnTo>
                    <a:lnTo>
                      <a:pt x="1010" y="212"/>
                    </a:lnTo>
                    <a:lnTo>
                      <a:pt x="1006" y="214"/>
                    </a:lnTo>
                    <a:lnTo>
                      <a:pt x="1004" y="216"/>
                    </a:lnTo>
                    <a:lnTo>
                      <a:pt x="1000" y="222"/>
                    </a:lnTo>
                    <a:lnTo>
                      <a:pt x="996" y="226"/>
                    </a:lnTo>
                    <a:lnTo>
                      <a:pt x="994" y="228"/>
                    </a:lnTo>
                    <a:lnTo>
                      <a:pt x="992" y="230"/>
                    </a:lnTo>
                    <a:lnTo>
                      <a:pt x="992" y="230"/>
                    </a:lnTo>
                    <a:lnTo>
                      <a:pt x="990" y="232"/>
                    </a:lnTo>
                    <a:lnTo>
                      <a:pt x="990" y="234"/>
                    </a:lnTo>
                    <a:lnTo>
                      <a:pt x="990" y="234"/>
                    </a:lnTo>
                    <a:lnTo>
                      <a:pt x="990" y="234"/>
                    </a:lnTo>
                    <a:lnTo>
                      <a:pt x="988" y="234"/>
                    </a:lnTo>
                    <a:lnTo>
                      <a:pt x="986" y="234"/>
                    </a:lnTo>
                    <a:lnTo>
                      <a:pt x="984" y="232"/>
                    </a:lnTo>
                    <a:lnTo>
                      <a:pt x="982" y="232"/>
                    </a:lnTo>
                    <a:lnTo>
                      <a:pt x="980" y="230"/>
                    </a:lnTo>
                    <a:lnTo>
                      <a:pt x="980" y="228"/>
                    </a:lnTo>
                    <a:lnTo>
                      <a:pt x="978" y="226"/>
                    </a:lnTo>
                    <a:lnTo>
                      <a:pt x="978" y="226"/>
                    </a:lnTo>
                    <a:lnTo>
                      <a:pt x="976" y="224"/>
                    </a:lnTo>
                    <a:lnTo>
                      <a:pt x="972" y="220"/>
                    </a:lnTo>
                    <a:lnTo>
                      <a:pt x="970" y="218"/>
                    </a:lnTo>
                    <a:lnTo>
                      <a:pt x="970" y="216"/>
                    </a:lnTo>
                    <a:lnTo>
                      <a:pt x="970" y="214"/>
                    </a:lnTo>
                    <a:lnTo>
                      <a:pt x="968" y="210"/>
                    </a:lnTo>
                    <a:lnTo>
                      <a:pt x="968" y="210"/>
                    </a:lnTo>
                    <a:lnTo>
                      <a:pt x="968" y="210"/>
                    </a:lnTo>
                    <a:lnTo>
                      <a:pt x="968" y="208"/>
                    </a:lnTo>
                    <a:lnTo>
                      <a:pt x="968" y="208"/>
                    </a:lnTo>
                    <a:lnTo>
                      <a:pt x="968" y="208"/>
                    </a:lnTo>
                    <a:lnTo>
                      <a:pt x="966" y="206"/>
                    </a:lnTo>
                    <a:lnTo>
                      <a:pt x="966" y="206"/>
                    </a:lnTo>
                    <a:lnTo>
                      <a:pt x="966" y="206"/>
                    </a:lnTo>
                    <a:lnTo>
                      <a:pt x="964" y="204"/>
                    </a:lnTo>
                    <a:lnTo>
                      <a:pt x="962" y="202"/>
                    </a:lnTo>
                    <a:lnTo>
                      <a:pt x="962" y="202"/>
                    </a:lnTo>
                    <a:lnTo>
                      <a:pt x="962" y="198"/>
                    </a:lnTo>
                    <a:lnTo>
                      <a:pt x="964" y="196"/>
                    </a:lnTo>
                    <a:lnTo>
                      <a:pt x="964" y="194"/>
                    </a:lnTo>
                    <a:lnTo>
                      <a:pt x="964" y="192"/>
                    </a:lnTo>
                    <a:lnTo>
                      <a:pt x="966" y="192"/>
                    </a:lnTo>
                    <a:lnTo>
                      <a:pt x="968" y="190"/>
                    </a:lnTo>
                    <a:lnTo>
                      <a:pt x="968" y="190"/>
                    </a:lnTo>
                    <a:lnTo>
                      <a:pt x="968" y="188"/>
                    </a:lnTo>
                    <a:lnTo>
                      <a:pt x="970" y="186"/>
                    </a:lnTo>
                    <a:lnTo>
                      <a:pt x="970" y="186"/>
                    </a:lnTo>
                    <a:lnTo>
                      <a:pt x="970" y="184"/>
                    </a:lnTo>
                    <a:lnTo>
                      <a:pt x="972" y="182"/>
                    </a:lnTo>
                    <a:lnTo>
                      <a:pt x="972" y="182"/>
                    </a:lnTo>
                    <a:lnTo>
                      <a:pt x="972" y="180"/>
                    </a:lnTo>
                    <a:lnTo>
                      <a:pt x="972" y="178"/>
                    </a:lnTo>
                    <a:lnTo>
                      <a:pt x="972" y="178"/>
                    </a:lnTo>
                    <a:lnTo>
                      <a:pt x="972" y="176"/>
                    </a:lnTo>
                    <a:lnTo>
                      <a:pt x="970" y="174"/>
                    </a:lnTo>
                    <a:lnTo>
                      <a:pt x="970" y="174"/>
                    </a:lnTo>
                    <a:lnTo>
                      <a:pt x="970" y="174"/>
                    </a:lnTo>
                    <a:lnTo>
                      <a:pt x="968" y="170"/>
                    </a:lnTo>
                    <a:lnTo>
                      <a:pt x="968" y="170"/>
                    </a:lnTo>
                    <a:lnTo>
                      <a:pt x="968" y="170"/>
                    </a:lnTo>
                    <a:lnTo>
                      <a:pt x="966" y="168"/>
                    </a:lnTo>
                    <a:lnTo>
                      <a:pt x="966" y="168"/>
                    </a:lnTo>
                    <a:lnTo>
                      <a:pt x="966" y="168"/>
                    </a:lnTo>
                    <a:lnTo>
                      <a:pt x="962" y="164"/>
                    </a:lnTo>
                    <a:lnTo>
                      <a:pt x="960" y="162"/>
                    </a:lnTo>
                    <a:lnTo>
                      <a:pt x="958" y="160"/>
                    </a:lnTo>
                    <a:lnTo>
                      <a:pt x="954" y="156"/>
                    </a:lnTo>
                    <a:lnTo>
                      <a:pt x="950" y="152"/>
                    </a:lnTo>
                    <a:lnTo>
                      <a:pt x="950" y="152"/>
                    </a:lnTo>
                    <a:lnTo>
                      <a:pt x="948" y="152"/>
                    </a:lnTo>
                    <a:lnTo>
                      <a:pt x="946" y="150"/>
                    </a:lnTo>
                    <a:lnTo>
                      <a:pt x="946" y="150"/>
                    </a:lnTo>
                    <a:lnTo>
                      <a:pt x="946" y="150"/>
                    </a:lnTo>
                    <a:lnTo>
                      <a:pt x="944" y="150"/>
                    </a:lnTo>
                    <a:lnTo>
                      <a:pt x="942" y="148"/>
                    </a:lnTo>
                    <a:lnTo>
                      <a:pt x="942" y="148"/>
                    </a:lnTo>
                    <a:lnTo>
                      <a:pt x="942" y="148"/>
                    </a:lnTo>
                    <a:lnTo>
                      <a:pt x="940" y="148"/>
                    </a:lnTo>
                    <a:lnTo>
                      <a:pt x="940" y="148"/>
                    </a:lnTo>
                    <a:lnTo>
                      <a:pt x="938" y="148"/>
                    </a:lnTo>
                    <a:lnTo>
                      <a:pt x="936" y="148"/>
                    </a:lnTo>
                    <a:lnTo>
                      <a:pt x="936" y="148"/>
                    </a:lnTo>
                    <a:lnTo>
                      <a:pt x="936" y="148"/>
                    </a:lnTo>
                    <a:lnTo>
                      <a:pt x="934" y="148"/>
                    </a:lnTo>
                    <a:lnTo>
                      <a:pt x="934" y="148"/>
                    </a:lnTo>
                    <a:lnTo>
                      <a:pt x="934" y="148"/>
                    </a:lnTo>
                    <a:lnTo>
                      <a:pt x="930" y="150"/>
                    </a:lnTo>
                    <a:lnTo>
                      <a:pt x="930" y="150"/>
                    </a:lnTo>
                    <a:lnTo>
                      <a:pt x="930" y="150"/>
                    </a:lnTo>
                    <a:lnTo>
                      <a:pt x="926" y="152"/>
                    </a:lnTo>
                    <a:lnTo>
                      <a:pt x="926" y="152"/>
                    </a:lnTo>
                    <a:lnTo>
                      <a:pt x="924" y="154"/>
                    </a:lnTo>
                    <a:lnTo>
                      <a:pt x="924" y="156"/>
                    </a:lnTo>
                    <a:lnTo>
                      <a:pt x="922" y="160"/>
                    </a:lnTo>
                    <a:lnTo>
                      <a:pt x="922" y="160"/>
                    </a:lnTo>
                    <a:lnTo>
                      <a:pt x="922" y="160"/>
                    </a:lnTo>
                    <a:lnTo>
                      <a:pt x="922" y="162"/>
                    </a:lnTo>
                    <a:lnTo>
                      <a:pt x="922" y="162"/>
                    </a:lnTo>
                    <a:lnTo>
                      <a:pt x="922" y="162"/>
                    </a:lnTo>
                    <a:lnTo>
                      <a:pt x="922" y="164"/>
                    </a:lnTo>
                    <a:lnTo>
                      <a:pt x="922" y="164"/>
                    </a:lnTo>
                    <a:lnTo>
                      <a:pt x="922" y="166"/>
                    </a:lnTo>
                    <a:lnTo>
                      <a:pt x="922" y="168"/>
                    </a:lnTo>
                    <a:lnTo>
                      <a:pt x="922" y="168"/>
                    </a:lnTo>
                    <a:lnTo>
                      <a:pt x="922" y="168"/>
                    </a:lnTo>
                    <a:lnTo>
                      <a:pt x="924" y="170"/>
                    </a:lnTo>
                    <a:lnTo>
                      <a:pt x="924" y="170"/>
                    </a:lnTo>
                    <a:lnTo>
                      <a:pt x="924" y="172"/>
                    </a:lnTo>
                    <a:lnTo>
                      <a:pt x="926" y="172"/>
                    </a:lnTo>
                    <a:lnTo>
                      <a:pt x="926" y="172"/>
                    </a:lnTo>
                    <a:lnTo>
                      <a:pt x="928" y="172"/>
                    </a:lnTo>
                    <a:lnTo>
                      <a:pt x="930" y="174"/>
                    </a:lnTo>
                    <a:lnTo>
                      <a:pt x="932" y="174"/>
                    </a:lnTo>
                    <a:lnTo>
                      <a:pt x="932" y="174"/>
                    </a:lnTo>
                    <a:lnTo>
                      <a:pt x="932" y="174"/>
                    </a:lnTo>
                    <a:lnTo>
                      <a:pt x="932" y="176"/>
                    </a:lnTo>
                    <a:lnTo>
                      <a:pt x="932" y="176"/>
                    </a:lnTo>
                    <a:lnTo>
                      <a:pt x="932" y="178"/>
                    </a:lnTo>
                    <a:lnTo>
                      <a:pt x="930" y="180"/>
                    </a:lnTo>
                    <a:lnTo>
                      <a:pt x="928" y="182"/>
                    </a:lnTo>
                    <a:lnTo>
                      <a:pt x="926" y="184"/>
                    </a:lnTo>
                    <a:lnTo>
                      <a:pt x="926" y="184"/>
                    </a:lnTo>
                    <a:lnTo>
                      <a:pt x="924" y="186"/>
                    </a:lnTo>
                    <a:lnTo>
                      <a:pt x="924" y="190"/>
                    </a:lnTo>
                    <a:lnTo>
                      <a:pt x="924" y="192"/>
                    </a:lnTo>
                    <a:lnTo>
                      <a:pt x="924" y="192"/>
                    </a:lnTo>
                    <a:lnTo>
                      <a:pt x="924" y="192"/>
                    </a:lnTo>
                    <a:lnTo>
                      <a:pt x="924" y="192"/>
                    </a:lnTo>
                    <a:lnTo>
                      <a:pt x="922" y="192"/>
                    </a:lnTo>
                    <a:lnTo>
                      <a:pt x="920" y="192"/>
                    </a:lnTo>
                    <a:lnTo>
                      <a:pt x="918" y="188"/>
                    </a:lnTo>
                    <a:lnTo>
                      <a:pt x="918" y="188"/>
                    </a:lnTo>
                    <a:lnTo>
                      <a:pt x="918" y="188"/>
                    </a:lnTo>
                    <a:lnTo>
                      <a:pt x="914" y="184"/>
                    </a:lnTo>
                    <a:lnTo>
                      <a:pt x="914" y="184"/>
                    </a:lnTo>
                    <a:lnTo>
                      <a:pt x="914" y="184"/>
                    </a:lnTo>
                    <a:lnTo>
                      <a:pt x="910" y="180"/>
                    </a:lnTo>
                    <a:lnTo>
                      <a:pt x="906" y="178"/>
                    </a:lnTo>
                    <a:lnTo>
                      <a:pt x="906" y="176"/>
                    </a:lnTo>
                    <a:lnTo>
                      <a:pt x="904" y="176"/>
                    </a:lnTo>
                    <a:lnTo>
                      <a:pt x="904" y="176"/>
                    </a:lnTo>
                    <a:lnTo>
                      <a:pt x="904" y="174"/>
                    </a:lnTo>
                    <a:lnTo>
                      <a:pt x="904" y="174"/>
                    </a:lnTo>
                    <a:lnTo>
                      <a:pt x="904" y="174"/>
                    </a:lnTo>
                    <a:lnTo>
                      <a:pt x="900" y="174"/>
                    </a:lnTo>
                    <a:lnTo>
                      <a:pt x="898" y="174"/>
                    </a:lnTo>
                    <a:lnTo>
                      <a:pt x="898" y="174"/>
                    </a:lnTo>
                    <a:lnTo>
                      <a:pt x="898" y="174"/>
                    </a:lnTo>
                    <a:lnTo>
                      <a:pt x="896" y="176"/>
                    </a:lnTo>
                    <a:lnTo>
                      <a:pt x="896" y="176"/>
                    </a:lnTo>
                    <a:lnTo>
                      <a:pt x="896" y="176"/>
                    </a:lnTo>
                    <a:lnTo>
                      <a:pt x="892" y="178"/>
                    </a:lnTo>
                    <a:lnTo>
                      <a:pt x="890" y="180"/>
                    </a:lnTo>
                    <a:lnTo>
                      <a:pt x="888" y="182"/>
                    </a:lnTo>
                    <a:lnTo>
                      <a:pt x="888" y="184"/>
                    </a:lnTo>
                    <a:lnTo>
                      <a:pt x="886" y="184"/>
                    </a:lnTo>
                    <a:lnTo>
                      <a:pt x="886" y="184"/>
                    </a:lnTo>
                    <a:lnTo>
                      <a:pt x="886" y="184"/>
                    </a:lnTo>
                    <a:lnTo>
                      <a:pt x="884" y="190"/>
                    </a:lnTo>
                    <a:lnTo>
                      <a:pt x="884" y="192"/>
                    </a:lnTo>
                    <a:lnTo>
                      <a:pt x="882" y="190"/>
                    </a:lnTo>
                    <a:lnTo>
                      <a:pt x="880" y="186"/>
                    </a:lnTo>
                    <a:lnTo>
                      <a:pt x="880" y="184"/>
                    </a:lnTo>
                    <a:lnTo>
                      <a:pt x="882" y="184"/>
                    </a:lnTo>
                    <a:lnTo>
                      <a:pt x="882" y="182"/>
                    </a:lnTo>
                    <a:lnTo>
                      <a:pt x="884" y="180"/>
                    </a:lnTo>
                    <a:lnTo>
                      <a:pt x="890" y="174"/>
                    </a:lnTo>
                    <a:lnTo>
                      <a:pt x="892" y="172"/>
                    </a:lnTo>
                    <a:lnTo>
                      <a:pt x="892" y="172"/>
                    </a:lnTo>
                    <a:lnTo>
                      <a:pt x="892" y="172"/>
                    </a:lnTo>
                    <a:lnTo>
                      <a:pt x="894" y="168"/>
                    </a:lnTo>
                    <a:lnTo>
                      <a:pt x="894" y="168"/>
                    </a:lnTo>
                    <a:lnTo>
                      <a:pt x="894" y="166"/>
                    </a:lnTo>
                    <a:lnTo>
                      <a:pt x="894" y="158"/>
                    </a:lnTo>
                    <a:lnTo>
                      <a:pt x="894" y="148"/>
                    </a:lnTo>
                    <a:lnTo>
                      <a:pt x="892" y="140"/>
                    </a:lnTo>
                    <a:lnTo>
                      <a:pt x="890" y="130"/>
                    </a:lnTo>
                    <a:lnTo>
                      <a:pt x="888" y="120"/>
                    </a:lnTo>
                    <a:lnTo>
                      <a:pt x="888" y="120"/>
                    </a:lnTo>
                    <a:lnTo>
                      <a:pt x="888" y="120"/>
                    </a:lnTo>
                    <a:lnTo>
                      <a:pt x="882" y="112"/>
                    </a:lnTo>
                    <a:lnTo>
                      <a:pt x="882" y="112"/>
                    </a:lnTo>
                    <a:lnTo>
                      <a:pt x="882" y="112"/>
                    </a:lnTo>
                    <a:lnTo>
                      <a:pt x="880" y="108"/>
                    </a:lnTo>
                    <a:lnTo>
                      <a:pt x="878" y="106"/>
                    </a:lnTo>
                    <a:lnTo>
                      <a:pt x="878" y="106"/>
                    </a:lnTo>
                    <a:lnTo>
                      <a:pt x="876" y="106"/>
                    </a:lnTo>
                    <a:lnTo>
                      <a:pt x="874" y="102"/>
                    </a:lnTo>
                    <a:lnTo>
                      <a:pt x="870" y="100"/>
                    </a:lnTo>
                    <a:lnTo>
                      <a:pt x="870" y="100"/>
                    </a:lnTo>
                    <a:lnTo>
                      <a:pt x="868" y="100"/>
                    </a:lnTo>
                    <a:lnTo>
                      <a:pt x="864" y="100"/>
                    </a:lnTo>
                    <a:lnTo>
                      <a:pt x="860" y="102"/>
                    </a:lnTo>
                    <a:lnTo>
                      <a:pt x="858" y="102"/>
                    </a:lnTo>
                    <a:lnTo>
                      <a:pt x="854" y="104"/>
                    </a:lnTo>
                    <a:lnTo>
                      <a:pt x="852" y="104"/>
                    </a:lnTo>
                    <a:lnTo>
                      <a:pt x="850" y="106"/>
                    </a:lnTo>
                    <a:lnTo>
                      <a:pt x="850" y="106"/>
                    </a:lnTo>
                    <a:lnTo>
                      <a:pt x="850" y="106"/>
                    </a:lnTo>
                    <a:lnTo>
                      <a:pt x="848" y="108"/>
                    </a:lnTo>
                    <a:lnTo>
                      <a:pt x="844" y="110"/>
                    </a:lnTo>
                    <a:lnTo>
                      <a:pt x="842" y="112"/>
                    </a:lnTo>
                    <a:lnTo>
                      <a:pt x="840" y="114"/>
                    </a:lnTo>
                    <a:lnTo>
                      <a:pt x="838" y="116"/>
                    </a:lnTo>
                    <a:lnTo>
                      <a:pt x="836" y="116"/>
                    </a:lnTo>
                    <a:lnTo>
                      <a:pt x="836" y="116"/>
                    </a:lnTo>
                    <a:lnTo>
                      <a:pt x="834" y="116"/>
                    </a:lnTo>
                    <a:lnTo>
                      <a:pt x="832" y="120"/>
                    </a:lnTo>
                    <a:lnTo>
                      <a:pt x="832" y="120"/>
                    </a:lnTo>
                    <a:lnTo>
                      <a:pt x="832" y="120"/>
                    </a:lnTo>
                    <a:lnTo>
                      <a:pt x="830" y="122"/>
                    </a:lnTo>
                    <a:lnTo>
                      <a:pt x="830" y="122"/>
                    </a:lnTo>
                    <a:lnTo>
                      <a:pt x="830" y="124"/>
                    </a:lnTo>
                    <a:lnTo>
                      <a:pt x="828" y="126"/>
                    </a:lnTo>
                    <a:lnTo>
                      <a:pt x="828" y="130"/>
                    </a:lnTo>
                    <a:lnTo>
                      <a:pt x="826" y="134"/>
                    </a:lnTo>
                    <a:lnTo>
                      <a:pt x="826" y="136"/>
                    </a:lnTo>
                    <a:lnTo>
                      <a:pt x="824" y="140"/>
                    </a:lnTo>
                    <a:lnTo>
                      <a:pt x="824" y="140"/>
                    </a:lnTo>
                    <a:lnTo>
                      <a:pt x="822" y="142"/>
                    </a:lnTo>
                    <a:lnTo>
                      <a:pt x="822" y="142"/>
                    </a:lnTo>
                    <a:lnTo>
                      <a:pt x="820" y="142"/>
                    </a:lnTo>
                    <a:lnTo>
                      <a:pt x="820" y="146"/>
                    </a:lnTo>
                    <a:lnTo>
                      <a:pt x="820" y="146"/>
                    </a:lnTo>
                    <a:lnTo>
                      <a:pt x="820" y="146"/>
                    </a:lnTo>
                    <a:lnTo>
                      <a:pt x="820" y="150"/>
                    </a:lnTo>
                    <a:lnTo>
                      <a:pt x="820" y="150"/>
                    </a:lnTo>
                    <a:lnTo>
                      <a:pt x="820" y="150"/>
                    </a:lnTo>
                    <a:lnTo>
                      <a:pt x="820" y="154"/>
                    </a:lnTo>
                    <a:lnTo>
                      <a:pt x="820" y="158"/>
                    </a:lnTo>
                    <a:lnTo>
                      <a:pt x="820" y="162"/>
                    </a:lnTo>
                    <a:lnTo>
                      <a:pt x="822" y="166"/>
                    </a:lnTo>
                    <a:lnTo>
                      <a:pt x="824" y="168"/>
                    </a:lnTo>
                    <a:lnTo>
                      <a:pt x="824" y="170"/>
                    </a:lnTo>
                    <a:lnTo>
                      <a:pt x="824" y="174"/>
                    </a:lnTo>
                    <a:lnTo>
                      <a:pt x="824" y="178"/>
                    </a:lnTo>
                    <a:lnTo>
                      <a:pt x="824" y="182"/>
                    </a:lnTo>
                    <a:lnTo>
                      <a:pt x="824" y="184"/>
                    </a:lnTo>
                    <a:lnTo>
                      <a:pt x="824" y="184"/>
                    </a:lnTo>
                    <a:lnTo>
                      <a:pt x="824" y="186"/>
                    </a:lnTo>
                    <a:lnTo>
                      <a:pt x="822" y="186"/>
                    </a:lnTo>
                    <a:lnTo>
                      <a:pt x="822" y="186"/>
                    </a:lnTo>
                    <a:lnTo>
                      <a:pt x="822" y="186"/>
                    </a:lnTo>
                    <a:lnTo>
                      <a:pt x="820" y="188"/>
                    </a:lnTo>
                    <a:lnTo>
                      <a:pt x="820" y="188"/>
                    </a:lnTo>
                    <a:lnTo>
                      <a:pt x="820" y="188"/>
                    </a:lnTo>
                    <a:lnTo>
                      <a:pt x="820" y="192"/>
                    </a:lnTo>
                    <a:lnTo>
                      <a:pt x="820" y="192"/>
                    </a:lnTo>
                    <a:lnTo>
                      <a:pt x="820" y="192"/>
                    </a:lnTo>
                    <a:lnTo>
                      <a:pt x="822" y="192"/>
                    </a:lnTo>
                    <a:lnTo>
                      <a:pt x="824" y="194"/>
                    </a:lnTo>
                    <a:lnTo>
                      <a:pt x="824" y="194"/>
                    </a:lnTo>
                    <a:lnTo>
                      <a:pt x="826" y="196"/>
                    </a:lnTo>
                    <a:lnTo>
                      <a:pt x="828" y="198"/>
                    </a:lnTo>
                    <a:lnTo>
                      <a:pt x="830" y="200"/>
                    </a:lnTo>
                    <a:lnTo>
                      <a:pt x="830" y="200"/>
                    </a:lnTo>
                    <a:lnTo>
                      <a:pt x="830" y="200"/>
                    </a:lnTo>
                    <a:lnTo>
                      <a:pt x="830" y="202"/>
                    </a:lnTo>
                    <a:lnTo>
                      <a:pt x="830" y="202"/>
                    </a:lnTo>
                    <a:lnTo>
                      <a:pt x="828" y="204"/>
                    </a:lnTo>
                    <a:lnTo>
                      <a:pt x="828" y="204"/>
                    </a:lnTo>
                    <a:lnTo>
                      <a:pt x="828" y="206"/>
                    </a:lnTo>
                    <a:lnTo>
                      <a:pt x="826" y="210"/>
                    </a:lnTo>
                    <a:lnTo>
                      <a:pt x="826" y="212"/>
                    </a:lnTo>
                    <a:lnTo>
                      <a:pt x="824" y="216"/>
                    </a:lnTo>
                    <a:lnTo>
                      <a:pt x="822" y="220"/>
                    </a:lnTo>
                    <a:lnTo>
                      <a:pt x="822" y="220"/>
                    </a:lnTo>
                    <a:lnTo>
                      <a:pt x="820" y="222"/>
                    </a:lnTo>
                    <a:lnTo>
                      <a:pt x="818" y="224"/>
                    </a:lnTo>
                    <a:lnTo>
                      <a:pt x="816" y="224"/>
                    </a:lnTo>
                    <a:lnTo>
                      <a:pt x="818" y="222"/>
                    </a:lnTo>
                    <a:lnTo>
                      <a:pt x="820" y="220"/>
                    </a:lnTo>
                    <a:lnTo>
                      <a:pt x="822" y="216"/>
                    </a:lnTo>
                    <a:lnTo>
                      <a:pt x="824" y="216"/>
                    </a:lnTo>
                    <a:lnTo>
                      <a:pt x="824" y="216"/>
                    </a:lnTo>
                    <a:lnTo>
                      <a:pt x="824" y="216"/>
                    </a:lnTo>
                    <a:lnTo>
                      <a:pt x="824" y="214"/>
                    </a:lnTo>
                    <a:lnTo>
                      <a:pt x="824" y="214"/>
                    </a:lnTo>
                    <a:lnTo>
                      <a:pt x="824" y="212"/>
                    </a:lnTo>
                    <a:lnTo>
                      <a:pt x="824" y="212"/>
                    </a:lnTo>
                    <a:lnTo>
                      <a:pt x="824" y="212"/>
                    </a:lnTo>
                    <a:lnTo>
                      <a:pt x="824" y="210"/>
                    </a:lnTo>
                    <a:lnTo>
                      <a:pt x="824" y="210"/>
                    </a:lnTo>
                    <a:lnTo>
                      <a:pt x="822" y="208"/>
                    </a:lnTo>
                    <a:lnTo>
                      <a:pt x="822" y="208"/>
                    </a:lnTo>
                    <a:lnTo>
                      <a:pt x="822" y="208"/>
                    </a:lnTo>
                    <a:lnTo>
                      <a:pt x="822" y="206"/>
                    </a:lnTo>
                    <a:lnTo>
                      <a:pt x="820" y="202"/>
                    </a:lnTo>
                    <a:lnTo>
                      <a:pt x="816" y="200"/>
                    </a:lnTo>
                    <a:lnTo>
                      <a:pt x="812" y="194"/>
                    </a:lnTo>
                    <a:lnTo>
                      <a:pt x="810" y="190"/>
                    </a:lnTo>
                    <a:lnTo>
                      <a:pt x="808" y="188"/>
                    </a:lnTo>
                    <a:lnTo>
                      <a:pt x="806" y="182"/>
                    </a:lnTo>
                    <a:lnTo>
                      <a:pt x="806" y="176"/>
                    </a:lnTo>
                    <a:lnTo>
                      <a:pt x="806" y="168"/>
                    </a:lnTo>
                    <a:lnTo>
                      <a:pt x="806" y="162"/>
                    </a:lnTo>
                    <a:lnTo>
                      <a:pt x="806" y="156"/>
                    </a:lnTo>
                    <a:lnTo>
                      <a:pt x="808" y="152"/>
                    </a:lnTo>
                    <a:lnTo>
                      <a:pt x="810" y="142"/>
                    </a:lnTo>
                    <a:lnTo>
                      <a:pt x="812" y="132"/>
                    </a:lnTo>
                    <a:lnTo>
                      <a:pt x="814" y="126"/>
                    </a:lnTo>
                    <a:lnTo>
                      <a:pt x="814" y="122"/>
                    </a:lnTo>
                    <a:lnTo>
                      <a:pt x="816" y="120"/>
                    </a:lnTo>
                    <a:lnTo>
                      <a:pt x="818" y="116"/>
                    </a:lnTo>
                    <a:lnTo>
                      <a:pt x="822" y="110"/>
                    </a:lnTo>
                    <a:lnTo>
                      <a:pt x="826" y="106"/>
                    </a:lnTo>
                    <a:lnTo>
                      <a:pt x="828" y="104"/>
                    </a:lnTo>
                    <a:lnTo>
                      <a:pt x="830" y="102"/>
                    </a:lnTo>
                    <a:lnTo>
                      <a:pt x="826" y="100"/>
                    </a:lnTo>
                    <a:lnTo>
                      <a:pt x="826" y="100"/>
                    </a:lnTo>
                    <a:lnTo>
                      <a:pt x="826" y="100"/>
                    </a:lnTo>
                    <a:lnTo>
                      <a:pt x="826" y="100"/>
                    </a:lnTo>
                    <a:lnTo>
                      <a:pt x="824" y="98"/>
                    </a:lnTo>
                    <a:lnTo>
                      <a:pt x="824" y="98"/>
                    </a:lnTo>
                    <a:lnTo>
                      <a:pt x="820" y="98"/>
                    </a:lnTo>
                    <a:lnTo>
                      <a:pt x="822" y="96"/>
                    </a:lnTo>
                    <a:lnTo>
                      <a:pt x="820" y="94"/>
                    </a:lnTo>
                    <a:lnTo>
                      <a:pt x="820" y="94"/>
                    </a:lnTo>
                    <a:lnTo>
                      <a:pt x="816" y="92"/>
                    </a:lnTo>
                    <a:lnTo>
                      <a:pt x="814" y="90"/>
                    </a:lnTo>
                    <a:lnTo>
                      <a:pt x="812" y="90"/>
                    </a:lnTo>
                    <a:lnTo>
                      <a:pt x="812" y="90"/>
                    </a:lnTo>
                    <a:lnTo>
                      <a:pt x="810" y="90"/>
                    </a:lnTo>
                    <a:lnTo>
                      <a:pt x="808" y="88"/>
                    </a:lnTo>
                    <a:lnTo>
                      <a:pt x="808" y="88"/>
                    </a:lnTo>
                    <a:lnTo>
                      <a:pt x="808" y="88"/>
                    </a:lnTo>
                    <a:lnTo>
                      <a:pt x="806" y="88"/>
                    </a:lnTo>
                    <a:lnTo>
                      <a:pt x="806" y="88"/>
                    </a:lnTo>
                    <a:lnTo>
                      <a:pt x="806" y="88"/>
                    </a:lnTo>
                    <a:lnTo>
                      <a:pt x="804" y="88"/>
                    </a:lnTo>
                    <a:lnTo>
                      <a:pt x="800" y="90"/>
                    </a:lnTo>
                    <a:lnTo>
                      <a:pt x="796" y="92"/>
                    </a:lnTo>
                    <a:lnTo>
                      <a:pt x="792" y="96"/>
                    </a:lnTo>
                    <a:lnTo>
                      <a:pt x="786" y="100"/>
                    </a:lnTo>
                    <a:lnTo>
                      <a:pt x="784" y="102"/>
                    </a:lnTo>
                    <a:lnTo>
                      <a:pt x="782" y="104"/>
                    </a:lnTo>
                    <a:lnTo>
                      <a:pt x="776" y="110"/>
                    </a:lnTo>
                    <a:lnTo>
                      <a:pt x="770" y="114"/>
                    </a:lnTo>
                    <a:lnTo>
                      <a:pt x="768" y="118"/>
                    </a:lnTo>
                    <a:lnTo>
                      <a:pt x="766" y="120"/>
                    </a:lnTo>
                    <a:lnTo>
                      <a:pt x="766" y="120"/>
                    </a:lnTo>
                    <a:lnTo>
                      <a:pt x="766" y="120"/>
                    </a:lnTo>
                    <a:lnTo>
                      <a:pt x="766" y="124"/>
                    </a:lnTo>
                    <a:lnTo>
                      <a:pt x="764" y="126"/>
                    </a:lnTo>
                    <a:lnTo>
                      <a:pt x="762" y="130"/>
                    </a:lnTo>
                    <a:lnTo>
                      <a:pt x="760" y="132"/>
                    </a:lnTo>
                    <a:lnTo>
                      <a:pt x="758" y="138"/>
                    </a:lnTo>
                    <a:lnTo>
                      <a:pt x="758" y="138"/>
                    </a:lnTo>
                    <a:lnTo>
                      <a:pt x="756" y="138"/>
                    </a:lnTo>
                    <a:lnTo>
                      <a:pt x="756" y="144"/>
                    </a:lnTo>
                    <a:lnTo>
                      <a:pt x="756" y="146"/>
                    </a:lnTo>
                    <a:lnTo>
                      <a:pt x="756" y="150"/>
                    </a:lnTo>
                    <a:lnTo>
                      <a:pt x="756" y="152"/>
                    </a:lnTo>
                    <a:lnTo>
                      <a:pt x="754" y="154"/>
                    </a:lnTo>
                    <a:lnTo>
                      <a:pt x="754" y="156"/>
                    </a:lnTo>
                    <a:lnTo>
                      <a:pt x="752" y="158"/>
                    </a:lnTo>
                    <a:lnTo>
                      <a:pt x="752" y="160"/>
                    </a:lnTo>
                    <a:lnTo>
                      <a:pt x="752" y="160"/>
                    </a:lnTo>
                    <a:lnTo>
                      <a:pt x="750" y="162"/>
                    </a:lnTo>
                    <a:lnTo>
                      <a:pt x="750" y="168"/>
                    </a:lnTo>
                    <a:lnTo>
                      <a:pt x="750" y="176"/>
                    </a:lnTo>
                    <a:lnTo>
                      <a:pt x="748" y="188"/>
                    </a:lnTo>
                    <a:lnTo>
                      <a:pt x="748" y="196"/>
                    </a:lnTo>
                    <a:lnTo>
                      <a:pt x="748" y="202"/>
                    </a:lnTo>
                    <a:lnTo>
                      <a:pt x="750" y="208"/>
                    </a:lnTo>
                    <a:lnTo>
                      <a:pt x="750" y="216"/>
                    </a:lnTo>
                    <a:lnTo>
                      <a:pt x="752" y="218"/>
                    </a:lnTo>
                    <a:lnTo>
                      <a:pt x="752" y="222"/>
                    </a:lnTo>
                    <a:lnTo>
                      <a:pt x="752" y="224"/>
                    </a:lnTo>
                    <a:lnTo>
                      <a:pt x="752" y="224"/>
                    </a:lnTo>
                    <a:lnTo>
                      <a:pt x="752" y="224"/>
                    </a:lnTo>
                    <a:lnTo>
                      <a:pt x="754" y="226"/>
                    </a:lnTo>
                    <a:lnTo>
                      <a:pt x="754" y="228"/>
                    </a:lnTo>
                    <a:lnTo>
                      <a:pt x="756" y="228"/>
                    </a:lnTo>
                    <a:lnTo>
                      <a:pt x="756" y="230"/>
                    </a:lnTo>
                    <a:lnTo>
                      <a:pt x="756" y="232"/>
                    </a:lnTo>
                    <a:lnTo>
                      <a:pt x="758" y="234"/>
                    </a:lnTo>
                    <a:lnTo>
                      <a:pt x="758" y="236"/>
                    </a:lnTo>
                    <a:lnTo>
                      <a:pt x="760" y="238"/>
                    </a:lnTo>
                    <a:lnTo>
                      <a:pt x="760" y="240"/>
                    </a:lnTo>
                    <a:lnTo>
                      <a:pt x="762" y="242"/>
                    </a:lnTo>
                    <a:lnTo>
                      <a:pt x="762" y="244"/>
                    </a:lnTo>
                    <a:lnTo>
                      <a:pt x="762" y="246"/>
                    </a:lnTo>
                    <a:lnTo>
                      <a:pt x="762" y="248"/>
                    </a:lnTo>
                    <a:lnTo>
                      <a:pt x="764" y="250"/>
                    </a:lnTo>
                    <a:lnTo>
                      <a:pt x="764" y="252"/>
                    </a:lnTo>
                    <a:lnTo>
                      <a:pt x="764" y="254"/>
                    </a:lnTo>
                    <a:lnTo>
                      <a:pt x="764" y="258"/>
                    </a:lnTo>
                    <a:lnTo>
                      <a:pt x="764" y="262"/>
                    </a:lnTo>
                    <a:lnTo>
                      <a:pt x="764" y="262"/>
                    </a:lnTo>
                    <a:lnTo>
                      <a:pt x="766" y="264"/>
                    </a:lnTo>
                    <a:lnTo>
                      <a:pt x="768" y="264"/>
                    </a:lnTo>
                    <a:lnTo>
                      <a:pt x="768" y="264"/>
                    </a:lnTo>
                    <a:lnTo>
                      <a:pt x="770" y="264"/>
                    </a:lnTo>
                    <a:lnTo>
                      <a:pt x="776" y="264"/>
                    </a:lnTo>
                    <a:lnTo>
                      <a:pt x="780" y="262"/>
                    </a:lnTo>
                    <a:lnTo>
                      <a:pt x="786" y="262"/>
                    </a:lnTo>
                    <a:lnTo>
                      <a:pt x="792" y="262"/>
                    </a:lnTo>
                    <a:lnTo>
                      <a:pt x="796" y="262"/>
                    </a:lnTo>
                    <a:lnTo>
                      <a:pt x="796" y="262"/>
                    </a:lnTo>
                    <a:lnTo>
                      <a:pt x="798" y="264"/>
                    </a:lnTo>
                    <a:lnTo>
                      <a:pt x="796" y="264"/>
                    </a:lnTo>
                    <a:lnTo>
                      <a:pt x="794" y="268"/>
                    </a:lnTo>
                    <a:lnTo>
                      <a:pt x="794" y="268"/>
                    </a:lnTo>
                    <a:lnTo>
                      <a:pt x="794" y="268"/>
                    </a:lnTo>
                    <a:lnTo>
                      <a:pt x="794" y="270"/>
                    </a:lnTo>
                    <a:lnTo>
                      <a:pt x="794" y="270"/>
                    </a:lnTo>
                    <a:lnTo>
                      <a:pt x="794" y="272"/>
                    </a:lnTo>
                    <a:lnTo>
                      <a:pt x="794" y="272"/>
                    </a:lnTo>
                    <a:lnTo>
                      <a:pt x="794" y="272"/>
                    </a:lnTo>
                    <a:lnTo>
                      <a:pt x="794" y="274"/>
                    </a:lnTo>
                    <a:lnTo>
                      <a:pt x="796" y="276"/>
                    </a:lnTo>
                    <a:lnTo>
                      <a:pt x="796" y="276"/>
                    </a:lnTo>
                    <a:lnTo>
                      <a:pt x="796" y="276"/>
                    </a:lnTo>
                    <a:lnTo>
                      <a:pt x="798" y="276"/>
                    </a:lnTo>
                    <a:lnTo>
                      <a:pt x="798" y="276"/>
                    </a:lnTo>
                    <a:lnTo>
                      <a:pt x="798" y="278"/>
                    </a:lnTo>
                    <a:lnTo>
                      <a:pt x="800" y="278"/>
                    </a:lnTo>
                    <a:lnTo>
                      <a:pt x="800" y="278"/>
                    </a:lnTo>
                    <a:lnTo>
                      <a:pt x="802" y="278"/>
                    </a:lnTo>
                    <a:lnTo>
                      <a:pt x="808" y="278"/>
                    </a:lnTo>
                    <a:lnTo>
                      <a:pt x="814" y="276"/>
                    </a:lnTo>
                    <a:lnTo>
                      <a:pt x="820" y="276"/>
                    </a:lnTo>
                    <a:lnTo>
                      <a:pt x="822" y="276"/>
                    </a:lnTo>
                    <a:lnTo>
                      <a:pt x="822" y="276"/>
                    </a:lnTo>
                    <a:lnTo>
                      <a:pt x="822" y="276"/>
                    </a:lnTo>
                    <a:lnTo>
                      <a:pt x="820" y="278"/>
                    </a:lnTo>
                    <a:lnTo>
                      <a:pt x="820" y="278"/>
                    </a:lnTo>
                    <a:lnTo>
                      <a:pt x="820" y="280"/>
                    </a:lnTo>
                    <a:lnTo>
                      <a:pt x="818" y="282"/>
                    </a:lnTo>
                    <a:lnTo>
                      <a:pt x="818" y="282"/>
                    </a:lnTo>
                    <a:lnTo>
                      <a:pt x="818" y="284"/>
                    </a:lnTo>
                    <a:lnTo>
                      <a:pt x="818" y="288"/>
                    </a:lnTo>
                    <a:lnTo>
                      <a:pt x="820" y="292"/>
                    </a:lnTo>
                    <a:lnTo>
                      <a:pt x="820" y="298"/>
                    </a:lnTo>
                    <a:lnTo>
                      <a:pt x="822" y="302"/>
                    </a:lnTo>
                    <a:lnTo>
                      <a:pt x="822" y="306"/>
                    </a:lnTo>
                    <a:lnTo>
                      <a:pt x="822" y="310"/>
                    </a:lnTo>
                    <a:lnTo>
                      <a:pt x="820" y="314"/>
                    </a:lnTo>
                    <a:lnTo>
                      <a:pt x="818" y="318"/>
                    </a:lnTo>
                    <a:lnTo>
                      <a:pt x="816" y="326"/>
                    </a:lnTo>
                    <a:lnTo>
                      <a:pt x="812" y="334"/>
                    </a:lnTo>
                    <a:lnTo>
                      <a:pt x="810" y="338"/>
                    </a:lnTo>
                    <a:lnTo>
                      <a:pt x="810" y="342"/>
                    </a:lnTo>
                    <a:lnTo>
                      <a:pt x="808" y="350"/>
                    </a:lnTo>
                    <a:lnTo>
                      <a:pt x="806" y="358"/>
                    </a:lnTo>
                    <a:lnTo>
                      <a:pt x="802" y="364"/>
                    </a:lnTo>
                    <a:lnTo>
                      <a:pt x="802" y="368"/>
                    </a:lnTo>
                    <a:lnTo>
                      <a:pt x="800" y="370"/>
                    </a:lnTo>
                    <a:lnTo>
                      <a:pt x="798" y="374"/>
                    </a:lnTo>
                    <a:lnTo>
                      <a:pt x="796" y="376"/>
                    </a:lnTo>
                    <a:lnTo>
                      <a:pt x="794" y="380"/>
                    </a:lnTo>
                    <a:lnTo>
                      <a:pt x="792" y="382"/>
                    </a:lnTo>
                    <a:lnTo>
                      <a:pt x="790" y="384"/>
                    </a:lnTo>
                    <a:lnTo>
                      <a:pt x="788" y="386"/>
                    </a:lnTo>
                    <a:lnTo>
                      <a:pt x="788" y="386"/>
                    </a:lnTo>
                    <a:lnTo>
                      <a:pt x="788" y="386"/>
                    </a:lnTo>
                    <a:lnTo>
                      <a:pt x="788" y="384"/>
                    </a:lnTo>
                    <a:lnTo>
                      <a:pt x="786" y="382"/>
                    </a:lnTo>
                    <a:lnTo>
                      <a:pt x="784" y="378"/>
                    </a:lnTo>
                    <a:lnTo>
                      <a:pt x="784" y="374"/>
                    </a:lnTo>
                    <a:lnTo>
                      <a:pt x="782" y="366"/>
                    </a:lnTo>
                    <a:lnTo>
                      <a:pt x="780" y="360"/>
                    </a:lnTo>
                    <a:lnTo>
                      <a:pt x="780" y="356"/>
                    </a:lnTo>
                    <a:lnTo>
                      <a:pt x="780" y="354"/>
                    </a:lnTo>
                    <a:lnTo>
                      <a:pt x="780" y="354"/>
                    </a:lnTo>
                    <a:lnTo>
                      <a:pt x="782" y="350"/>
                    </a:lnTo>
                    <a:lnTo>
                      <a:pt x="782" y="348"/>
                    </a:lnTo>
                    <a:lnTo>
                      <a:pt x="784" y="344"/>
                    </a:lnTo>
                    <a:lnTo>
                      <a:pt x="784" y="340"/>
                    </a:lnTo>
                    <a:lnTo>
                      <a:pt x="786" y="338"/>
                    </a:lnTo>
                    <a:lnTo>
                      <a:pt x="786" y="334"/>
                    </a:lnTo>
                    <a:lnTo>
                      <a:pt x="786" y="334"/>
                    </a:lnTo>
                    <a:lnTo>
                      <a:pt x="786" y="332"/>
                    </a:lnTo>
                    <a:lnTo>
                      <a:pt x="786" y="330"/>
                    </a:lnTo>
                    <a:lnTo>
                      <a:pt x="786" y="330"/>
                    </a:lnTo>
                    <a:lnTo>
                      <a:pt x="786" y="328"/>
                    </a:lnTo>
                    <a:lnTo>
                      <a:pt x="786" y="326"/>
                    </a:lnTo>
                    <a:lnTo>
                      <a:pt x="784" y="322"/>
                    </a:lnTo>
                    <a:lnTo>
                      <a:pt x="782" y="316"/>
                    </a:lnTo>
                    <a:lnTo>
                      <a:pt x="780" y="312"/>
                    </a:lnTo>
                    <a:lnTo>
                      <a:pt x="776" y="308"/>
                    </a:lnTo>
                    <a:lnTo>
                      <a:pt x="774" y="306"/>
                    </a:lnTo>
                    <a:lnTo>
                      <a:pt x="774" y="306"/>
                    </a:lnTo>
                    <a:lnTo>
                      <a:pt x="774" y="306"/>
                    </a:lnTo>
                    <a:lnTo>
                      <a:pt x="772" y="304"/>
                    </a:lnTo>
                    <a:lnTo>
                      <a:pt x="772" y="304"/>
                    </a:lnTo>
                    <a:lnTo>
                      <a:pt x="770" y="302"/>
                    </a:lnTo>
                    <a:lnTo>
                      <a:pt x="770" y="302"/>
                    </a:lnTo>
                    <a:lnTo>
                      <a:pt x="770" y="302"/>
                    </a:lnTo>
                    <a:lnTo>
                      <a:pt x="770" y="302"/>
                    </a:lnTo>
                    <a:lnTo>
                      <a:pt x="768" y="302"/>
                    </a:lnTo>
                    <a:lnTo>
                      <a:pt x="768" y="302"/>
                    </a:lnTo>
                    <a:lnTo>
                      <a:pt x="766" y="302"/>
                    </a:lnTo>
                    <a:lnTo>
                      <a:pt x="766" y="302"/>
                    </a:lnTo>
                    <a:lnTo>
                      <a:pt x="766" y="302"/>
                    </a:lnTo>
                    <a:lnTo>
                      <a:pt x="764" y="302"/>
                    </a:lnTo>
                    <a:lnTo>
                      <a:pt x="764" y="304"/>
                    </a:lnTo>
                    <a:lnTo>
                      <a:pt x="762" y="304"/>
                    </a:lnTo>
                    <a:lnTo>
                      <a:pt x="762" y="304"/>
                    </a:lnTo>
                    <a:lnTo>
                      <a:pt x="762" y="306"/>
                    </a:lnTo>
                    <a:lnTo>
                      <a:pt x="762" y="306"/>
                    </a:lnTo>
                    <a:lnTo>
                      <a:pt x="760" y="310"/>
                    </a:lnTo>
                    <a:lnTo>
                      <a:pt x="758" y="316"/>
                    </a:lnTo>
                    <a:lnTo>
                      <a:pt x="756" y="320"/>
                    </a:lnTo>
                    <a:lnTo>
                      <a:pt x="754" y="324"/>
                    </a:lnTo>
                    <a:lnTo>
                      <a:pt x="752" y="328"/>
                    </a:lnTo>
                    <a:lnTo>
                      <a:pt x="750" y="330"/>
                    </a:lnTo>
                    <a:lnTo>
                      <a:pt x="750" y="330"/>
                    </a:lnTo>
                    <a:lnTo>
                      <a:pt x="748" y="336"/>
                    </a:lnTo>
                    <a:lnTo>
                      <a:pt x="746" y="340"/>
                    </a:lnTo>
                    <a:lnTo>
                      <a:pt x="746" y="336"/>
                    </a:lnTo>
                    <a:lnTo>
                      <a:pt x="746" y="330"/>
                    </a:lnTo>
                    <a:lnTo>
                      <a:pt x="744" y="326"/>
                    </a:lnTo>
                    <a:lnTo>
                      <a:pt x="744" y="320"/>
                    </a:lnTo>
                    <a:lnTo>
                      <a:pt x="742" y="316"/>
                    </a:lnTo>
                    <a:lnTo>
                      <a:pt x="740" y="312"/>
                    </a:lnTo>
                    <a:lnTo>
                      <a:pt x="740" y="312"/>
                    </a:lnTo>
                    <a:lnTo>
                      <a:pt x="740" y="312"/>
                    </a:lnTo>
                    <a:lnTo>
                      <a:pt x="738" y="308"/>
                    </a:lnTo>
                    <a:lnTo>
                      <a:pt x="738" y="308"/>
                    </a:lnTo>
                    <a:lnTo>
                      <a:pt x="738" y="308"/>
                    </a:lnTo>
                    <a:lnTo>
                      <a:pt x="736" y="304"/>
                    </a:lnTo>
                    <a:lnTo>
                      <a:pt x="736" y="304"/>
                    </a:lnTo>
                    <a:lnTo>
                      <a:pt x="736" y="304"/>
                    </a:lnTo>
                    <a:lnTo>
                      <a:pt x="730" y="300"/>
                    </a:lnTo>
                    <a:lnTo>
                      <a:pt x="724" y="296"/>
                    </a:lnTo>
                    <a:lnTo>
                      <a:pt x="720" y="294"/>
                    </a:lnTo>
                    <a:lnTo>
                      <a:pt x="720" y="292"/>
                    </a:lnTo>
                    <a:lnTo>
                      <a:pt x="718" y="292"/>
                    </a:lnTo>
                    <a:lnTo>
                      <a:pt x="714" y="290"/>
                    </a:lnTo>
                    <a:lnTo>
                      <a:pt x="712" y="288"/>
                    </a:lnTo>
                    <a:lnTo>
                      <a:pt x="710" y="286"/>
                    </a:lnTo>
                    <a:lnTo>
                      <a:pt x="710" y="286"/>
                    </a:lnTo>
                    <a:lnTo>
                      <a:pt x="710" y="284"/>
                    </a:lnTo>
                    <a:lnTo>
                      <a:pt x="710" y="284"/>
                    </a:lnTo>
                    <a:lnTo>
                      <a:pt x="710" y="280"/>
                    </a:lnTo>
                    <a:lnTo>
                      <a:pt x="710" y="276"/>
                    </a:lnTo>
                    <a:lnTo>
                      <a:pt x="712" y="272"/>
                    </a:lnTo>
                    <a:lnTo>
                      <a:pt x="714" y="266"/>
                    </a:lnTo>
                    <a:lnTo>
                      <a:pt x="716" y="262"/>
                    </a:lnTo>
                    <a:lnTo>
                      <a:pt x="718" y="256"/>
                    </a:lnTo>
                    <a:lnTo>
                      <a:pt x="720" y="252"/>
                    </a:lnTo>
                    <a:lnTo>
                      <a:pt x="720" y="246"/>
                    </a:lnTo>
                    <a:lnTo>
                      <a:pt x="720" y="238"/>
                    </a:lnTo>
                    <a:lnTo>
                      <a:pt x="720" y="234"/>
                    </a:lnTo>
                    <a:lnTo>
                      <a:pt x="720" y="230"/>
                    </a:lnTo>
                    <a:lnTo>
                      <a:pt x="720" y="226"/>
                    </a:lnTo>
                    <a:lnTo>
                      <a:pt x="718" y="222"/>
                    </a:lnTo>
                    <a:lnTo>
                      <a:pt x="716" y="220"/>
                    </a:lnTo>
                    <a:lnTo>
                      <a:pt x="716" y="220"/>
                    </a:lnTo>
                    <a:lnTo>
                      <a:pt x="716" y="218"/>
                    </a:lnTo>
                    <a:lnTo>
                      <a:pt x="714" y="216"/>
                    </a:lnTo>
                    <a:lnTo>
                      <a:pt x="710" y="212"/>
                    </a:lnTo>
                    <a:lnTo>
                      <a:pt x="706" y="208"/>
                    </a:lnTo>
                    <a:lnTo>
                      <a:pt x="700" y="204"/>
                    </a:lnTo>
                    <a:lnTo>
                      <a:pt x="696" y="200"/>
                    </a:lnTo>
                    <a:lnTo>
                      <a:pt x="690" y="196"/>
                    </a:lnTo>
                    <a:lnTo>
                      <a:pt x="684" y="194"/>
                    </a:lnTo>
                    <a:lnTo>
                      <a:pt x="680" y="192"/>
                    </a:lnTo>
                    <a:lnTo>
                      <a:pt x="680" y="192"/>
                    </a:lnTo>
                    <a:lnTo>
                      <a:pt x="680" y="192"/>
                    </a:lnTo>
                    <a:lnTo>
                      <a:pt x="676" y="190"/>
                    </a:lnTo>
                    <a:lnTo>
                      <a:pt x="676" y="190"/>
                    </a:lnTo>
                    <a:lnTo>
                      <a:pt x="676" y="190"/>
                    </a:lnTo>
                    <a:lnTo>
                      <a:pt x="672" y="190"/>
                    </a:lnTo>
                    <a:lnTo>
                      <a:pt x="672" y="190"/>
                    </a:lnTo>
                    <a:lnTo>
                      <a:pt x="672" y="190"/>
                    </a:lnTo>
                    <a:lnTo>
                      <a:pt x="670" y="192"/>
                    </a:lnTo>
                    <a:lnTo>
                      <a:pt x="670" y="192"/>
                    </a:lnTo>
                    <a:lnTo>
                      <a:pt x="668" y="192"/>
                    </a:lnTo>
                    <a:lnTo>
                      <a:pt x="666" y="192"/>
                    </a:lnTo>
                    <a:lnTo>
                      <a:pt x="666" y="192"/>
                    </a:lnTo>
                    <a:lnTo>
                      <a:pt x="666" y="194"/>
                    </a:lnTo>
                    <a:lnTo>
                      <a:pt x="664" y="196"/>
                    </a:lnTo>
                    <a:lnTo>
                      <a:pt x="664" y="196"/>
                    </a:lnTo>
                    <a:lnTo>
                      <a:pt x="664" y="196"/>
                    </a:lnTo>
                    <a:lnTo>
                      <a:pt x="662" y="198"/>
                    </a:lnTo>
                    <a:lnTo>
                      <a:pt x="660" y="202"/>
                    </a:lnTo>
                    <a:lnTo>
                      <a:pt x="658" y="208"/>
                    </a:lnTo>
                    <a:lnTo>
                      <a:pt x="658" y="212"/>
                    </a:lnTo>
                    <a:lnTo>
                      <a:pt x="656" y="216"/>
                    </a:lnTo>
                    <a:lnTo>
                      <a:pt x="656" y="224"/>
                    </a:lnTo>
                    <a:lnTo>
                      <a:pt x="654" y="232"/>
                    </a:lnTo>
                    <a:lnTo>
                      <a:pt x="654" y="236"/>
                    </a:lnTo>
                    <a:lnTo>
                      <a:pt x="654" y="240"/>
                    </a:lnTo>
                    <a:lnTo>
                      <a:pt x="654" y="248"/>
                    </a:lnTo>
                    <a:lnTo>
                      <a:pt x="656" y="256"/>
                    </a:lnTo>
                    <a:lnTo>
                      <a:pt x="656" y="264"/>
                    </a:lnTo>
                    <a:lnTo>
                      <a:pt x="658" y="266"/>
                    </a:lnTo>
                    <a:lnTo>
                      <a:pt x="658" y="270"/>
                    </a:lnTo>
                    <a:lnTo>
                      <a:pt x="658" y="270"/>
                    </a:lnTo>
                    <a:lnTo>
                      <a:pt x="658" y="270"/>
                    </a:lnTo>
                    <a:lnTo>
                      <a:pt x="660" y="272"/>
                    </a:lnTo>
                    <a:lnTo>
                      <a:pt x="660" y="272"/>
                    </a:lnTo>
                    <a:lnTo>
                      <a:pt x="660" y="274"/>
                    </a:lnTo>
                    <a:lnTo>
                      <a:pt x="662" y="276"/>
                    </a:lnTo>
                    <a:lnTo>
                      <a:pt x="662" y="276"/>
                    </a:lnTo>
                    <a:lnTo>
                      <a:pt x="662" y="276"/>
                    </a:lnTo>
                    <a:lnTo>
                      <a:pt x="666" y="278"/>
                    </a:lnTo>
                    <a:lnTo>
                      <a:pt x="672" y="282"/>
                    </a:lnTo>
                    <a:lnTo>
                      <a:pt x="676" y="286"/>
                    </a:lnTo>
                    <a:lnTo>
                      <a:pt x="680" y="288"/>
                    </a:lnTo>
                    <a:lnTo>
                      <a:pt x="684" y="290"/>
                    </a:lnTo>
                    <a:lnTo>
                      <a:pt x="690" y="294"/>
                    </a:lnTo>
                    <a:lnTo>
                      <a:pt x="694" y="296"/>
                    </a:lnTo>
                    <a:lnTo>
                      <a:pt x="696" y="298"/>
                    </a:lnTo>
                    <a:lnTo>
                      <a:pt x="698" y="300"/>
                    </a:lnTo>
                    <a:lnTo>
                      <a:pt x="700" y="302"/>
                    </a:lnTo>
                    <a:lnTo>
                      <a:pt x="700" y="306"/>
                    </a:lnTo>
                    <a:lnTo>
                      <a:pt x="700" y="306"/>
                    </a:lnTo>
                    <a:lnTo>
                      <a:pt x="700" y="308"/>
                    </a:lnTo>
                    <a:lnTo>
                      <a:pt x="700" y="312"/>
                    </a:lnTo>
                    <a:lnTo>
                      <a:pt x="700" y="316"/>
                    </a:lnTo>
                    <a:lnTo>
                      <a:pt x="700" y="322"/>
                    </a:lnTo>
                    <a:lnTo>
                      <a:pt x="698" y="326"/>
                    </a:lnTo>
                    <a:lnTo>
                      <a:pt x="696" y="328"/>
                    </a:lnTo>
                    <a:lnTo>
                      <a:pt x="696" y="332"/>
                    </a:lnTo>
                    <a:lnTo>
                      <a:pt x="692" y="334"/>
                    </a:lnTo>
                    <a:lnTo>
                      <a:pt x="690" y="338"/>
                    </a:lnTo>
                    <a:lnTo>
                      <a:pt x="686" y="340"/>
                    </a:lnTo>
                    <a:lnTo>
                      <a:pt x="684" y="344"/>
                    </a:lnTo>
                    <a:lnTo>
                      <a:pt x="680" y="346"/>
                    </a:lnTo>
                    <a:lnTo>
                      <a:pt x="676" y="348"/>
                    </a:lnTo>
                    <a:lnTo>
                      <a:pt x="674" y="352"/>
                    </a:lnTo>
                    <a:lnTo>
                      <a:pt x="672" y="354"/>
                    </a:lnTo>
                    <a:lnTo>
                      <a:pt x="672" y="356"/>
                    </a:lnTo>
                    <a:lnTo>
                      <a:pt x="672" y="356"/>
                    </a:lnTo>
                    <a:lnTo>
                      <a:pt x="672" y="356"/>
                    </a:lnTo>
                    <a:lnTo>
                      <a:pt x="670" y="358"/>
                    </a:lnTo>
                    <a:lnTo>
                      <a:pt x="670" y="358"/>
                    </a:lnTo>
                    <a:lnTo>
                      <a:pt x="670" y="358"/>
                    </a:lnTo>
                    <a:lnTo>
                      <a:pt x="670" y="360"/>
                    </a:lnTo>
                    <a:lnTo>
                      <a:pt x="670" y="362"/>
                    </a:lnTo>
                    <a:lnTo>
                      <a:pt x="670" y="364"/>
                    </a:lnTo>
                    <a:lnTo>
                      <a:pt x="670" y="364"/>
                    </a:lnTo>
                    <a:lnTo>
                      <a:pt x="670" y="368"/>
                    </a:lnTo>
                    <a:lnTo>
                      <a:pt x="670" y="370"/>
                    </a:lnTo>
                    <a:lnTo>
                      <a:pt x="670" y="376"/>
                    </a:lnTo>
                    <a:lnTo>
                      <a:pt x="670" y="378"/>
                    </a:lnTo>
                    <a:lnTo>
                      <a:pt x="670" y="380"/>
                    </a:lnTo>
                    <a:lnTo>
                      <a:pt x="670" y="380"/>
                    </a:lnTo>
                    <a:lnTo>
                      <a:pt x="670" y="380"/>
                    </a:lnTo>
                    <a:lnTo>
                      <a:pt x="670" y="380"/>
                    </a:lnTo>
                    <a:lnTo>
                      <a:pt x="668" y="380"/>
                    </a:lnTo>
                    <a:lnTo>
                      <a:pt x="666" y="380"/>
                    </a:lnTo>
                    <a:lnTo>
                      <a:pt x="664" y="380"/>
                    </a:lnTo>
                    <a:lnTo>
                      <a:pt x="664" y="378"/>
                    </a:lnTo>
                    <a:lnTo>
                      <a:pt x="662" y="378"/>
                    </a:lnTo>
                    <a:lnTo>
                      <a:pt x="662" y="376"/>
                    </a:lnTo>
                    <a:lnTo>
                      <a:pt x="662" y="376"/>
                    </a:lnTo>
                    <a:lnTo>
                      <a:pt x="662" y="374"/>
                    </a:lnTo>
                    <a:lnTo>
                      <a:pt x="662" y="370"/>
                    </a:lnTo>
                    <a:lnTo>
                      <a:pt x="662" y="368"/>
                    </a:lnTo>
                    <a:lnTo>
                      <a:pt x="662" y="364"/>
                    </a:lnTo>
                    <a:lnTo>
                      <a:pt x="662" y="360"/>
                    </a:lnTo>
                    <a:lnTo>
                      <a:pt x="662" y="356"/>
                    </a:lnTo>
                    <a:lnTo>
                      <a:pt x="662" y="356"/>
                    </a:lnTo>
                    <a:lnTo>
                      <a:pt x="662" y="356"/>
                    </a:lnTo>
                    <a:lnTo>
                      <a:pt x="662" y="354"/>
                    </a:lnTo>
                    <a:lnTo>
                      <a:pt x="662" y="354"/>
                    </a:lnTo>
                    <a:lnTo>
                      <a:pt x="662" y="352"/>
                    </a:lnTo>
                    <a:lnTo>
                      <a:pt x="660" y="350"/>
                    </a:lnTo>
                    <a:lnTo>
                      <a:pt x="658" y="346"/>
                    </a:lnTo>
                    <a:lnTo>
                      <a:pt x="656" y="344"/>
                    </a:lnTo>
                    <a:lnTo>
                      <a:pt x="652" y="340"/>
                    </a:lnTo>
                    <a:lnTo>
                      <a:pt x="650" y="338"/>
                    </a:lnTo>
                    <a:lnTo>
                      <a:pt x="648" y="334"/>
                    </a:lnTo>
                    <a:lnTo>
                      <a:pt x="644" y="332"/>
                    </a:lnTo>
                    <a:lnTo>
                      <a:pt x="642" y="332"/>
                    </a:lnTo>
                    <a:lnTo>
                      <a:pt x="642" y="332"/>
                    </a:lnTo>
                    <a:lnTo>
                      <a:pt x="640" y="330"/>
                    </a:lnTo>
                    <a:lnTo>
                      <a:pt x="636" y="330"/>
                    </a:lnTo>
                    <a:lnTo>
                      <a:pt x="636" y="330"/>
                    </a:lnTo>
                    <a:lnTo>
                      <a:pt x="636" y="328"/>
                    </a:lnTo>
                    <a:lnTo>
                      <a:pt x="632" y="328"/>
                    </a:lnTo>
                    <a:lnTo>
                      <a:pt x="630" y="328"/>
                    </a:lnTo>
                    <a:lnTo>
                      <a:pt x="630" y="328"/>
                    </a:lnTo>
                    <a:lnTo>
                      <a:pt x="630" y="328"/>
                    </a:lnTo>
                    <a:lnTo>
                      <a:pt x="628" y="330"/>
                    </a:lnTo>
                    <a:lnTo>
                      <a:pt x="628" y="330"/>
                    </a:lnTo>
                    <a:lnTo>
                      <a:pt x="626" y="330"/>
                    </a:lnTo>
                    <a:lnTo>
                      <a:pt x="624" y="330"/>
                    </a:lnTo>
                    <a:lnTo>
                      <a:pt x="624" y="330"/>
                    </a:lnTo>
                    <a:lnTo>
                      <a:pt x="624" y="330"/>
                    </a:lnTo>
                    <a:lnTo>
                      <a:pt x="622" y="332"/>
                    </a:lnTo>
                    <a:lnTo>
                      <a:pt x="622" y="332"/>
                    </a:lnTo>
                    <a:lnTo>
                      <a:pt x="622" y="332"/>
                    </a:lnTo>
                    <a:lnTo>
                      <a:pt x="620" y="334"/>
                    </a:lnTo>
                    <a:lnTo>
                      <a:pt x="620" y="334"/>
                    </a:lnTo>
                    <a:lnTo>
                      <a:pt x="620" y="336"/>
                    </a:lnTo>
                    <a:lnTo>
                      <a:pt x="620" y="338"/>
                    </a:lnTo>
                    <a:lnTo>
                      <a:pt x="620" y="338"/>
                    </a:lnTo>
                    <a:lnTo>
                      <a:pt x="620" y="338"/>
                    </a:lnTo>
                    <a:lnTo>
                      <a:pt x="622" y="342"/>
                    </a:lnTo>
                    <a:lnTo>
                      <a:pt x="622" y="346"/>
                    </a:lnTo>
                    <a:lnTo>
                      <a:pt x="624" y="350"/>
                    </a:lnTo>
                    <a:lnTo>
                      <a:pt x="626" y="354"/>
                    </a:lnTo>
                    <a:lnTo>
                      <a:pt x="626" y="358"/>
                    </a:lnTo>
                    <a:lnTo>
                      <a:pt x="626" y="360"/>
                    </a:lnTo>
                    <a:lnTo>
                      <a:pt x="624" y="360"/>
                    </a:lnTo>
                    <a:lnTo>
                      <a:pt x="624" y="360"/>
                    </a:lnTo>
                    <a:lnTo>
                      <a:pt x="624" y="362"/>
                    </a:lnTo>
                    <a:lnTo>
                      <a:pt x="624" y="362"/>
                    </a:lnTo>
                    <a:lnTo>
                      <a:pt x="622" y="362"/>
                    </a:lnTo>
                    <a:lnTo>
                      <a:pt x="618" y="362"/>
                    </a:lnTo>
                    <a:lnTo>
                      <a:pt x="612" y="364"/>
                    </a:lnTo>
                    <a:lnTo>
                      <a:pt x="606" y="364"/>
                    </a:lnTo>
                    <a:lnTo>
                      <a:pt x="600" y="362"/>
                    </a:lnTo>
                    <a:lnTo>
                      <a:pt x="594" y="362"/>
                    </a:lnTo>
                    <a:lnTo>
                      <a:pt x="588" y="362"/>
                    </a:lnTo>
                    <a:lnTo>
                      <a:pt x="584" y="362"/>
                    </a:lnTo>
                    <a:lnTo>
                      <a:pt x="576" y="362"/>
                    </a:lnTo>
                    <a:lnTo>
                      <a:pt x="568" y="362"/>
                    </a:lnTo>
                    <a:lnTo>
                      <a:pt x="562" y="360"/>
                    </a:lnTo>
                    <a:lnTo>
                      <a:pt x="556" y="358"/>
                    </a:lnTo>
                    <a:lnTo>
                      <a:pt x="554" y="356"/>
                    </a:lnTo>
                    <a:lnTo>
                      <a:pt x="552" y="354"/>
                    </a:lnTo>
                    <a:lnTo>
                      <a:pt x="548" y="350"/>
                    </a:lnTo>
                    <a:lnTo>
                      <a:pt x="544" y="344"/>
                    </a:lnTo>
                    <a:lnTo>
                      <a:pt x="542" y="342"/>
                    </a:lnTo>
                    <a:lnTo>
                      <a:pt x="540" y="340"/>
                    </a:lnTo>
                    <a:lnTo>
                      <a:pt x="536" y="338"/>
                    </a:lnTo>
                    <a:lnTo>
                      <a:pt x="536" y="338"/>
                    </a:lnTo>
                    <a:lnTo>
                      <a:pt x="536" y="338"/>
                    </a:lnTo>
                    <a:lnTo>
                      <a:pt x="532" y="336"/>
                    </a:lnTo>
                    <a:lnTo>
                      <a:pt x="532" y="336"/>
                    </a:lnTo>
                    <a:lnTo>
                      <a:pt x="532" y="336"/>
                    </a:lnTo>
                    <a:lnTo>
                      <a:pt x="528" y="336"/>
                    </a:lnTo>
                    <a:lnTo>
                      <a:pt x="528" y="336"/>
                    </a:lnTo>
                    <a:lnTo>
                      <a:pt x="528" y="336"/>
                    </a:lnTo>
                    <a:lnTo>
                      <a:pt x="524" y="336"/>
                    </a:lnTo>
                    <a:lnTo>
                      <a:pt x="522" y="336"/>
                    </a:lnTo>
                    <a:lnTo>
                      <a:pt x="518" y="336"/>
                    </a:lnTo>
                    <a:lnTo>
                      <a:pt x="514" y="336"/>
                    </a:lnTo>
                    <a:lnTo>
                      <a:pt x="510" y="338"/>
                    </a:lnTo>
                    <a:lnTo>
                      <a:pt x="506" y="338"/>
                    </a:lnTo>
                    <a:lnTo>
                      <a:pt x="500" y="340"/>
                    </a:lnTo>
                    <a:lnTo>
                      <a:pt x="500" y="340"/>
                    </a:lnTo>
                    <a:lnTo>
                      <a:pt x="500" y="340"/>
                    </a:lnTo>
                    <a:lnTo>
                      <a:pt x="496" y="342"/>
                    </a:lnTo>
                    <a:lnTo>
                      <a:pt x="496" y="342"/>
                    </a:lnTo>
                    <a:lnTo>
                      <a:pt x="496" y="342"/>
                    </a:lnTo>
                    <a:lnTo>
                      <a:pt x="492" y="344"/>
                    </a:lnTo>
                    <a:lnTo>
                      <a:pt x="492" y="344"/>
                    </a:lnTo>
                    <a:lnTo>
                      <a:pt x="492" y="346"/>
                    </a:lnTo>
                    <a:lnTo>
                      <a:pt x="490" y="348"/>
                    </a:lnTo>
                    <a:lnTo>
                      <a:pt x="490" y="348"/>
                    </a:lnTo>
                    <a:lnTo>
                      <a:pt x="488" y="350"/>
                    </a:lnTo>
                    <a:lnTo>
                      <a:pt x="488" y="352"/>
                    </a:lnTo>
                    <a:lnTo>
                      <a:pt x="488" y="352"/>
                    </a:lnTo>
                    <a:lnTo>
                      <a:pt x="488" y="352"/>
                    </a:lnTo>
                    <a:lnTo>
                      <a:pt x="488" y="354"/>
                    </a:lnTo>
                    <a:lnTo>
                      <a:pt x="488" y="354"/>
                    </a:lnTo>
                    <a:lnTo>
                      <a:pt x="488" y="354"/>
                    </a:lnTo>
                    <a:lnTo>
                      <a:pt x="488" y="360"/>
                    </a:lnTo>
                    <a:lnTo>
                      <a:pt x="490" y="368"/>
                    </a:lnTo>
                    <a:lnTo>
                      <a:pt x="492" y="374"/>
                    </a:lnTo>
                    <a:lnTo>
                      <a:pt x="494" y="380"/>
                    </a:lnTo>
                    <a:lnTo>
                      <a:pt x="496" y="388"/>
                    </a:lnTo>
                    <a:lnTo>
                      <a:pt x="498" y="392"/>
                    </a:lnTo>
                    <a:lnTo>
                      <a:pt x="498" y="398"/>
                    </a:lnTo>
                    <a:lnTo>
                      <a:pt x="498" y="406"/>
                    </a:lnTo>
                    <a:lnTo>
                      <a:pt x="498" y="410"/>
                    </a:lnTo>
                    <a:lnTo>
                      <a:pt x="498" y="412"/>
                    </a:lnTo>
                    <a:lnTo>
                      <a:pt x="498" y="414"/>
                    </a:lnTo>
                    <a:lnTo>
                      <a:pt x="498" y="414"/>
                    </a:lnTo>
                    <a:lnTo>
                      <a:pt x="496" y="412"/>
                    </a:lnTo>
                    <a:lnTo>
                      <a:pt x="496" y="410"/>
                    </a:lnTo>
                    <a:lnTo>
                      <a:pt x="492" y="404"/>
                    </a:lnTo>
                    <a:lnTo>
                      <a:pt x="488" y="398"/>
                    </a:lnTo>
                    <a:lnTo>
                      <a:pt x="484" y="392"/>
                    </a:lnTo>
                    <a:lnTo>
                      <a:pt x="480" y="384"/>
                    </a:lnTo>
                    <a:lnTo>
                      <a:pt x="478" y="382"/>
                    </a:lnTo>
                    <a:lnTo>
                      <a:pt x="476" y="380"/>
                    </a:lnTo>
                    <a:lnTo>
                      <a:pt x="474" y="378"/>
                    </a:lnTo>
                    <a:lnTo>
                      <a:pt x="474" y="376"/>
                    </a:lnTo>
                    <a:lnTo>
                      <a:pt x="472" y="372"/>
                    </a:lnTo>
                    <a:lnTo>
                      <a:pt x="470" y="370"/>
                    </a:lnTo>
                    <a:lnTo>
                      <a:pt x="468" y="368"/>
                    </a:lnTo>
                    <a:lnTo>
                      <a:pt x="468" y="368"/>
                    </a:lnTo>
                    <a:lnTo>
                      <a:pt x="468" y="368"/>
                    </a:lnTo>
                    <a:lnTo>
                      <a:pt x="466" y="366"/>
                    </a:lnTo>
                    <a:lnTo>
                      <a:pt x="464" y="366"/>
                    </a:lnTo>
                    <a:lnTo>
                      <a:pt x="464" y="366"/>
                    </a:lnTo>
                    <a:lnTo>
                      <a:pt x="464" y="364"/>
                    </a:lnTo>
                    <a:lnTo>
                      <a:pt x="462" y="364"/>
                    </a:lnTo>
                    <a:lnTo>
                      <a:pt x="462" y="364"/>
                    </a:lnTo>
                    <a:lnTo>
                      <a:pt x="456" y="362"/>
                    </a:lnTo>
                    <a:lnTo>
                      <a:pt x="452" y="362"/>
                    </a:lnTo>
                    <a:lnTo>
                      <a:pt x="446" y="360"/>
                    </a:lnTo>
                    <a:lnTo>
                      <a:pt x="440" y="360"/>
                    </a:lnTo>
                    <a:lnTo>
                      <a:pt x="436" y="360"/>
                    </a:lnTo>
                    <a:lnTo>
                      <a:pt x="432" y="362"/>
                    </a:lnTo>
                    <a:lnTo>
                      <a:pt x="424" y="364"/>
                    </a:lnTo>
                    <a:lnTo>
                      <a:pt x="420" y="364"/>
                    </a:lnTo>
                    <a:lnTo>
                      <a:pt x="418" y="366"/>
                    </a:lnTo>
                    <a:lnTo>
                      <a:pt x="414" y="366"/>
                    </a:lnTo>
                    <a:lnTo>
                      <a:pt x="414" y="366"/>
                    </a:lnTo>
                    <a:lnTo>
                      <a:pt x="410" y="366"/>
                    </a:lnTo>
                    <a:lnTo>
                      <a:pt x="406" y="366"/>
                    </a:lnTo>
                    <a:lnTo>
                      <a:pt x="400" y="366"/>
                    </a:lnTo>
                    <a:lnTo>
                      <a:pt x="394" y="364"/>
                    </a:lnTo>
                    <a:lnTo>
                      <a:pt x="390" y="362"/>
                    </a:lnTo>
                    <a:lnTo>
                      <a:pt x="384" y="362"/>
                    </a:lnTo>
                    <a:lnTo>
                      <a:pt x="380" y="360"/>
                    </a:lnTo>
                    <a:lnTo>
                      <a:pt x="378" y="360"/>
                    </a:lnTo>
                    <a:lnTo>
                      <a:pt x="376" y="358"/>
                    </a:lnTo>
                    <a:lnTo>
                      <a:pt x="376" y="358"/>
                    </a:lnTo>
                    <a:lnTo>
                      <a:pt x="376" y="358"/>
                    </a:lnTo>
                    <a:lnTo>
                      <a:pt x="376" y="358"/>
                    </a:lnTo>
                    <a:lnTo>
                      <a:pt x="376" y="356"/>
                    </a:lnTo>
                    <a:lnTo>
                      <a:pt x="378" y="354"/>
                    </a:lnTo>
                    <a:lnTo>
                      <a:pt x="378" y="354"/>
                    </a:lnTo>
                    <a:lnTo>
                      <a:pt x="380" y="352"/>
                    </a:lnTo>
                    <a:lnTo>
                      <a:pt x="382" y="348"/>
                    </a:lnTo>
                    <a:lnTo>
                      <a:pt x="386" y="346"/>
                    </a:lnTo>
                    <a:lnTo>
                      <a:pt x="388" y="344"/>
                    </a:lnTo>
                    <a:lnTo>
                      <a:pt x="390" y="342"/>
                    </a:lnTo>
                    <a:lnTo>
                      <a:pt x="394" y="340"/>
                    </a:lnTo>
                    <a:lnTo>
                      <a:pt x="396" y="338"/>
                    </a:lnTo>
                    <a:lnTo>
                      <a:pt x="400" y="338"/>
                    </a:lnTo>
                    <a:lnTo>
                      <a:pt x="402" y="336"/>
                    </a:lnTo>
                    <a:lnTo>
                      <a:pt x="402" y="338"/>
                    </a:lnTo>
                    <a:lnTo>
                      <a:pt x="402" y="338"/>
                    </a:lnTo>
                    <a:lnTo>
                      <a:pt x="400" y="338"/>
                    </a:lnTo>
                    <a:lnTo>
                      <a:pt x="398" y="340"/>
                    </a:lnTo>
                    <a:lnTo>
                      <a:pt x="394" y="342"/>
                    </a:lnTo>
                    <a:lnTo>
                      <a:pt x="394" y="342"/>
                    </a:lnTo>
                    <a:lnTo>
                      <a:pt x="394" y="344"/>
                    </a:lnTo>
                    <a:lnTo>
                      <a:pt x="394" y="346"/>
                    </a:lnTo>
                    <a:lnTo>
                      <a:pt x="394" y="346"/>
                    </a:lnTo>
                    <a:lnTo>
                      <a:pt x="394" y="348"/>
                    </a:lnTo>
                    <a:lnTo>
                      <a:pt x="396" y="348"/>
                    </a:lnTo>
                    <a:lnTo>
                      <a:pt x="396" y="348"/>
                    </a:lnTo>
                    <a:lnTo>
                      <a:pt x="398" y="348"/>
                    </a:lnTo>
                    <a:lnTo>
                      <a:pt x="398" y="348"/>
                    </a:lnTo>
                    <a:lnTo>
                      <a:pt x="398" y="348"/>
                    </a:lnTo>
                    <a:lnTo>
                      <a:pt x="398" y="348"/>
                    </a:lnTo>
                    <a:lnTo>
                      <a:pt x="400" y="348"/>
                    </a:lnTo>
                    <a:lnTo>
                      <a:pt x="402" y="348"/>
                    </a:lnTo>
                    <a:lnTo>
                      <a:pt x="404" y="350"/>
                    </a:lnTo>
                    <a:lnTo>
                      <a:pt x="406" y="352"/>
                    </a:lnTo>
                    <a:lnTo>
                      <a:pt x="408" y="354"/>
                    </a:lnTo>
                    <a:lnTo>
                      <a:pt x="410" y="354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10" y="356"/>
                    </a:lnTo>
                    <a:lnTo>
                      <a:pt x="414" y="356"/>
                    </a:lnTo>
                    <a:lnTo>
                      <a:pt x="414" y="356"/>
                    </a:lnTo>
                    <a:lnTo>
                      <a:pt x="414" y="356"/>
                    </a:lnTo>
                    <a:lnTo>
                      <a:pt x="416" y="356"/>
                    </a:lnTo>
                    <a:lnTo>
                      <a:pt x="416" y="356"/>
                    </a:lnTo>
                    <a:lnTo>
                      <a:pt x="416" y="356"/>
                    </a:lnTo>
                    <a:lnTo>
                      <a:pt x="416" y="356"/>
                    </a:lnTo>
                    <a:lnTo>
                      <a:pt x="418" y="354"/>
                    </a:lnTo>
                    <a:lnTo>
                      <a:pt x="418" y="352"/>
                    </a:lnTo>
                    <a:lnTo>
                      <a:pt x="420" y="352"/>
                    </a:lnTo>
                    <a:lnTo>
                      <a:pt x="420" y="352"/>
                    </a:lnTo>
                    <a:lnTo>
                      <a:pt x="420" y="352"/>
                    </a:lnTo>
                    <a:lnTo>
                      <a:pt x="420" y="348"/>
                    </a:lnTo>
                    <a:lnTo>
                      <a:pt x="420" y="348"/>
                    </a:lnTo>
                    <a:lnTo>
                      <a:pt x="420" y="348"/>
                    </a:lnTo>
                    <a:lnTo>
                      <a:pt x="418" y="346"/>
                    </a:lnTo>
                    <a:lnTo>
                      <a:pt x="418" y="346"/>
                    </a:lnTo>
                    <a:lnTo>
                      <a:pt x="420" y="344"/>
                    </a:lnTo>
                    <a:lnTo>
                      <a:pt x="420" y="346"/>
                    </a:lnTo>
                    <a:lnTo>
                      <a:pt x="424" y="348"/>
                    </a:lnTo>
                    <a:lnTo>
                      <a:pt x="424" y="348"/>
                    </a:lnTo>
                    <a:lnTo>
                      <a:pt x="424" y="348"/>
                    </a:lnTo>
                    <a:lnTo>
                      <a:pt x="428" y="348"/>
                    </a:lnTo>
                    <a:lnTo>
                      <a:pt x="430" y="348"/>
                    </a:lnTo>
                    <a:lnTo>
                      <a:pt x="434" y="348"/>
                    </a:lnTo>
                    <a:lnTo>
                      <a:pt x="436" y="348"/>
                    </a:lnTo>
                    <a:lnTo>
                      <a:pt x="436" y="348"/>
                    </a:lnTo>
                    <a:lnTo>
                      <a:pt x="438" y="348"/>
                    </a:lnTo>
                    <a:lnTo>
                      <a:pt x="438" y="346"/>
                    </a:lnTo>
                    <a:lnTo>
                      <a:pt x="440" y="346"/>
                    </a:lnTo>
                    <a:lnTo>
                      <a:pt x="442" y="344"/>
                    </a:lnTo>
                    <a:lnTo>
                      <a:pt x="442" y="344"/>
                    </a:lnTo>
                    <a:lnTo>
                      <a:pt x="442" y="344"/>
                    </a:lnTo>
                    <a:lnTo>
                      <a:pt x="444" y="344"/>
                    </a:lnTo>
                    <a:lnTo>
                      <a:pt x="444" y="342"/>
                    </a:lnTo>
                    <a:lnTo>
                      <a:pt x="444" y="342"/>
                    </a:lnTo>
                    <a:lnTo>
                      <a:pt x="446" y="342"/>
                    </a:lnTo>
                    <a:lnTo>
                      <a:pt x="444" y="342"/>
                    </a:lnTo>
                    <a:lnTo>
                      <a:pt x="446" y="342"/>
                    </a:lnTo>
                    <a:lnTo>
                      <a:pt x="448" y="340"/>
                    </a:lnTo>
                    <a:lnTo>
                      <a:pt x="450" y="340"/>
                    </a:lnTo>
                    <a:lnTo>
                      <a:pt x="452" y="340"/>
                    </a:lnTo>
                    <a:lnTo>
                      <a:pt x="454" y="340"/>
                    </a:lnTo>
                    <a:lnTo>
                      <a:pt x="456" y="340"/>
                    </a:lnTo>
                    <a:lnTo>
                      <a:pt x="456" y="340"/>
                    </a:lnTo>
                    <a:lnTo>
                      <a:pt x="456" y="338"/>
                    </a:lnTo>
                    <a:lnTo>
                      <a:pt x="458" y="338"/>
                    </a:lnTo>
                    <a:lnTo>
                      <a:pt x="460" y="338"/>
                    </a:lnTo>
                    <a:lnTo>
                      <a:pt x="460" y="338"/>
                    </a:lnTo>
                    <a:lnTo>
                      <a:pt x="468" y="336"/>
                    </a:lnTo>
                    <a:lnTo>
                      <a:pt x="470" y="334"/>
                    </a:lnTo>
                    <a:lnTo>
                      <a:pt x="474" y="334"/>
                    </a:lnTo>
                    <a:lnTo>
                      <a:pt x="474" y="334"/>
                    </a:lnTo>
                    <a:lnTo>
                      <a:pt x="476" y="332"/>
                    </a:lnTo>
                    <a:lnTo>
                      <a:pt x="478" y="328"/>
                    </a:lnTo>
                    <a:lnTo>
                      <a:pt x="482" y="326"/>
                    </a:lnTo>
                    <a:lnTo>
                      <a:pt x="484" y="324"/>
                    </a:lnTo>
                    <a:lnTo>
                      <a:pt x="484" y="324"/>
                    </a:lnTo>
                    <a:lnTo>
                      <a:pt x="486" y="322"/>
                    </a:lnTo>
                    <a:lnTo>
                      <a:pt x="488" y="322"/>
                    </a:lnTo>
                    <a:lnTo>
                      <a:pt x="490" y="322"/>
                    </a:lnTo>
                    <a:lnTo>
                      <a:pt x="496" y="322"/>
                    </a:lnTo>
                    <a:lnTo>
                      <a:pt x="498" y="320"/>
                    </a:lnTo>
                    <a:lnTo>
                      <a:pt x="500" y="320"/>
                    </a:lnTo>
                    <a:lnTo>
                      <a:pt x="500" y="320"/>
                    </a:lnTo>
                    <a:lnTo>
                      <a:pt x="504" y="320"/>
                    </a:lnTo>
                    <a:lnTo>
                      <a:pt x="504" y="318"/>
                    </a:lnTo>
                    <a:lnTo>
                      <a:pt x="506" y="316"/>
                    </a:lnTo>
                    <a:lnTo>
                      <a:pt x="506" y="316"/>
                    </a:lnTo>
                    <a:lnTo>
                      <a:pt x="506" y="314"/>
                    </a:lnTo>
                    <a:lnTo>
                      <a:pt x="506" y="312"/>
                    </a:lnTo>
                    <a:lnTo>
                      <a:pt x="506" y="312"/>
                    </a:lnTo>
                    <a:lnTo>
                      <a:pt x="506" y="310"/>
                    </a:lnTo>
                    <a:lnTo>
                      <a:pt x="506" y="308"/>
                    </a:lnTo>
                    <a:lnTo>
                      <a:pt x="506" y="306"/>
                    </a:lnTo>
                    <a:lnTo>
                      <a:pt x="506" y="304"/>
                    </a:lnTo>
                    <a:lnTo>
                      <a:pt x="506" y="304"/>
                    </a:lnTo>
                    <a:lnTo>
                      <a:pt x="508" y="304"/>
                    </a:lnTo>
                    <a:lnTo>
                      <a:pt x="508" y="304"/>
                    </a:lnTo>
                    <a:lnTo>
                      <a:pt x="510" y="304"/>
                    </a:lnTo>
                    <a:lnTo>
                      <a:pt x="512" y="304"/>
                    </a:lnTo>
                    <a:lnTo>
                      <a:pt x="514" y="306"/>
                    </a:lnTo>
                    <a:lnTo>
                      <a:pt x="516" y="306"/>
                    </a:lnTo>
                    <a:lnTo>
                      <a:pt x="520" y="310"/>
                    </a:lnTo>
                    <a:lnTo>
                      <a:pt x="524" y="314"/>
                    </a:lnTo>
                    <a:lnTo>
                      <a:pt x="524" y="314"/>
                    </a:lnTo>
                    <a:lnTo>
                      <a:pt x="524" y="314"/>
                    </a:lnTo>
                    <a:lnTo>
                      <a:pt x="526" y="316"/>
                    </a:lnTo>
                    <a:lnTo>
                      <a:pt x="526" y="316"/>
                    </a:lnTo>
                    <a:lnTo>
                      <a:pt x="526" y="316"/>
                    </a:lnTo>
                    <a:lnTo>
                      <a:pt x="530" y="316"/>
                    </a:lnTo>
                    <a:lnTo>
                      <a:pt x="532" y="318"/>
                    </a:lnTo>
                    <a:lnTo>
                      <a:pt x="532" y="318"/>
                    </a:lnTo>
                    <a:lnTo>
                      <a:pt x="532" y="318"/>
                    </a:lnTo>
                    <a:lnTo>
                      <a:pt x="536" y="320"/>
                    </a:lnTo>
                    <a:lnTo>
                      <a:pt x="536" y="320"/>
                    </a:lnTo>
                    <a:lnTo>
                      <a:pt x="536" y="320"/>
                    </a:lnTo>
                    <a:lnTo>
                      <a:pt x="540" y="320"/>
                    </a:lnTo>
                    <a:lnTo>
                      <a:pt x="544" y="322"/>
                    </a:lnTo>
                    <a:lnTo>
                      <a:pt x="544" y="322"/>
                    </a:lnTo>
                    <a:lnTo>
                      <a:pt x="554" y="322"/>
                    </a:lnTo>
                    <a:lnTo>
                      <a:pt x="562" y="322"/>
                    </a:lnTo>
                    <a:lnTo>
                      <a:pt x="570" y="322"/>
                    </a:lnTo>
                    <a:lnTo>
                      <a:pt x="574" y="322"/>
                    </a:lnTo>
                    <a:lnTo>
                      <a:pt x="578" y="320"/>
                    </a:lnTo>
                    <a:lnTo>
                      <a:pt x="578" y="320"/>
                    </a:lnTo>
                    <a:lnTo>
                      <a:pt x="580" y="320"/>
                    </a:lnTo>
                    <a:lnTo>
                      <a:pt x="580" y="320"/>
                    </a:lnTo>
                    <a:lnTo>
                      <a:pt x="580" y="320"/>
                    </a:lnTo>
                    <a:lnTo>
                      <a:pt x="582" y="318"/>
                    </a:lnTo>
                    <a:lnTo>
                      <a:pt x="582" y="318"/>
                    </a:lnTo>
                    <a:lnTo>
                      <a:pt x="582" y="318"/>
                    </a:lnTo>
                    <a:lnTo>
                      <a:pt x="582" y="316"/>
                    </a:lnTo>
                    <a:lnTo>
                      <a:pt x="582" y="314"/>
                    </a:lnTo>
                    <a:lnTo>
                      <a:pt x="582" y="312"/>
                    </a:lnTo>
                    <a:lnTo>
                      <a:pt x="584" y="312"/>
                    </a:lnTo>
                    <a:lnTo>
                      <a:pt x="584" y="312"/>
                    </a:lnTo>
                    <a:lnTo>
                      <a:pt x="586" y="312"/>
                    </a:lnTo>
                    <a:lnTo>
                      <a:pt x="588" y="310"/>
                    </a:lnTo>
                    <a:lnTo>
                      <a:pt x="588" y="310"/>
                    </a:lnTo>
                    <a:lnTo>
                      <a:pt x="588" y="310"/>
                    </a:lnTo>
                    <a:lnTo>
                      <a:pt x="590" y="308"/>
                    </a:lnTo>
                    <a:lnTo>
                      <a:pt x="590" y="308"/>
                    </a:lnTo>
                    <a:lnTo>
                      <a:pt x="590" y="308"/>
                    </a:lnTo>
                    <a:lnTo>
                      <a:pt x="592" y="306"/>
                    </a:lnTo>
                    <a:lnTo>
                      <a:pt x="592" y="306"/>
                    </a:lnTo>
                    <a:lnTo>
                      <a:pt x="592" y="306"/>
                    </a:lnTo>
                    <a:lnTo>
                      <a:pt x="592" y="304"/>
                    </a:lnTo>
                    <a:lnTo>
                      <a:pt x="592" y="304"/>
                    </a:lnTo>
                    <a:lnTo>
                      <a:pt x="592" y="304"/>
                    </a:lnTo>
                    <a:lnTo>
                      <a:pt x="594" y="300"/>
                    </a:lnTo>
                    <a:lnTo>
                      <a:pt x="594" y="298"/>
                    </a:lnTo>
                    <a:lnTo>
                      <a:pt x="596" y="296"/>
                    </a:lnTo>
                    <a:lnTo>
                      <a:pt x="596" y="296"/>
                    </a:lnTo>
                    <a:lnTo>
                      <a:pt x="596" y="296"/>
                    </a:lnTo>
                    <a:lnTo>
                      <a:pt x="596" y="288"/>
                    </a:lnTo>
                    <a:lnTo>
                      <a:pt x="598" y="284"/>
                    </a:lnTo>
                    <a:lnTo>
                      <a:pt x="600" y="278"/>
                    </a:lnTo>
                    <a:lnTo>
                      <a:pt x="602" y="274"/>
                    </a:lnTo>
                    <a:lnTo>
                      <a:pt x="602" y="274"/>
                    </a:lnTo>
                    <a:lnTo>
                      <a:pt x="602" y="274"/>
                    </a:lnTo>
                    <a:lnTo>
                      <a:pt x="602" y="272"/>
                    </a:lnTo>
                    <a:lnTo>
                      <a:pt x="602" y="272"/>
                    </a:lnTo>
                    <a:lnTo>
                      <a:pt x="602" y="272"/>
                    </a:lnTo>
                    <a:lnTo>
                      <a:pt x="600" y="270"/>
                    </a:lnTo>
                    <a:lnTo>
                      <a:pt x="600" y="270"/>
                    </a:lnTo>
                    <a:lnTo>
                      <a:pt x="600" y="268"/>
                    </a:lnTo>
                    <a:lnTo>
                      <a:pt x="600" y="268"/>
                    </a:lnTo>
                    <a:lnTo>
                      <a:pt x="600" y="268"/>
                    </a:lnTo>
                    <a:lnTo>
                      <a:pt x="598" y="266"/>
                    </a:lnTo>
                    <a:lnTo>
                      <a:pt x="598" y="264"/>
                    </a:lnTo>
                    <a:lnTo>
                      <a:pt x="598" y="264"/>
                    </a:lnTo>
                    <a:lnTo>
                      <a:pt x="598" y="264"/>
                    </a:lnTo>
                    <a:lnTo>
                      <a:pt x="594" y="264"/>
                    </a:lnTo>
                    <a:lnTo>
                      <a:pt x="594" y="264"/>
                    </a:lnTo>
                    <a:lnTo>
                      <a:pt x="594" y="262"/>
                    </a:lnTo>
                    <a:lnTo>
                      <a:pt x="592" y="262"/>
                    </a:lnTo>
                    <a:lnTo>
                      <a:pt x="588" y="260"/>
                    </a:lnTo>
                    <a:lnTo>
                      <a:pt x="584" y="258"/>
                    </a:lnTo>
                    <a:lnTo>
                      <a:pt x="580" y="256"/>
                    </a:lnTo>
                    <a:lnTo>
                      <a:pt x="576" y="252"/>
                    </a:lnTo>
                    <a:lnTo>
                      <a:pt x="570" y="246"/>
                    </a:lnTo>
                    <a:lnTo>
                      <a:pt x="566" y="244"/>
                    </a:lnTo>
                    <a:lnTo>
                      <a:pt x="562" y="240"/>
                    </a:lnTo>
                    <a:lnTo>
                      <a:pt x="562" y="240"/>
                    </a:lnTo>
                    <a:lnTo>
                      <a:pt x="562" y="240"/>
                    </a:lnTo>
                    <a:lnTo>
                      <a:pt x="558" y="238"/>
                    </a:lnTo>
                    <a:lnTo>
                      <a:pt x="558" y="238"/>
                    </a:lnTo>
                    <a:lnTo>
                      <a:pt x="558" y="238"/>
                    </a:lnTo>
                    <a:lnTo>
                      <a:pt x="554" y="236"/>
                    </a:lnTo>
                    <a:lnTo>
                      <a:pt x="550" y="236"/>
                    </a:lnTo>
                    <a:lnTo>
                      <a:pt x="548" y="234"/>
                    </a:lnTo>
                    <a:lnTo>
                      <a:pt x="544" y="230"/>
                    </a:lnTo>
                    <a:lnTo>
                      <a:pt x="540" y="226"/>
                    </a:lnTo>
                    <a:lnTo>
                      <a:pt x="538" y="220"/>
                    </a:lnTo>
                    <a:lnTo>
                      <a:pt x="538" y="216"/>
                    </a:lnTo>
                    <a:lnTo>
                      <a:pt x="538" y="208"/>
                    </a:lnTo>
                    <a:lnTo>
                      <a:pt x="538" y="202"/>
                    </a:lnTo>
                    <a:lnTo>
                      <a:pt x="538" y="194"/>
                    </a:lnTo>
                    <a:lnTo>
                      <a:pt x="538" y="186"/>
                    </a:lnTo>
                    <a:lnTo>
                      <a:pt x="538" y="178"/>
                    </a:lnTo>
                    <a:lnTo>
                      <a:pt x="538" y="178"/>
                    </a:lnTo>
                    <a:lnTo>
                      <a:pt x="536" y="178"/>
                    </a:lnTo>
                    <a:lnTo>
                      <a:pt x="534" y="172"/>
                    </a:lnTo>
                    <a:lnTo>
                      <a:pt x="534" y="172"/>
                    </a:lnTo>
                    <a:lnTo>
                      <a:pt x="534" y="172"/>
                    </a:lnTo>
                    <a:lnTo>
                      <a:pt x="532" y="168"/>
                    </a:lnTo>
                    <a:lnTo>
                      <a:pt x="532" y="166"/>
                    </a:lnTo>
                    <a:lnTo>
                      <a:pt x="532" y="162"/>
                    </a:lnTo>
                    <a:lnTo>
                      <a:pt x="532" y="154"/>
                    </a:lnTo>
                    <a:lnTo>
                      <a:pt x="532" y="148"/>
                    </a:lnTo>
                    <a:lnTo>
                      <a:pt x="534" y="140"/>
                    </a:lnTo>
                    <a:lnTo>
                      <a:pt x="536" y="132"/>
                    </a:lnTo>
                    <a:lnTo>
                      <a:pt x="536" y="126"/>
                    </a:lnTo>
                    <a:lnTo>
                      <a:pt x="540" y="118"/>
                    </a:lnTo>
                    <a:lnTo>
                      <a:pt x="542" y="114"/>
                    </a:lnTo>
                    <a:lnTo>
                      <a:pt x="542" y="114"/>
                    </a:lnTo>
                    <a:lnTo>
                      <a:pt x="542" y="110"/>
                    </a:lnTo>
                    <a:lnTo>
                      <a:pt x="540" y="108"/>
                    </a:lnTo>
                    <a:lnTo>
                      <a:pt x="538" y="106"/>
                    </a:lnTo>
                    <a:lnTo>
                      <a:pt x="538" y="106"/>
                    </a:lnTo>
                    <a:lnTo>
                      <a:pt x="538" y="106"/>
                    </a:lnTo>
                    <a:lnTo>
                      <a:pt x="534" y="104"/>
                    </a:lnTo>
                    <a:lnTo>
                      <a:pt x="534" y="104"/>
                    </a:lnTo>
                    <a:lnTo>
                      <a:pt x="534" y="104"/>
                    </a:lnTo>
                    <a:lnTo>
                      <a:pt x="530" y="104"/>
                    </a:lnTo>
                    <a:lnTo>
                      <a:pt x="530" y="104"/>
                    </a:lnTo>
                    <a:lnTo>
                      <a:pt x="528" y="104"/>
                    </a:lnTo>
                    <a:lnTo>
                      <a:pt x="524" y="102"/>
                    </a:lnTo>
                    <a:lnTo>
                      <a:pt x="524" y="102"/>
                    </a:lnTo>
                    <a:lnTo>
                      <a:pt x="524" y="102"/>
                    </a:lnTo>
                    <a:lnTo>
                      <a:pt x="520" y="104"/>
                    </a:lnTo>
                    <a:lnTo>
                      <a:pt x="516" y="104"/>
                    </a:lnTo>
                    <a:lnTo>
                      <a:pt x="506" y="106"/>
                    </a:lnTo>
                    <a:lnTo>
                      <a:pt x="506" y="106"/>
                    </a:lnTo>
                    <a:lnTo>
                      <a:pt x="506" y="106"/>
                    </a:lnTo>
                    <a:lnTo>
                      <a:pt x="504" y="108"/>
                    </a:lnTo>
                    <a:lnTo>
                      <a:pt x="504" y="108"/>
                    </a:lnTo>
                    <a:lnTo>
                      <a:pt x="502" y="108"/>
                    </a:lnTo>
                    <a:lnTo>
                      <a:pt x="502" y="112"/>
                    </a:lnTo>
                    <a:lnTo>
                      <a:pt x="502" y="112"/>
                    </a:lnTo>
                    <a:lnTo>
                      <a:pt x="500" y="112"/>
                    </a:lnTo>
                    <a:lnTo>
                      <a:pt x="500" y="114"/>
                    </a:lnTo>
                    <a:lnTo>
                      <a:pt x="500" y="114"/>
                    </a:lnTo>
                    <a:lnTo>
                      <a:pt x="500" y="114"/>
                    </a:lnTo>
                    <a:lnTo>
                      <a:pt x="500" y="118"/>
                    </a:lnTo>
                    <a:lnTo>
                      <a:pt x="500" y="118"/>
                    </a:lnTo>
                    <a:lnTo>
                      <a:pt x="500" y="118"/>
                    </a:lnTo>
                    <a:lnTo>
                      <a:pt x="500" y="118"/>
                    </a:lnTo>
                    <a:lnTo>
                      <a:pt x="496" y="114"/>
                    </a:lnTo>
                    <a:lnTo>
                      <a:pt x="496" y="114"/>
                    </a:lnTo>
                    <a:lnTo>
                      <a:pt x="496" y="114"/>
                    </a:lnTo>
                    <a:lnTo>
                      <a:pt x="494" y="112"/>
                    </a:lnTo>
                    <a:lnTo>
                      <a:pt x="494" y="112"/>
                    </a:lnTo>
                    <a:lnTo>
                      <a:pt x="494" y="112"/>
                    </a:lnTo>
                    <a:lnTo>
                      <a:pt x="492" y="110"/>
                    </a:lnTo>
                    <a:lnTo>
                      <a:pt x="492" y="110"/>
                    </a:lnTo>
                    <a:lnTo>
                      <a:pt x="488" y="110"/>
                    </a:lnTo>
                    <a:lnTo>
                      <a:pt x="488" y="110"/>
                    </a:lnTo>
                    <a:lnTo>
                      <a:pt x="486" y="110"/>
                    </a:lnTo>
                    <a:lnTo>
                      <a:pt x="486" y="114"/>
                    </a:lnTo>
                    <a:lnTo>
                      <a:pt x="486" y="114"/>
                    </a:lnTo>
                    <a:lnTo>
                      <a:pt x="486" y="114"/>
                    </a:lnTo>
                    <a:lnTo>
                      <a:pt x="484" y="118"/>
                    </a:lnTo>
                    <a:lnTo>
                      <a:pt x="482" y="124"/>
                    </a:lnTo>
                    <a:lnTo>
                      <a:pt x="482" y="128"/>
                    </a:lnTo>
                    <a:lnTo>
                      <a:pt x="482" y="140"/>
                    </a:lnTo>
                    <a:lnTo>
                      <a:pt x="484" y="150"/>
                    </a:lnTo>
                    <a:lnTo>
                      <a:pt x="486" y="162"/>
                    </a:lnTo>
                    <a:lnTo>
                      <a:pt x="486" y="168"/>
                    </a:lnTo>
                    <a:lnTo>
                      <a:pt x="488" y="174"/>
                    </a:lnTo>
                    <a:lnTo>
                      <a:pt x="490" y="178"/>
                    </a:lnTo>
                    <a:lnTo>
                      <a:pt x="492" y="182"/>
                    </a:lnTo>
                    <a:lnTo>
                      <a:pt x="494" y="186"/>
                    </a:lnTo>
                    <a:lnTo>
                      <a:pt x="496" y="190"/>
                    </a:lnTo>
                    <a:lnTo>
                      <a:pt x="496" y="190"/>
                    </a:lnTo>
                    <a:lnTo>
                      <a:pt x="496" y="190"/>
                    </a:lnTo>
                    <a:lnTo>
                      <a:pt x="496" y="192"/>
                    </a:lnTo>
                    <a:lnTo>
                      <a:pt x="494" y="192"/>
                    </a:lnTo>
                    <a:lnTo>
                      <a:pt x="494" y="194"/>
                    </a:lnTo>
                    <a:lnTo>
                      <a:pt x="492" y="194"/>
                    </a:lnTo>
                    <a:lnTo>
                      <a:pt x="492" y="194"/>
                    </a:lnTo>
                    <a:lnTo>
                      <a:pt x="492" y="194"/>
                    </a:lnTo>
                    <a:lnTo>
                      <a:pt x="490" y="196"/>
                    </a:lnTo>
                    <a:lnTo>
                      <a:pt x="490" y="196"/>
                    </a:lnTo>
                    <a:lnTo>
                      <a:pt x="490" y="196"/>
                    </a:lnTo>
                    <a:lnTo>
                      <a:pt x="490" y="194"/>
                    </a:lnTo>
                    <a:lnTo>
                      <a:pt x="490" y="194"/>
                    </a:lnTo>
                    <a:lnTo>
                      <a:pt x="490" y="194"/>
                    </a:lnTo>
                    <a:lnTo>
                      <a:pt x="488" y="192"/>
                    </a:lnTo>
                    <a:lnTo>
                      <a:pt x="488" y="186"/>
                    </a:lnTo>
                    <a:lnTo>
                      <a:pt x="486" y="178"/>
                    </a:lnTo>
                    <a:lnTo>
                      <a:pt x="484" y="172"/>
                    </a:lnTo>
                    <a:lnTo>
                      <a:pt x="482" y="164"/>
                    </a:lnTo>
                    <a:lnTo>
                      <a:pt x="478" y="156"/>
                    </a:lnTo>
                    <a:lnTo>
                      <a:pt x="474" y="150"/>
                    </a:lnTo>
                    <a:lnTo>
                      <a:pt x="470" y="144"/>
                    </a:lnTo>
                    <a:lnTo>
                      <a:pt x="464" y="138"/>
                    </a:lnTo>
                    <a:lnTo>
                      <a:pt x="464" y="138"/>
                    </a:lnTo>
                    <a:lnTo>
                      <a:pt x="462" y="138"/>
                    </a:lnTo>
                    <a:lnTo>
                      <a:pt x="462" y="138"/>
                    </a:lnTo>
                    <a:lnTo>
                      <a:pt x="460" y="140"/>
                    </a:lnTo>
                    <a:lnTo>
                      <a:pt x="458" y="142"/>
                    </a:lnTo>
                    <a:lnTo>
                      <a:pt x="458" y="142"/>
                    </a:lnTo>
                    <a:lnTo>
                      <a:pt x="458" y="142"/>
                    </a:lnTo>
                    <a:lnTo>
                      <a:pt x="456" y="146"/>
                    </a:lnTo>
                    <a:lnTo>
                      <a:pt x="456" y="156"/>
                    </a:lnTo>
                    <a:lnTo>
                      <a:pt x="454" y="160"/>
                    </a:lnTo>
                    <a:lnTo>
                      <a:pt x="454" y="162"/>
                    </a:lnTo>
                    <a:lnTo>
                      <a:pt x="452" y="164"/>
                    </a:lnTo>
                    <a:lnTo>
                      <a:pt x="452" y="164"/>
                    </a:lnTo>
                    <a:lnTo>
                      <a:pt x="450" y="164"/>
                    </a:lnTo>
                    <a:lnTo>
                      <a:pt x="448" y="166"/>
                    </a:lnTo>
                    <a:lnTo>
                      <a:pt x="448" y="166"/>
                    </a:lnTo>
                    <a:lnTo>
                      <a:pt x="446" y="166"/>
                    </a:lnTo>
                    <a:lnTo>
                      <a:pt x="440" y="168"/>
                    </a:lnTo>
                    <a:lnTo>
                      <a:pt x="436" y="168"/>
                    </a:lnTo>
                    <a:lnTo>
                      <a:pt x="432" y="166"/>
                    </a:lnTo>
                    <a:lnTo>
                      <a:pt x="432" y="166"/>
                    </a:lnTo>
                    <a:lnTo>
                      <a:pt x="432" y="162"/>
                    </a:lnTo>
                    <a:lnTo>
                      <a:pt x="434" y="160"/>
                    </a:lnTo>
                    <a:lnTo>
                      <a:pt x="434" y="156"/>
                    </a:lnTo>
                    <a:lnTo>
                      <a:pt x="434" y="156"/>
                    </a:lnTo>
                    <a:lnTo>
                      <a:pt x="434" y="154"/>
                    </a:lnTo>
                    <a:lnTo>
                      <a:pt x="434" y="152"/>
                    </a:lnTo>
                    <a:lnTo>
                      <a:pt x="432" y="148"/>
                    </a:lnTo>
                    <a:lnTo>
                      <a:pt x="432" y="148"/>
                    </a:lnTo>
                    <a:lnTo>
                      <a:pt x="432" y="148"/>
                    </a:lnTo>
                    <a:lnTo>
                      <a:pt x="430" y="144"/>
                    </a:lnTo>
                    <a:lnTo>
                      <a:pt x="430" y="144"/>
                    </a:lnTo>
                    <a:lnTo>
                      <a:pt x="428" y="144"/>
                    </a:lnTo>
                    <a:lnTo>
                      <a:pt x="426" y="142"/>
                    </a:lnTo>
                    <a:lnTo>
                      <a:pt x="426" y="142"/>
                    </a:lnTo>
                    <a:lnTo>
                      <a:pt x="424" y="142"/>
                    </a:lnTo>
                    <a:lnTo>
                      <a:pt x="422" y="140"/>
                    </a:lnTo>
                    <a:lnTo>
                      <a:pt x="420" y="138"/>
                    </a:lnTo>
                    <a:lnTo>
                      <a:pt x="420" y="138"/>
                    </a:lnTo>
                    <a:lnTo>
                      <a:pt x="418" y="138"/>
                    </a:lnTo>
                    <a:lnTo>
                      <a:pt x="414" y="138"/>
                    </a:lnTo>
                    <a:lnTo>
                      <a:pt x="412" y="138"/>
                    </a:lnTo>
                    <a:lnTo>
                      <a:pt x="412" y="138"/>
                    </a:lnTo>
                    <a:lnTo>
                      <a:pt x="410" y="138"/>
                    </a:lnTo>
                    <a:lnTo>
                      <a:pt x="408" y="140"/>
                    </a:lnTo>
                    <a:lnTo>
                      <a:pt x="408" y="140"/>
                    </a:lnTo>
                    <a:lnTo>
                      <a:pt x="406" y="140"/>
                    </a:lnTo>
                    <a:lnTo>
                      <a:pt x="404" y="140"/>
                    </a:lnTo>
                    <a:lnTo>
                      <a:pt x="404" y="140"/>
                    </a:lnTo>
                    <a:lnTo>
                      <a:pt x="404" y="142"/>
                    </a:lnTo>
                    <a:lnTo>
                      <a:pt x="404" y="142"/>
                    </a:lnTo>
                    <a:lnTo>
                      <a:pt x="400" y="146"/>
                    </a:lnTo>
                    <a:lnTo>
                      <a:pt x="400" y="150"/>
                    </a:lnTo>
                    <a:lnTo>
                      <a:pt x="398" y="152"/>
                    </a:lnTo>
                    <a:lnTo>
                      <a:pt x="398" y="152"/>
                    </a:lnTo>
                    <a:lnTo>
                      <a:pt x="398" y="152"/>
                    </a:lnTo>
                    <a:lnTo>
                      <a:pt x="398" y="154"/>
                    </a:lnTo>
                    <a:lnTo>
                      <a:pt x="398" y="154"/>
                    </a:lnTo>
                    <a:lnTo>
                      <a:pt x="398" y="154"/>
                    </a:lnTo>
                    <a:lnTo>
                      <a:pt x="398" y="156"/>
                    </a:lnTo>
                    <a:lnTo>
                      <a:pt x="398" y="156"/>
                    </a:lnTo>
                    <a:lnTo>
                      <a:pt x="398" y="156"/>
                    </a:lnTo>
                    <a:lnTo>
                      <a:pt x="396" y="154"/>
                    </a:lnTo>
                    <a:lnTo>
                      <a:pt x="396" y="154"/>
                    </a:lnTo>
                    <a:lnTo>
                      <a:pt x="394" y="154"/>
                    </a:lnTo>
                    <a:lnTo>
                      <a:pt x="394" y="152"/>
                    </a:lnTo>
                    <a:lnTo>
                      <a:pt x="394" y="150"/>
                    </a:lnTo>
                    <a:lnTo>
                      <a:pt x="394" y="146"/>
                    </a:lnTo>
                    <a:lnTo>
                      <a:pt x="394" y="142"/>
                    </a:lnTo>
                    <a:lnTo>
                      <a:pt x="394" y="136"/>
                    </a:lnTo>
                    <a:lnTo>
                      <a:pt x="394" y="132"/>
                    </a:lnTo>
                    <a:lnTo>
                      <a:pt x="394" y="126"/>
                    </a:lnTo>
                    <a:lnTo>
                      <a:pt x="394" y="126"/>
                    </a:lnTo>
                    <a:lnTo>
                      <a:pt x="394" y="124"/>
                    </a:lnTo>
                    <a:lnTo>
                      <a:pt x="394" y="124"/>
                    </a:lnTo>
                    <a:lnTo>
                      <a:pt x="390" y="124"/>
                    </a:lnTo>
                    <a:lnTo>
                      <a:pt x="390" y="124"/>
                    </a:lnTo>
                    <a:lnTo>
                      <a:pt x="388" y="124"/>
                    </a:lnTo>
                    <a:lnTo>
                      <a:pt x="386" y="126"/>
                    </a:lnTo>
                    <a:lnTo>
                      <a:pt x="384" y="126"/>
                    </a:lnTo>
                    <a:lnTo>
                      <a:pt x="382" y="128"/>
                    </a:lnTo>
                    <a:lnTo>
                      <a:pt x="382" y="128"/>
                    </a:lnTo>
                    <a:lnTo>
                      <a:pt x="380" y="128"/>
                    </a:lnTo>
                    <a:lnTo>
                      <a:pt x="380" y="128"/>
                    </a:lnTo>
                    <a:lnTo>
                      <a:pt x="380" y="128"/>
                    </a:lnTo>
                    <a:lnTo>
                      <a:pt x="380" y="130"/>
                    </a:lnTo>
                    <a:lnTo>
                      <a:pt x="376" y="130"/>
                    </a:lnTo>
                    <a:lnTo>
                      <a:pt x="370" y="132"/>
                    </a:lnTo>
                    <a:lnTo>
                      <a:pt x="362" y="134"/>
                    </a:lnTo>
                    <a:lnTo>
                      <a:pt x="358" y="136"/>
                    </a:lnTo>
                    <a:lnTo>
                      <a:pt x="358" y="136"/>
                    </a:lnTo>
                    <a:lnTo>
                      <a:pt x="360" y="134"/>
                    </a:lnTo>
                    <a:lnTo>
                      <a:pt x="362" y="132"/>
                    </a:lnTo>
                    <a:lnTo>
                      <a:pt x="364" y="128"/>
                    </a:lnTo>
                    <a:lnTo>
                      <a:pt x="366" y="128"/>
                    </a:lnTo>
                    <a:lnTo>
                      <a:pt x="366" y="126"/>
                    </a:lnTo>
                    <a:lnTo>
                      <a:pt x="368" y="126"/>
                    </a:lnTo>
                    <a:lnTo>
                      <a:pt x="368" y="126"/>
                    </a:lnTo>
                    <a:lnTo>
                      <a:pt x="370" y="126"/>
                    </a:lnTo>
                    <a:lnTo>
                      <a:pt x="372" y="126"/>
                    </a:lnTo>
                    <a:lnTo>
                      <a:pt x="376" y="124"/>
                    </a:lnTo>
                    <a:lnTo>
                      <a:pt x="380" y="124"/>
                    </a:lnTo>
                    <a:lnTo>
                      <a:pt x="380" y="124"/>
                    </a:lnTo>
                    <a:lnTo>
                      <a:pt x="382" y="124"/>
                    </a:lnTo>
                    <a:lnTo>
                      <a:pt x="382" y="120"/>
                    </a:lnTo>
                    <a:lnTo>
                      <a:pt x="382" y="118"/>
                    </a:lnTo>
                    <a:lnTo>
                      <a:pt x="380" y="114"/>
                    </a:lnTo>
                    <a:lnTo>
                      <a:pt x="380" y="108"/>
                    </a:lnTo>
                    <a:lnTo>
                      <a:pt x="380" y="108"/>
                    </a:lnTo>
                    <a:lnTo>
                      <a:pt x="378" y="106"/>
                    </a:lnTo>
                    <a:lnTo>
                      <a:pt x="376" y="102"/>
                    </a:lnTo>
                    <a:lnTo>
                      <a:pt x="374" y="98"/>
                    </a:lnTo>
                    <a:lnTo>
                      <a:pt x="372" y="96"/>
                    </a:lnTo>
                    <a:lnTo>
                      <a:pt x="372" y="94"/>
                    </a:lnTo>
                    <a:lnTo>
                      <a:pt x="372" y="92"/>
                    </a:lnTo>
                    <a:lnTo>
                      <a:pt x="372" y="92"/>
                    </a:lnTo>
                    <a:lnTo>
                      <a:pt x="372" y="92"/>
                    </a:lnTo>
                    <a:lnTo>
                      <a:pt x="370" y="88"/>
                    </a:lnTo>
                    <a:lnTo>
                      <a:pt x="370" y="88"/>
                    </a:lnTo>
                    <a:lnTo>
                      <a:pt x="370" y="88"/>
                    </a:lnTo>
                    <a:lnTo>
                      <a:pt x="366" y="86"/>
                    </a:lnTo>
                    <a:lnTo>
                      <a:pt x="366" y="86"/>
                    </a:lnTo>
                    <a:lnTo>
                      <a:pt x="366" y="86"/>
                    </a:lnTo>
                    <a:lnTo>
                      <a:pt x="364" y="84"/>
                    </a:lnTo>
                    <a:lnTo>
                      <a:pt x="362" y="84"/>
                    </a:lnTo>
                    <a:lnTo>
                      <a:pt x="360" y="80"/>
                    </a:lnTo>
                    <a:lnTo>
                      <a:pt x="358" y="78"/>
                    </a:lnTo>
                    <a:lnTo>
                      <a:pt x="354" y="76"/>
                    </a:lnTo>
                    <a:lnTo>
                      <a:pt x="352" y="72"/>
                    </a:lnTo>
                    <a:lnTo>
                      <a:pt x="352" y="72"/>
                    </a:lnTo>
                    <a:lnTo>
                      <a:pt x="350" y="72"/>
                    </a:lnTo>
                    <a:lnTo>
                      <a:pt x="346" y="72"/>
                    </a:lnTo>
                    <a:lnTo>
                      <a:pt x="342" y="72"/>
                    </a:lnTo>
                    <a:lnTo>
                      <a:pt x="338" y="72"/>
                    </a:lnTo>
                    <a:lnTo>
                      <a:pt x="334" y="72"/>
                    </a:lnTo>
                    <a:lnTo>
                      <a:pt x="334" y="72"/>
                    </a:lnTo>
                    <a:lnTo>
                      <a:pt x="334" y="72"/>
                    </a:lnTo>
                    <a:lnTo>
                      <a:pt x="330" y="74"/>
                    </a:lnTo>
                    <a:lnTo>
                      <a:pt x="330" y="74"/>
                    </a:lnTo>
                    <a:lnTo>
                      <a:pt x="330" y="74"/>
                    </a:lnTo>
                    <a:lnTo>
                      <a:pt x="328" y="76"/>
                    </a:lnTo>
                    <a:lnTo>
                      <a:pt x="328" y="76"/>
                    </a:lnTo>
                    <a:lnTo>
                      <a:pt x="326" y="76"/>
                    </a:lnTo>
                    <a:lnTo>
                      <a:pt x="324" y="78"/>
                    </a:lnTo>
                    <a:lnTo>
                      <a:pt x="324" y="78"/>
                    </a:lnTo>
                    <a:lnTo>
                      <a:pt x="324" y="78"/>
                    </a:lnTo>
                    <a:lnTo>
                      <a:pt x="322" y="82"/>
                    </a:lnTo>
                    <a:lnTo>
                      <a:pt x="322" y="84"/>
                    </a:lnTo>
                    <a:lnTo>
                      <a:pt x="320" y="84"/>
                    </a:lnTo>
                    <a:lnTo>
                      <a:pt x="316" y="80"/>
                    </a:lnTo>
                    <a:lnTo>
                      <a:pt x="314" y="78"/>
                    </a:lnTo>
                    <a:lnTo>
                      <a:pt x="310" y="74"/>
                    </a:lnTo>
                    <a:lnTo>
                      <a:pt x="308" y="72"/>
                    </a:lnTo>
                    <a:lnTo>
                      <a:pt x="304" y="68"/>
                    </a:lnTo>
                    <a:lnTo>
                      <a:pt x="304" y="68"/>
                    </a:lnTo>
                    <a:lnTo>
                      <a:pt x="304" y="68"/>
                    </a:lnTo>
                    <a:lnTo>
                      <a:pt x="300" y="66"/>
                    </a:lnTo>
                    <a:lnTo>
                      <a:pt x="300" y="66"/>
                    </a:lnTo>
                    <a:lnTo>
                      <a:pt x="300" y="66"/>
                    </a:lnTo>
                    <a:lnTo>
                      <a:pt x="296" y="64"/>
                    </a:lnTo>
                    <a:lnTo>
                      <a:pt x="296" y="64"/>
                    </a:lnTo>
                    <a:lnTo>
                      <a:pt x="296" y="60"/>
                    </a:lnTo>
                    <a:lnTo>
                      <a:pt x="294" y="58"/>
                    </a:lnTo>
                    <a:lnTo>
                      <a:pt x="294" y="58"/>
                    </a:lnTo>
                    <a:lnTo>
                      <a:pt x="294" y="58"/>
                    </a:lnTo>
                    <a:lnTo>
                      <a:pt x="294" y="56"/>
                    </a:lnTo>
                    <a:lnTo>
                      <a:pt x="294" y="56"/>
                    </a:lnTo>
                    <a:lnTo>
                      <a:pt x="294" y="56"/>
                    </a:lnTo>
                    <a:lnTo>
                      <a:pt x="292" y="56"/>
                    </a:lnTo>
                    <a:lnTo>
                      <a:pt x="292" y="56"/>
                    </a:lnTo>
                    <a:lnTo>
                      <a:pt x="292" y="56"/>
                    </a:lnTo>
                    <a:lnTo>
                      <a:pt x="290" y="56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8" y="56"/>
                    </a:lnTo>
                    <a:lnTo>
                      <a:pt x="286" y="58"/>
                    </a:lnTo>
                    <a:lnTo>
                      <a:pt x="284" y="60"/>
                    </a:lnTo>
                    <a:lnTo>
                      <a:pt x="282" y="62"/>
                    </a:lnTo>
                    <a:lnTo>
                      <a:pt x="280" y="62"/>
                    </a:lnTo>
                    <a:lnTo>
                      <a:pt x="274" y="60"/>
                    </a:lnTo>
                    <a:lnTo>
                      <a:pt x="270" y="60"/>
                    </a:lnTo>
                    <a:lnTo>
                      <a:pt x="266" y="58"/>
                    </a:lnTo>
                    <a:lnTo>
                      <a:pt x="266" y="58"/>
                    </a:lnTo>
                    <a:lnTo>
                      <a:pt x="264" y="58"/>
                    </a:lnTo>
                    <a:lnTo>
                      <a:pt x="258" y="62"/>
                    </a:lnTo>
                    <a:lnTo>
                      <a:pt x="254" y="64"/>
                    </a:lnTo>
                    <a:lnTo>
                      <a:pt x="248" y="66"/>
                    </a:lnTo>
                    <a:lnTo>
                      <a:pt x="246" y="68"/>
                    </a:lnTo>
                    <a:lnTo>
                      <a:pt x="242" y="68"/>
                    </a:lnTo>
                    <a:lnTo>
                      <a:pt x="242" y="68"/>
                    </a:lnTo>
                    <a:lnTo>
                      <a:pt x="240" y="70"/>
                    </a:lnTo>
                    <a:lnTo>
                      <a:pt x="240" y="70"/>
                    </a:lnTo>
                    <a:lnTo>
                      <a:pt x="240" y="72"/>
                    </a:lnTo>
                    <a:lnTo>
                      <a:pt x="242" y="74"/>
                    </a:lnTo>
                    <a:lnTo>
                      <a:pt x="242" y="78"/>
                    </a:lnTo>
                    <a:lnTo>
                      <a:pt x="242" y="82"/>
                    </a:lnTo>
                    <a:lnTo>
                      <a:pt x="242" y="86"/>
                    </a:lnTo>
                    <a:lnTo>
                      <a:pt x="242" y="86"/>
                    </a:lnTo>
                    <a:lnTo>
                      <a:pt x="242" y="86"/>
                    </a:lnTo>
                    <a:lnTo>
                      <a:pt x="244" y="88"/>
                    </a:lnTo>
                    <a:lnTo>
                      <a:pt x="244" y="88"/>
                    </a:lnTo>
                    <a:lnTo>
                      <a:pt x="244" y="90"/>
                    </a:lnTo>
                    <a:lnTo>
                      <a:pt x="246" y="90"/>
                    </a:lnTo>
                    <a:lnTo>
                      <a:pt x="246" y="90"/>
                    </a:lnTo>
                    <a:lnTo>
                      <a:pt x="246" y="92"/>
                    </a:lnTo>
                    <a:lnTo>
                      <a:pt x="248" y="92"/>
                    </a:lnTo>
                    <a:lnTo>
                      <a:pt x="248" y="92"/>
                    </a:lnTo>
                    <a:lnTo>
                      <a:pt x="248" y="92"/>
                    </a:lnTo>
                    <a:lnTo>
                      <a:pt x="248" y="92"/>
                    </a:lnTo>
                    <a:lnTo>
                      <a:pt x="250" y="92"/>
                    </a:lnTo>
                    <a:lnTo>
                      <a:pt x="250" y="94"/>
                    </a:lnTo>
                    <a:lnTo>
                      <a:pt x="250" y="96"/>
                    </a:lnTo>
                    <a:lnTo>
                      <a:pt x="250" y="100"/>
                    </a:lnTo>
                    <a:lnTo>
                      <a:pt x="250" y="106"/>
                    </a:lnTo>
                    <a:lnTo>
                      <a:pt x="250" y="112"/>
                    </a:lnTo>
                    <a:lnTo>
                      <a:pt x="248" y="120"/>
                    </a:lnTo>
                    <a:lnTo>
                      <a:pt x="246" y="126"/>
                    </a:lnTo>
                    <a:lnTo>
                      <a:pt x="244" y="128"/>
                    </a:lnTo>
                    <a:lnTo>
                      <a:pt x="242" y="130"/>
                    </a:lnTo>
                    <a:lnTo>
                      <a:pt x="242" y="132"/>
                    </a:lnTo>
                    <a:lnTo>
                      <a:pt x="242" y="132"/>
                    </a:lnTo>
                    <a:lnTo>
                      <a:pt x="240" y="132"/>
                    </a:lnTo>
                    <a:lnTo>
                      <a:pt x="240" y="132"/>
                    </a:lnTo>
                    <a:lnTo>
                      <a:pt x="240" y="136"/>
                    </a:lnTo>
                    <a:lnTo>
                      <a:pt x="240" y="140"/>
                    </a:lnTo>
                    <a:lnTo>
                      <a:pt x="240" y="142"/>
                    </a:lnTo>
                    <a:lnTo>
                      <a:pt x="240" y="144"/>
                    </a:lnTo>
                    <a:lnTo>
                      <a:pt x="240" y="146"/>
                    </a:lnTo>
                    <a:lnTo>
                      <a:pt x="240" y="148"/>
                    </a:lnTo>
                    <a:lnTo>
                      <a:pt x="238" y="150"/>
                    </a:lnTo>
                    <a:lnTo>
                      <a:pt x="236" y="152"/>
                    </a:lnTo>
                    <a:lnTo>
                      <a:pt x="234" y="156"/>
                    </a:lnTo>
                    <a:lnTo>
                      <a:pt x="234" y="156"/>
                    </a:lnTo>
                    <a:lnTo>
                      <a:pt x="234" y="158"/>
                    </a:lnTo>
                    <a:lnTo>
                      <a:pt x="234" y="160"/>
                    </a:lnTo>
                    <a:lnTo>
                      <a:pt x="232" y="162"/>
                    </a:lnTo>
                    <a:lnTo>
                      <a:pt x="232" y="164"/>
                    </a:lnTo>
                    <a:lnTo>
                      <a:pt x="230" y="168"/>
                    </a:lnTo>
                    <a:lnTo>
                      <a:pt x="228" y="170"/>
                    </a:lnTo>
                    <a:lnTo>
                      <a:pt x="226" y="172"/>
                    </a:lnTo>
                    <a:lnTo>
                      <a:pt x="224" y="174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0" y="178"/>
                    </a:lnTo>
                    <a:lnTo>
                      <a:pt x="220" y="178"/>
                    </a:lnTo>
                    <a:lnTo>
                      <a:pt x="220" y="180"/>
                    </a:lnTo>
                    <a:lnTo>
                      <a:pt x="220" y="182"/>
                    </a:lnTo>
                    <a:lnTo>
                      <a:pt x="218" y="184"/>
                    </a:lnTo>
                    <a:lnTo>
                      <a:pt x="218" y="184"/>
                    </a:lnTo>
                    <a:lnTo>
                      <a:pt x="218" y="184"/>
                    </a:lnTo>
                    <a:lnTo>
                      <a:pt x="218" y="188"/>
                    </a:lnTo>
                    <a:lnTo>
                      <a:pt x="218" y="188"/>
                    </a:lnTo>
                    <a:lnTo>
                      <a:pt x="220" y="190"/>
                    </a:lnTo>
                    <a:lnTo>
                      <a:pt x="222" y="190"/>
                    </a:lnTo>
                    <a:lnTo>
                      <a:pt x="226" y="192"/>
                    </a:lnTo>
                    <a:lnTo>
                      <a:pt x="232" y="192"/>
                    </a:lnTo>
                    <a:lnTo>
                      <a:pt x="236" y="192"/>
                    </a:lnTo>
                    <a:lnTo>
                      <a:pt x="242" y="192"/>
                    </a:lnTo>
                    <a:lnTo>
                      <a:pt x="242" y="192"/>
                    </a:lnTo>
                    <a:lnTo>
                      <a:pt x="242" y="194"/>
                    </a:lnTo>
                    <a:lnTo>
                      <a:pt x="242" y="194"/>
                    </a:lnTo>
                    <a:lnTo>
                      <a:pt x="244" y="196"/>
                    </a:lnTo>
                    <a:lnTo>
                      <a:pt x="246" y="200"/>
                    </a:lnTo>
                    <a:lnTo>
                      <a:pt x="246" y="200"/>
                    </a:lnTo>
                    <a:lnTo>
                      <a:pt x="246" y="200"/>
                    </a:lnTo>
                    <a:lnTo>
                      <a:pt x="248" y="202"/>
                    </a:lnTo>
                    <a:lnTo>
                      <a:pt x="248" y="202"/>
                    </a:lnTo>
                    <a:lnTo>
                      <a:pt x="248" y="202"/>
                    </a:lnTo>
                    <a:lnTo>
                      <a:pt x="252" y="204"/>
                    </a:lnTo>
                    <a:lnTo>
                      <a:pt x="252" y="204"/>
                    </a:lnTo>
                    <a:lnTo>
                      <a:pt x="252" y="204"/>
                    </a:lnTo>
                    <a:lnTo>
                      <a:pt x="254" y="204"/>
                    </a:lnTo>
                    <a:lnTo>
                      <a:pt x="254" y="204"/>
                    </a:lnTo>
                    <a:lnTo>
                      <a:pt x="254" y="204"/>
                    </a:lnTo>
                    <a:lnTo>
                      <a:pt x="254" y="204"/>
                    </a:lnTo>
                    <a:lnTo>
                      <a:pt x="256" y="206"/>
                    </a:lnTo>
                    <a:lnTo>
                      <a:pt x="256" y="210"/>
                    </a:lnTo>
                    <a:lnTo>
                      <a:pt x="258" y="216"/>
                    </a:lnTo>
                    <a:lnTo>
                      <a:pt x="260" y="220"/>
                    </a:lnTo>
                    <a:lnTo>
                      <a:pt x="262" y="224"/>
                    </a:lnTo>
                    <a:lnTo>
                      <a:pt x="262" y="224"/>
                    </a:lnTo>
                    <a:lnTo>
                      <a:pt x="262" y="224"/>
                    </a:lnTo>
                    <a:lnTo>
                      <a:pt x="264" y="226"/>
                    </a:lnTo>
                    <a:lnTo>
                      <a:pt x="264" y="226"/>
                    </a:lnTo>
                    <a:lnTo>
                      <a:pt x="264" y="228"/>
                    </a:lnTo>
                    <a:lnTo>
                      <a:pt x="266" y="230"/>
                    </a:lnTo>
                    <a:lnTo>
                      <a:pt x="266" y="230"/>
                    </a:lnTo>
                    <a:lnTo>
                      <a:pt x="270" y="230"/>
                    </a:lnTo>
                    <a:lnTo>
                      <a:pt x="272" y="230"/>
                    </a:lnTo>
                    <a:lnTo>
                      <a:pt x="276" y="228"/>
                    </a:lnTo>
                    <a:lnTo>
                      <a:pt x="278" y="228"/>
                    </a:lnTo>
                    <a:lnTo>
                      <a:pt x="280" y="226"/>
                    </a:lnTo>
                    <a:lnTo>
                      <a:pt x="280" y="226"/>
                    </a:lnTo>
                    <a:lnTo>
                      <a:pt x="280" y="226"/>
                    </a:lnTo>
                    <a:lnTo>
                      <a:pt x="282" y="224"/>
                    </a:lnTo>
                    <a:lnTo>
                      <a:pt x="284" y="220"/>
                    </a:lnTo>
                    <a:lnTo>
                      <a:pt x="286" y="218"/>
                    </a:lnTo>
                    <a:lnTo>
                      <a:pt x="290" y="216"/>
                    </a:lnTo>
                    <a:lnTo>
                      <a:pt x="290" y="216"/>
                    </a:lnTo>
                    <a:lnTo>
                      <a:pt x="294" y="214"/>
                    </a:lnTo>
                    <a:lnTo>
                      <a:pt x="296" y="214"/>
                    </a:lnTo>
                    <a:lnTo>
                      <a:pt x="298" y="214"/>
                    </a:lnTo>
                    <a:lnTo>
                      <a:pt x="298" y="214"/>
                    </a:lnTo>
                    <a:lnTo>
                      <a:pt x="300" y="212"/>
                    </a:lnTo>
                    <a:lnTo>
                      <a:pt x="302" y="210"/>
                    </a:lnTo>
                    <a:lnTo>
                      <a:pt x="302" y="210"/>
                    </a:lnTo>
                    <a:lnTo>
                      <a:pt x="304" y="210"/>
                    </a:lnTo>
                    <a:lnTo>
                      <a:pt x="304" y="208"/>
                    </a:lnTo>
                    <a:lnTo>
                      <a:pt x="304" y="208"/>
                    </a:lnTo>
                    <a:lnTo>
                      <a:pt x="304" y="206"/>
                    </a:lnTo>
                    <a:lnTo>
                      <a:pt x="306" y="204"/>
                    </a:lnTo>
                    <a:lnTo>
                      <a:pt x="306" y="204"/>
                    </a:lnTo>
                    <a:lnTo>
                      <a:pt x="306" y="204"/>
                    </a:lnTo>
                    <a:lnTo>
                      <a:pt x="306" y="202"/>
                    </a:lnTo>
                    <a:lnTo>
                      <a:pt x="306" y="202"/>
                    </a:lnTo>
                    <a:lnTo>
                      <a:pt x="306" y="200"/>
                    </a:lnTo>
                    <a:lnTo>
                      <a:pt x="308" y="196"/>
                    </a:lnTo>
                    <a:lnTo>
                      <a:pt x="308" y="192"/>
                    </a:lnTo>
                    <a:lnTo>
                      <a:pt x="308" y="188"/>
                    </a:lnTo>
                    <a:lnTo>
                      <a:pt x="308" y="188"/>
                    </a:lnTo>
                    <a:lnTo>
                      <a:pt x="308" y="186"/>
                    </a:lnTo>
                    <a:lnTo>
                      <a:pt x="310" y="186"/>
                    </a:lnTo>
                    <a:lnTo>
                      <a:pt x="312" y="184"/>
                    </a:lnTo>
                    <a:lnTo>
                      <a:pt x="316" y="184"/>
                    </a:lnTo>
                    <a:lnTo>
                      <a:pt x="320" y="184"/>
                    </a:lnTo>
                    <a:lnTo>
                      <a:pt x="320" y="184"/>
                    </a:lnTo>
                    <a:lnTo>
                      <a:pt x="320" y="184"/>
                    </a:lnTo>
                    <a:lnTo>
                      <a:pt x="322" y="182"/>
                    </a:lnTo>
                    <a:lnTo>
                      <a:pt x="322" y="178"/>
                    </a:lnTo>
                    <a:lnTo>
                      <a:pt x="322" y="176"/>
                    </a:lnTo>
                    <a:lnTo>
                      <a:pt x="324" y="170"/>
                    </a:lnTo>
                    <a:lnTo>
                      <a:pt x="324" y="166"/>
                    </a:lnTo>
                    <a:lnTo>
                      <a:pt x="324" y="164"/>
                    </a:lnTo>
                    <a:lnTo>
                      <a:pt x="324" y="162"/>
                    </a:lnTo>
                    <a:lnTo>
                      <a:pt x="326" y="160"/>
                    </a:lnTo>
                    <a:lnTo>
                      <a:pt x="326" y="160"/>
                    </a:lnTo>
                    <a:lnTo>
                      <a:pt x="328" y="158"/>
                    </a:lnTo>
                    <a:lnTo>
                      <a:pt x="330" y="156"/>
                    </a:lnTo>
                    <a:lnTo>
                      <a:pt x="332" y="156"/>
                    </a:lnTo>
                    <a:lnTo>
                      <a:pt x="338" y="152"/>
                    </a:lnTo>
                    <a:lnTo>
                      <a:pt x="340" y="150"/>
                    </a:lnTo>
                    <a:lnTo>
                      <a:pt x="342" y="150"/>
                    </a:lnTo>
                    <a:lnTo>
                      <a:pt x="342" y="150"/>
                    </a:lnTo>
                    <a:lnTo>
                      <a:pt x="344" y="148"/>
                    </a:lnTo>
                    <a:lnTo>
                      <a:pt x="344" y="146"/>
                    </a:lnTo>
                    <a:lnTo>
                      <a:pt x="346" y="144"/>
                    </a:lnTo>
                    <a:lnTo>
                      <a:pt x="348" y="140"/>
                    </a:lnTo>
                    <a:lnTo>
                      <a:pt x="348" y="140"/>
                    </a:lnTo>
                    <a:lnTo>
                      <a:pt x="350" y="140"/>
                    </a:lnTo>
                    <a:lnTo>
                      <a:pt x="350" y="140"/>
                    </a:lnTo>
                    <a:lnTo>
                      <a:pt x="350" y="140"/>
                    </a:lnTo>
                    <a:lnTo>
                      <a:pt x="350" y="140"/>
                    </a:lnTo>
                    <a:lnTo>
                      <a:pt x="346" y="142"/>
                    </a:lnTo>
                    <a:lnTo>
                      <a:pt x="346" y="142"/>
                    </a:lnTo>
                    <a:lnTo>
                      <a:pt x="346" y="142"/>
                    </a:lnTo>
                    <a:lnTo>
                      <a:pt x="346" y="146"/>
                    </a:lnTo>
                    <a:lnTo>
                      <a:pt x="344" y="150"/>
                    </a:lnTo>
                    <a:lnTo>
                      <a:pt x="342" y="152"/>
                    </a:lnTo>
                    <a:lnTo>
                      <a:pt x="342" y="154"/>
                    </a:lnTo>
                    <a:lnTo>
                      <a:pt x="340" y="156"/>
                    </a:lnTo>
                    <a:lnTo>
                      <a:pt x="338" y="158"/>
                    </a:lnTo>
                    <a:lnTo>
                      <a:pt x="338" y="158"/>
                    </a:lnTo>
                    <a:lnTo>
                      <a:pt x="336" y="158"/>
                    </a:lnTo>
                    <a:lnTo>
                      <a:pt x="336" y="158"/>
                    </a:lnTo>
                    <a:lnTo>
                      <a:pt x="336" y="158"/>
                    </a:lnTo>
                    <a:lnTo>
                      <a:pt x="334" y="160"/>
                    </a:lnTo>
                    <a:lnTo>
                      <a:pt x="334" y="160"/>
                    </a:lnTo>
                    <a:lnTo>
                      <a:pt x="334" y="160"/>
                    </a:lnTo>
                    <a:lnTo>
                      <a:pt x="332" y="162"/>
                    </a:lnTo>
                    <a:lnTo>
                      <a:pt x="332" y="162"/>
                    </a:lnTo>
                    <a:lnTo>
                      <a:pt x="332" y="164"/>
                    </a:lnTo>
                    <a:lnTo>
                      <a:pt x="332" y="164"/>
                    </a:lnTo>
                    <a:lnTo>
                      <a:pt x="332" y="164"/>
                    </a:lnTo>
                    <a:lnTo>
                      <a:pt x="330" y="166"/>
                    </a:lnTo>
                    <a:lnTo>
                      <a:pt x="330" y="168"/>
                    </a:lnTo>
                    <a:lnTo>
                      <a:pt x="330" y="168"/>
                    </a:lnTo>
                    <a:lnTo>
                      <a:pt x="332" y="168"/>
                    </a:lnTo>
                    <a:lnTo>
                      <a:pt x="332" y="170"/>
                    </a:lnTo>
                    <a:lnTo>
                      <a:pt x="332" y="170"/>
                    </a:lnTo>
                    <a:lnTo>
                      <a:pt x="332" y="170"/>
                    </a:lnTo>
                    <a:lnTo>
                      <a:pt x="334" y="172"/>
                    </a:lnTo>
                    <a:lnTo>
                      <a:pt x="334" y="172"/>
                    </a:lnTo>
                    <a:lnTo>
                      <a:pt x="334" y="172"/>
                    </a:lnTo>
                    <a:lnTo>
                      <a:pt x="336" y="174"/>
                    </a:lnTo>
                    <a:lnTo>
                      <a:pt x="336" y="174"/>
                    </a:lnTo>
                    <a:lnTo>
                      <a:pt x="332" y="178"/>
                    </a:lnTo>
                    <a:lnTo>
                      <a:pt x="330" y="180"/>
                    </a:lnTo>
                    <a:lnTo>
                      <a:pt x="328" y="184"/>
                    </a:lnTo>
                    <a:lnTo>
                      <a:pt x="328" y="184"/>
                    </a:lnTo>
                    <a:lnTo>
                      <a:pt x="326" y="184"/>
                    </a:lnTo>
                    <a:lnTo>
                      <a:pt x="326" y="188"/>
                    </a:lnTo>
                    <a:lnTo>
                      <a:pt x="326" y="190"/>
                    </a:lnTo>
                    <a:lnTo>
                      <a:pt x="324" y="192"/>
                    </a:lnTo>
                    <a:lnTo>
                      <a:pt x="322" y="196"/>
                    </a:lnTo>
                    <a:lnTo>
                      <a:pt x="322" y="198"/>
                    </a:lnTo>
                    <a:lnTo>
                      <a:pt x="320" y="200"/>
                    </a:lnTo>
                    <a:lnTo>
                      <a:pt x="320" y="200"/>
                    </a:lnTo>
                    <a:lnTo>
                      <a:pt x="320" y="202"/>
                    </a:lnTo>
                    <a:lnTo>
                      <a:pt x="320" y="204"/>
                    </a:lnTo>
                    <a:lnTo>
                      <a:pt x="322" y="206"/>
                    </a:lnTo>
                    <a:lnTo>
                      <a:pt x="324" y="208"/>
                    </a:lnTo>
                    <a:lnTo>
                      <a:pt x="326" y="208"/>
                    </a:lnTo>
                    <a:lnTo>
                      <a:pt x="328" y="208"/>
                    </a:lnTo>
                    <a:lnTo>
                      <a:pt x="328" y="208"/>
                    </a:lnTo>
                    <a:lnTo>
                      <a:pt x="328" y="210"/>
                    </a:lnTo>
                    <a:lnTo>
                      <a:pt x="330" y="210"/>
                    </a:lnTo>
                    <a:lnTo>
                      <a:pt x="330" y="210"/>
                    </a:lnTo>
                    <a:lnTo>
                      <a:pt x="332" y="210"/>
                    </a:lnTo>
                    <a:lnTo>
                      <a:pt x="334" y="210"/>
                    </a:lnTo>
                    <a:lnTo>
                      <a:pt x="336" y="208"/>
                    </a:lnTo>
                    <a:lnTo>
                      <a:pt x="338" y="208"/>
                    </a:lnTo>
                    <a:lnTo>
                      <a:pt x="340" y="208"/>
                    </a:lnTo>
                    <a:lnTo>
                      <a:pt x="344" y="208"/>
                    </a:lnTo>
                    <a:lnTo>
                      <a:pt x="348" y="208"/>
                    </a:lnTo>
                    <a:lnTo>
                      <a:pt x="352" y="208"/>
                    </a:lnTo>
                    <a:lnTo>
                      <a:pt x="360" y="208"/>
                    </a:lnTo>
                    <a:lnTo>
                      <a:pt x="366" y="208"/>
                    </a:lnTo>
                    <a:lnTo>
                      <a:pt x="370" y="208"/>
                    </a:lnTo>
                    <a:lnTo>
                      <a:pt x="372" y="210"/>
                    </a:lnTo>
                    <a:lnTo>
                      <a:pt x="376" y="210"/>
                    </a:lnTo>
                    <a:lnTo>
                      <a:pt x="374" y="210"/>
                    </a:lnTo>
                    <a:lnTo>
                      <a:pt x="372" y="210"/>
                    </a:lnTo>
                    <a:lnTo>
                      <a:pt x="368" y="214"/>
                    </a:lnTo>
                    <a:lnTo>
                      <a:pt x="364" y="216"/>
                    </a:lnTo>
                    <a:lnTo>
                      <a:pt x="358" y="218"/>
                    </a:lnTo>
                    <a:lnTo>
                      <a:pt x="354" y="220"/>
                    </a:lnTo>
                    <a:lnTo>
                      <a:pt x="352" y="222"/>
                    </a:lnTo>
                    <a:lnTo>
                      <a:pt x="348" y="222"/>
                    </a:lnTo>
                    <a:lnTo>
                      <a:pt x="344" y="222"/>
                    </a:lnTo>
                    <a:lnTo>
                      <a:pt x="340" y="222"/>
                    </a:lnTo>
                    <a:lnTo>
                      <a:pt x="340" y="222"/>
                    </a:lnTo>
                    <a:lnTo>
                      <a:pt x="338" y="224"/>
                    </a:lnTo>
                    <a:lnTo>
                      <a:pt x="336" y="224"/>
                    </a:lnTo>
                    <a:lnTo>
                      <a:pt x="336" y="224"/>
                    </a:lnTo>
                    <a:lnTo>
                      <a:pt x="336" y="224"/>
                    </a:lnTo>
                    <a:lnTo>
                      <a:pt x="334" y="226"/>
                    </a:lnTo>
                    <a:lnTo>
                      <a:pt x="334" y="226"/>
                    </a:lnTo>
                    <a:lnTo>
                      <a:pt x="334" y="226"/>
                    </a:lnTo>
                    <a:lnTo>
                      <a:pt x="330" y="230"/>
                    </a:lnTo>
                    <a:lnTo>
                      <a:pt x="330" y="230"/>
                    </a:lnTo>
                    <a:lnTo>
                      <a:pt x="330" y="230"/>
                    </a:lnTo>
                    <a:lnTo>
                      <a:pt x="328" y="232"/>
                    </a:lnTo>
                    <a:lnTo>
                      <a:pt x="328" y="232"/>
                    </a:lnTo>
                    <a:lnTo>
                      <a:pt x="328" y="234"/>
                    </a:lnTo>
                    <a:lnTo>
                      <a:pt x="328" y="236"/>
                    </a:lnTo>
                    <a:lnTo>
                      <a:pt x="328" y="236"/>
                    </a:lnTo>
                    <a:lnTo>
                      <a:pt x="328" y="236"/>
                    </a:lnTo>
                    <a:lnTo>
                      <a:pt x="328" y="240"/>
                    </a:lnTo>
                    <a:lnTo>
                      <a:pt x="328" y="240"/>
                    </a:lnTo>
                    <a:lnTo>
                      <a:pt x="328" y="240"/>
                    </a:lnTo>
                    <a:lnTo>
                      <a:pt x="328" y="242"/>
                    </a:lnTo>
                    <a:lnTo>
                      <a:pt x="328" y="242"/>
                    </a:lnTo>
                    <a:lnTo>
                      <a:pt x="328" y="242"/>
                    </a:lnTo>
                    <a:lnTo>
                      <a:pt x="330" y="244"/>
                    </a:lnTo>
                    <a:lnTo>
                      <a:pt x="330" y="244"/>
                    </a:lnTo>
                    <a:lnTo>
                      <a:pt x="330" y="244"/>
                    </a:lnTo>
                    <a:lnTo>
                      <a:pt x="330" y="244"/>
                    </a:lnTo>
                    <a:lnTo>
                      <a:pt x="330" y="244"/>
                    </a:lnTo>
                    <a:lnTo>
                      <a:pt x="332" y="246"/>
                    </a:lnTo>
                    <a:lnTo>
                      <a:pt x="332" y="246"/>
                    </a:lnTo>
                    <a:lnTo>
                      <a:pt x="336" y="246"/>
                    </a:lnTo>
                    <a:lnTo>
                      <a:pt x="340" y="248"/>
                    </a:lnTo>
                    <a:lnTo>
                      <a:pt x="348" y="248"/>
                    </a:lnTo>
                    <a:lnTo>
                      <a:pt x="354" y="248"/>
                    </a:lnTo>
                    <a:lnTo>
                      <a:pt x="360" y="248"/>
                    </a:lnTo>
                    <a:lnTo>
                      <a:pt x="360" y="248"/>
                    </a:lnTo>
                    <a:lnTo>
                      <a:pt x="364" y="248"/>
                    </a:lnTo>
                    <a:lnTo>
                      <a:pt x="374" y="250"/>
                    </a:lnTo>
                    <a:lnTo>
                      <a:pt x="380" y="252"/>
                    </a:lnTo>
                    <a:lnTo>
                      <a:pt x="380" y="252"/>
                    </a:lnTo>
                    <a:lnTo>
                      <a:pt x="380" y="252"/>
                    </a:lnTo>
                    <a:lnTo>
                      <a:pt x="384" y="252"/>
                    </a:lnTo>
                    <a:lnTo>
                      <a:pt x="388" y="252"/>
                    </a:lnTo>
                    <a:lnTo>
                      <a:pt x="392" y="252"/>
                    </a:lnTo>
                    <a:lnTo>
                      <a:pt x="398" y="250"/>
                    </a:lnTo>
                    <a:lnTo>
                      <a:pt x="402" y="250"/>
                    </a:lnTo>
                    <a:lnTo>
                      <a:pt x="408" y="250"/>
                    </a:lnTo>
                    <a:lnTo>
                      <a:pt x="412" y="250"/>
                    </a:lnTo>
                    <a:lnTo>
                      <a:pt x="416" y="250"/>
                    </a:lnTo>
                    <a:lnTo>
                      <a:pt x="418" y="250"/>
                    </a:lnTo>
                    <a:lnTo>
                      <a:pt x="422" y="250"/>
                    </a:lnTo>
                    <a:lnTo>
                      <a:pt x="426" y="250"/>
                    </a:lnTo>
                    <a:lnTo>
                      <a:pt x="428" y="252"/>
                    </a:lnTo>
                    <a:lnTo>
                      <a:pt x="428" y="252"/>
                    </a:lnTo>
                    <a:lnTo>
                      <a:pt x="428" y="254"/>
                    </a:lnTo>
                    <a:lnTo>
                      <a:pt x="430" y="256"/>
                    </a:lnTo>
                    <a:lnTo>
                      <a:pt x="430" y="256"/>
                    </a:lnTo>
                    <a:lnTo>
                      <a:pt x="430" y="256"/>
                    </a:lnTo>
                    <a:lnTo>
                      <a:pt x="434" y="258"/>
                    </a:lnTo>
                    <a:lnTo>
                      <a:pt x="434" y="258"/>
                    </a:lnTo>
                    <a:lnTo>
                      <a:pt x="434" y="260"/>
                    </a:lnTo>
                    <a:lnTo>
                      <a:pt x="434" y="260"/>
                    </a:lnTo>
                    <a:lnTo>
                      <a:pt x="432" y="262"/>
                    </a:lnTo>
                    <a:lnTo>
                      <a:pt x="432" y="262"/>
                    </a:lnTo>
                    <a:lnTo>
                      <a:pt x="430" y="264"/>
                    </a:lnTo>
                    <a:lnTo>
                      <a:pt x="428" y="264"/>
                    </a:lnTo>
                    <a:lnTo>
                      <a:pt x="428" y="264"/>
                    </a:lnTo>
                    <a:lnTo>
                      <a:pt x="424" y="264"/>
                    </a:lnTo>
                    <a:lnTo>
                      <a:pt x="418" y="264"/>
                    </a:lnTo>
                    <a:lnTo>
                      <a:pt x="414" y="262"/>
                    </a:lnTo>
                    <a:lnTo>
                      <a:pt x="408" y="260"/>
                    </a:lnTo>
                    <a:lnTo>
                      <a:pt x="404" y="260"/>
                    </a:lnTo>
                    <a:lnTo>
                      <a:pt x="400" y="258"/>
                    </a:lnTo>
                    <a:lnTo>
                      <a:pt x="396" y="258"/>
                    </a:lnTo>
                    <a:lnTo>
                      <a:pt x="390" y="258"/>
                    </a:lnTo>
                    <a:lnTo>
                      <a:pt x="386" y="256"/>
                    </a:lnTo>
                    <a:lnTo>
                      <a:pt x="382" y="258"/>
                    </a:lnTo>
                    <a:lnTo>
                      <a:pt x="378" y="258"/>
                    </a:lnTo>
                    <a:lnTo>
                      <a:pt x="374" y="258"/>
                    </a:lnTo>
                    <a:lnTo>
                      <a:pt x="374" y="258"/>
                    </a:lnTo>
                    <a:lnTo>
                      <a:pt x="372" y="258"/>
                    </a:lnTo>
                    <a:lnTo>
                      <a:pt x="368" y="260"/>
                    </a:lnTo>
                    <a:lnTo>
                      <a:pt x="364" y="264"/>
                    </a:lnTo>
                    <a:lnTo>
                      <a:pt x="360" y="266"/>
                    </a:lnTo>
                    <a:lnTo>
                      <a:pt x="358" y="266"/>
                    </a:lnTo>
                    <a:lnTo>
                      <a:pt x="356" y="266"/>
                    </a:lnTo>
                    <a:lnTo>
                      <a:pt x="356" y="266"/>
                    </a:lnTo>
                    <a:lnTo>
                      <a:pt x="354" y="268"/>
                    </a:lnTo>
                    <a:lnTo>
                      <a:pt x="352" y="268"/>
                    </a:lnTo>
                    <a:lnTo>
                      <a:pt x="350" y="270"/>
                    </a:lnTo>
                    <a:lnTo>
                      <a:pt x="350" y="270"/>
                    </a:lnTo>
                    <a:lnTo>
                      <a:pt x="350" y="270"/>
                    </a:lnTo>
                    <a:lnTo>
                      <a:pt x="348" y="274"/>
                    </a:lnTo>
                    <a:lnTo>
                      <a:pt x="348" y="274"/>
                    </a:lnTo>
                    <a:lnTo>
                      <a:pt x="348" y="274"/>
                    </a:lnTo>
                    <a:lnTo>
                      <a:pt x="348" y="276"/>
                    </a:lnTo>
                    <a:lnTo>
                      <a:pt x="348" y="276"/>
                    </a:lnTo>
                    <a:lnTo>
                      <a:pt x="348" y="278"/>
                    </a:lnTo>
                    <a:lnTo>
                      <a:pt x="348" y="280"/>
                    </a:lnTo>
                    <a:lnTo>
                      <a:pt x="348" y="280"/>
                    </a:lnTo>
                    <a:lnTo>
                      <a:pt x="348" y="280"/>
                    </a:lnTo>
                    <a:lnTo>
                      <a:pt x="350" y="282"/>
                    </a:lnTo>
                    <a:lnTo>
                      <a:pt x="352" y="286"/>
                    </a:lnTo>
                    <a:lnTo>
                      <a:pt x="354" y="288"/>
                    </a:lnTo>
                    <a:lnTo>
                      <a:pt x="356" y="292"/>
                    </a:lnTo>
                    <a:lnTo>
                      <a:pt x="356" y="292"/>
                    </a:lnTo>
                    <a:lnTo>
                      <a:pt x="358" y="292"/>
                    </a:lnTo>
                    <a:lnTo>
                      <a:pt x="360" y="292"/>
                    </a:lnTo>
                    <a:lnTo>
                      <a:pt x="362" y="292"/>
                    </a:lnTo>
                    <a:lnTo>
                      <a:pt x="362" y="292"/>
                    </a:lnTo>
                    <a:lnTo>
                      <a:pt x="362" y="294"/>
                    </a:lnTo>
                    <a:lnTo>
                      <a:pt x="362" y="294"/>
                    </a:lnTo>
                    <a:lnTo>
                      <a:pt x="362" y="296"/>
                    </a:lnTo>
                    <a:lnTo>
                      <a:pt x="362" y="298"/>
                    </a:lnTo>
                    <a:lnTo>
                      <a:pt x="362" y="298"/>
                    </a:lnTo>
                    <a:lnTo>
                      <a:pt x="364" y="298"/>
                    </a:lnTo>
                    <a:lnTo>
                      <a:pt x="364" y="300"/>
                    </a:lnTo>
                    <a:lnTo>
                      <a:pt x="364" y="300"/>
                    </a:lnTo>
                    <a:lnTo>
                      <a:pt x="366" y="300"/>
                    </a:lnTo>
                    <a:lnTo>
                      <a:pt x="370" y="302"/>
                    </a:lnTo>
                    <a:lnTo>
                      <a:pt x="370" y="302"/>
                    </a:lnTo>
                    <a:lnTo>
                      <a:pt x="370" y="302"/>
                    </a:lnTo>
                    <a:lnTo>
                      <a:pt x="374" y="304"/>
                    </a:lnTo>
                    <a:lnTo>
                      <a:pt x="378" y="304"/>
                    </a:lnTo>
                    <a:lnTo>
                      <a:pt x="384" y="304"/>
                    </a:lnTo>
                    <a:lnTo>
                      <a:pt x="390" y="304"/>
                    </a:lnTo>
                    <a:lnTo>
                      <a:pt x="394" y="306"/>
                    </a:lnTo>
                    <a:lnTo>
                      <a:pt x="400" y="306"/>
                    </a:lnTo>
                    <a:lnTo>
                      <a:pt x="402" y="306"/>
                    </a:lnTo>
                    <a:lnTo>
                      <a:pt x="402" y="308"/>
                    </a:lnTo>
                    <a:lnTo>
                      <a:pt x="404" y="310"/>
                    </a:lnTo>
                    <a:lnTo>
                      <a:pt x="404" y="312"/>
                    </a:lnTo>
                    <a:lnTo>
                      <a:pt x="404" y="312"/>
                    </a:lnTo>
                    <a:lnTo>
                      <a:pt x="404" y="314"/>
                    </a:lnTo>
                    <a:lnTo>
                      <a:pt x="404" y="314"/>
                    </a:lnTo>
                    <a:lnTo>
                      <a:pt x="402" y="316"/>
                    </a:lnTo>
                    <a:lnTo>
                      <a:pt x="400" y="320"/>
                    </a:lnTo>
                    <a:lnTo>
                      <a:pt x="400" y="320"/>
                    </a:lnTo>
                    <a:lnTo>
                      <a:pt x="400" y="320"/>
                    </a:lnTo>
                    <a:lnTo>
                      <a:pt x="400" y="322"/>
                    </a:lnTo>
                    <a:lnTo>
                      <a:pt x="398" y="320"/>
                    </a:lnTo>
                    <a:lnTo>
                      <a:pt x="392" y="320"/>
                    </a:lnTo>
                    <a:lnTo>
                      <a:pt x="386" y="318"/>
                    </a:lnTo>
                    <a:lnTo>
                      <a:pt x="380" y="316"/>
                    </a:lnTo>
                    <a:lnTo>
                      <a:pt x="374" y="316"/>
                    </a:lnTo>
                    <a:lnTo>
                      <a:pt x="368" y="314"/>
                    </a:lnTo>
                    <a:lnTo>
                      <a:pt x="358" y="312"/>
                    </a:lnTo>
                    <a:lnTo>
                      <a:pt x="350" y="310"/>
                    </a:lnTo>
                    <a:lnTo>
                      <a:pt x="342" y="308"/>
                    </a:lnTo>
                    <a:lnTo>
                      <a:pt x="338" y="306"/>
                    </a:lnTo>
                    <a:lnTo>
                      <a:pt x="332" y="304"/>
                    </a:lnTo>
                    <a:lnTo>
                      <a:pt x="328" y="304"/>
                    </a:lnTo>
                    <a:lnTo>
                      <a:pt x="322" y="300"/>
                    </a:lnTo>
                    <a:lnTo>
                      <a:pt x="310" y="296"/>
                    </a:lnTo>
                    <a:lnTo>
                      <a:pt x="304" y="294"/>
                    </a:lnTo>
                    <a:lnTo>
                      <a:pt x="298" y="290"/>
                    </a:lnTo>
                    <a:lnTo>
                      <a:pt x="292" y="288"/>
                    </a:lnTo>
                    <a:lnTo>
                      <a:pt x="288" y="286"/>
                    </a:lnTo>
                    <a:lnTo>
                      <a:pt x="286" y="284"/>
                    </a:lnTo>
                    <a:lnTo>
                      <a:pt x="284" y="282"/>
                    </a:lnTo>
                    <a:lnTo>
                      <a:pt x="282" y="282"/>
                    </a:lnTo>
                    <a:lnTo>
                      <a:pt x="280" y="280"/>
                    </a:lnTo>
                    <a:lnTo>
                      <a:pt x="278" y="278"/>
                    </a:lnTo>
                    <a:lnTo>
                      <a:pt x="278" y="278"/>
                    </a:lnTo>
                    <a:lnTo>
                      <a:pt x="278" y="278"/>
                    </a:lnTo>
                    <a:lnTo>
                      <a:pt x="278" y="278"/>
                    </a:lnTo>
                    <a:lnTo>
                      <a:pt x="278" y="278"/>
                    </a:lnTo>
                    <a:lnTo>
                      <a:pt x="276" y="278"/>
                    </a:lnTo>
                    <a:lnTo>
                      <a:pt x="276" y="276"/>
                    </a:lnTo>
                    <a:lnTo>
                      <a:pt x="276" y="276"/>
                    </a:lnTo>
                    <a:lnTo>
                      <a:pt x="274" y="276"/>
                    </a:lnTo>
                    <a:lnTo>
                      <a:pt x="272" y="278"/>
                    </a:lnTo>
                    <a:lnTo>
                      <a:pt x="272" y="278"/>
                    </a:lnTo>
                    <a:lnTo>
                      <a:pt x="272" y="278"/>
                    </a:lnTo>
                    <a:lnTo>
                      <a:pt x="270" y="280"/>
                    </a:lnTo>
                    <a:lnTo>
                      <a:pt x="270" y="280"/>
                    </a:lnTo>
                    <a:lnTo>
                      <a:pt x="270" y="280"/>
                    </a:lnTo>
                    <a:lnTo>
                      <a:pt x="268" y="282"/>
                    </a:lnTo>
                    <a:lnTo>
                      <a:pt x="268" y="286"/>
                    </a:lnTo>
                    <a:lnTo>
                      <a:pt x="266" y="288"/>
                    </a:lnTo>
                    <a:lnTo>
                      <a:pt x="264" y="292"/>
                    </a:lnTo>
                    <a:lnTo>
                      <a:pt x="264" y="294"/>
                    </a:lnTo>
                    <a:lnTo>
                      <a:pt x="262" y="296"/>
                    </a:lnTo>
                    <a:lnTo>
                      <a:pt x="262" y="296"/>
                    </a:lnTo>
                    <a:lnTo>
                      <a:pt x="260" y="296"/>
                    </a:lnTo>
                    <a:lnTo>
                      <a:pt x="258" y="298"/>
                    </a:lnTo>
                    <a:lnTo>
                      <a:pt x="256" y="298"/>
                    </a:lnTo>
                    <a:lnTo>
                      <a:pt x="254" y="298"/>
                    </a:lnTo>
                    <a:lnTo>
                      <a:pt x="252" y="298"/>
                    </a:lnTo>
                    <a:lnTo>
                      <a:pt x="250" y="296"/>
                    </a:lnTo>
                    <a:lnTo>
                      <a:pt x="248" y="296"/>
                    </a:lnTo>
                    <a:lnTo>
                      <a:pt x="248" y="294"/>
                    </a:lnTo>
                    <a:lnTo>
                      <a:pt x="248" y="294"/>
                    </a:lnTo>
                    <a:lnTo>
                      <a:pt x="248" y="290"/>
                    </a:lnTo>
                    <a:lnTo>
                      <a:pt x="250" y="286"/>
                    </a:lnTo>
                    <a:lnTo>
                      <a:pt x="252" y="280"/>
                    </a:lnTo>
                    <a:lnTo>
                      <a:pt x="252" y="276"/>
                    </a:lnTo>
                    <a:lnTo>
                      <a:pt x="254" y="270"/>
                    </a:lnTo>
                    <a:lnTo>
                      <a:pt x="254" y="266"/>
                    </a:lnTo>
                    <a:lnTo>
                      <a:pt x="256" y="264"/>
                    </a:lnTo>
                    <a:lnTo>
                      <a:pt x="256" y="264"/>
                    </a:lnTo>
                    <a:lnTo>
                      <a:pt x="256" y="262"/>
                    </a:lnTo>
                    <a:lnTo>
                      <a:pt x="256" y="260"/>
                    </a:lnTo>
                    <a:lnTo>
                      <a:pt x="256" y="260"/>
                    </a:lnTo>
                    <a:lnTo>
                      <a:pt x="254" y="260"/>
                    </a:lnTo>
                    <a:lnTo>
                      <a:pt x="254" y="258"/>
                    </a:lnTo>
                    <a:lnTo>
                      <a:pt x="254" y="258"/>
                    </a:lnTo>
                    <a:lnTo>
                      <a:pt x="254" y="258"/>
                    </a:lnTo>
                    <a:lnTo>
                      <a:pt x="252" y="256"/>
                    </a:lnTo>
                    <a:lnTo>
                      <a:pt x="252" y="256"/>
                    </a:lnTo>
                    <a:lnTo>
                      <a:pt x="250" y="256"/>
                    </a:lnTo>
                    <a:lnTo>
                      <a:pt x="250" y="256"/>
                    </a:lnTo>
                    <a:lnTo>
                      <a:pt x="250" y="256"/>
                    </a:lnTo>
                    <a:lnTo>
                      <a:pt x="248" y="256"/>
                    </a:lnTo>
                    <a:lnTo>
                      <a:pt x="246" y="256"/>
                    </a:lnTo>
                    <a:lnTo>
                      <a:pt x="246" y="256"/>
                    </a:lnTo>
                    <a:lnTo>
                      <a:pt x="246" y="256"/>
                    </a:lnTo>
                    <a:lnTo>
                      <a:pt x="242" y="258"/>
                    </a:lnTo>
                    <a:lnTo>
                      <a:pt x="240" y="258"/>
                    </a:lnTo>
                    <a:lnTo>
                      <a:pt x="238" y="258"/>
                    </a:lnTo>
                    <a:lnTo>
                      <a:pt x="234" y="260"/>
                    </a:lnTo>
                    <a:lnTo>
                      <a:pt x="234" y="260"/>
                    </a:lnTo>
                    <a:lnTo>
                      <a:pt x="234" y="260"/>
                    </a:lnTo>
                    <a:lnTo>
                      <a:pt x="230" y="264"/>
                    </a:lnTo>
                    <a:lnTo>
                      <a:pt x="230" y="264"/>
                    </a:lnTo>
                    <a:lnTo>
                      <a:pt x="228" y="264"/>
                    </a:lnTo>
                    <a:lnTo>
                      <a:pt x="228" y="266"/>
                    </a:lnTo>
                    <a:lnTo>
                      <a:pt x="228" y="266"/>
                    </a:lnTo>
                    <a:lnTo>
                      <a:pt x="226" y="266"/>
                    </a:lnTo>
                    <a:lnTo>
                      <a:pt x="226" y="268"/>
                    </a:lnTo>
                    <a:lnTo>
                      <a:pt x="226" y="268"/>
                    </a:lnTo>
                    <a:lnTo>
                      <a:pt x="226" y="270"/>
                    </a:lnTo>
                    <a:lnTo>
                      <a:pt x="224" y="272"/>
                    </a:lnTo>
                    <a:lnTo>
                      <a:pt x="224" y="272"/>
                    </a:lnTo>
                    <a:lnTo>
                      <a:pt x="224" y="272"/>
                    </a:lnTo>
                    <a:lnTo>
                      <a:pt x="224" y="276"/>
                    </a:lnTo>
                    <a:lnTo>
                      <a:pt x="224" y="280"/>
                    </a:lnTo>
                    <a:lnTo>
                      <a:pt x="224" y="284"/>
                    </a:lnTo>
                    <a:lnTo>
                      <a:pt x="224" y="288"/>
                    </a:lnTo>
                    <a:lnTo>
                      <a:pt x="224" y="292"/>
                    </a:lnTo>
                    <a:lnTo>
                      <a:pt x="224" y="292"/>
                    </a:lnTo>
                    <a:lnTo>
                      <a:pt x="224" y="292"/>
                    </a:lnTo>
                    <a:lnTo>
                      <a:pt x="224" y="292"/>
                    </a:lnTo>
                    <a:lnTo>
                      <a:pt x="220" y="290"/>
                    </a:lnTo>
                    <a:lnTo>
                      <a:pt x="218" y="286"/>
                    </a:lnTo>
                    <a:lnTo>
                      <a:pt x="214" y="284"/>
                    </a:lnTo>
                    <a:lnTo>
                      <a:pt x="212" y="280"/>
                    </a:lnTo>
                    <a:lnTo>
                      <a:pt x="210" y="276"/>
                    </a:lnTo>
                    <a:lnTo>
                      <a:pt x="208" y="274"/>
                    </a:lnTo>
                    <a:lnTo>
                      <a:pt x="206" y="270"/>
                    </a:lnTo>
                    <a:lnTo>
                      <a:pt x="204" y="268"/>
                    </a:lnTo>
                    <a:lnTo>
                      <a:pt x="202" y="262"/>
                    </a:lnTo>
                    <a:lnTo>
                      <a:pt x="200" y="258"/>
                    </a:lnTo>
                    <a:lnTo>
                      <a:pt x="200" y="254"/>
                    </a:lnTo>
                    <a:lnTo>
                      <a:pt x="198" y="252"/>
                    </a:lnTo>
                    <a:lnTo>
                      <a:pt x="196" y="250"/>
                    </a:lnTo>
                    <a:lnTo>
                      <a:pt x="196" y="250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6" y="248"/>
                    </a:lnTo>
                    <a:lnTo>
                      <a:pt x="194" y="246"/>
                    </a:lnTo>
                    <a:lnTo>
                      <a:pt x="192" y="246"/>
                    </a:lnTo>
                    <a:lnTo>
                      <a:pt x="192" y="246"/>
                    </a:lnTo>
                    <a:lnTo>
                      <a:pt x="190" y="248"/>
                    </a:lnTo>
                    <a:lnTo>
                      <a:pt x="190" y="248"/>
                    </a:lnTo>
                    <a:lnTo>
                      <a:pt x="190" y="248"/>
                    </a:lnTo>
                    <a:lnTo>
                      <a:pt x="190" y="250"/>
                    </a:lnTo>
                    <a:lnTo>
                      <a:pt x="190" y="252"/>
                    </a:lnTo>
                    <a:lnTo>
                      <a:pt x="190" y="254"/>
                    </a:lnTo>
                    <a:lnTo>
                      <a:pt x="192" y="258"/>
                    </a:lnTo>
                    <a:lnTo>
                      <a:pt x="192" y="262"/>
                    </a:lnTo>
                    <a:lnTo>
                      <a:pt x="192" y="266"/>
                    </a:lnTo>
                    <a:lnTo>
                      <a:pt x="192" y="268"/>
                    </a:lnTo>
                    <a:lnTo>
                      <a:pt x="192" y="270"/>
                    </a:lnTo>
                    <a:lnTo>
                      <a:pt x="192" y="270"/>
                    </a:lnTo>
                    <a:lnTo>
                      <a:pt x="192" y="272"/>
                    </a:lnTo>
                    <a:lnTo>
                      <a:pt x="190" y="274"/>
                    </a:lnTo>
                    <a:lnTo>
                      <a:pt x="186" y="278"/>
                    </a:lnTo>
                    <a:lnTo>
                      <a:pt x="186" y="278"/>
                    </a:lnTo>
                    <a:lnTo>
                      <a:pt x="186" y="278"/>
                    </a:lnTo>
                    <a:lnTo>
                      <a:pt x="184" y="276"/>
                    </a:lnTo>
                    <a:lnTo>
                      <a:pt x="182" y="274"/>
                    </a:lnTo>
                    <a:lnTo>
                      <a:pt x="182" y="274"/>
                    </a:lnTo>
                    <a:lnTo>
                      <a:pt x="182" y="274"/>
                    </a:lnTo>
                    <a:lnTo>
                      <a:pt x="180" y="272"/>
                    </a:lnTo>
                    <a:lnTo>
                      <a:pt x="180" y="272"/>
                    </a:lnTo>
                    <a:lnTo>
                      <a:pt x="180" y="272"/>
                    </a:lnTo>
                    <a:lnTo>
                      <a:pt x="178" y="272"/>
                    </a:lnTo>
                    <a:lnTo>
                      <a:pt x="178" y="272"/>
                    </a:lnTo>
                    <a:lnTo>
                      <a:pt x="178" y="272"/>
                    </a:lnTo>
                    <a:lnTo>
                      <a:pt x="176" y="272"/>
                    </a:lnTo>
                    <a:lnTo>
                      <a:pt x="172" y="272"/>
                    </a:lnTo>
                    <a:lnTo>
                      <a:pt x="166" y="274"/>
                    </a:lnTo>
                    <a:lnTo>
                      <a:pt x="162" y="274"/>
                    </a:lnTo>
                    <a:lnTo>
                      <a:pt x="160" y="276"/>
                    </a:lnTo>
                    <a:lnTo>
                      <a:pt x="158" y="278"/>
                    </a:lnTo>
                    <a:lnTo>
                      <a:pt x="158" y="278"/>
                    </a:lnTo>
                    <a:lnTo>
                      <a:pt x="156" y="278"/>
                    </a:lnTo>
                    <a:lnTo>
                      <a:pt x="154" y="278"/>
                    </a:lnTo>
                    <a:lnTo>
                      <a:pt x="154" y="278"/>
                    </a:lnTo>
                    <a:lnTo>
                      <a:pt x="154" y="280"/>
                    </a:lnTo>
                    <a:lnTo>
                      <a:pt x="154" y="280"/>
                    </a:lnTo>
                    <a:lnTo>
                      <a:pt x="154" y="280"/>
                    </a:lnTo>
                    <a:lnTo>
                      <a:pt x="152" y="282"/>
                    </a:lnTo>
                    <a:lnTo>
                      <a:pt x="152" y="284"/>
                    </a:lnTo>
                    <a:lnTo>
                      <a:pt x="152" y="284"/>
                    </a:lnTo>
                    <a:lnTo>
                      <a:pt x="152" y="284"/>
                    </a:lnTo>
                    <a:lnTo>
                      <a:pt x="150" y="288"/>
                    </a:lnTo>
                    <a:lnTo>
                      <a:pt x="150" y="288"/>
                    </a:lnTo>
                    <a:lnTo>
                      <a:pt x="150" y="288"/>
                    </a:lnTo>
                    <a:lnTo>
                      <a:pt x="150" y="294"/>
                    </a:lnTo>
                    <a:lnTo>
                      <a:pt x="150" y="298"/>
                    </a:lnTo>
                    <a:lnTo>
                      <a:pt x="152" y="300"/>
                    </a:lnTo>
                    <a:lnTo>
                      <a:pt x="152" y="302"/>
                    </a:lnTo>
                    <a:lnTo>
                      <a:pt x="152" y="306"/>
                    </a:lnTo>
                    <a:lnTo>
                      <a:pt x="152" y="306"/>
                    </a:lnTo>
                    <a:lnTo>
                      <a:pt x="152" y="306"/>
                    </a:lnTo>
                    <a:lnTo>
                      <a:pt x="150" y="306"/>
                    </a:lnTo>
                    <a:lnTo>
                      <a:pt x="146" y="304"/>
                    </a:lnTo>
                    <a:lnTo>
                      <a:pt x="144" y="302"/>
                    </a:lnTo>
                    <a:lnTo>
                      <a:pt x="140" y="302"/>
                    </a:lnTo>
                    <a:lnTo>
                      <a:pt x="136" y="300"/>
                    </a:lnTo>
                    <a:lnTo>
                      <a:pt x="132" y="298"/>
                    </a:lnTo>
                    <a:lnTo>
                      <a:pt x="132" y="298"/>
                    </a:lnTo>
                    <a:lnTo>
                      <a:pt x="132" y="298"/>
                    </a:lnTo>
                    <a:lnTo>
                      <a:pt x="130" y="298"/>
                    </a:lnTo>
                    <a:lnTo>
                      <a:pt x="130" y="298"/>
                    </a:lnTo>
                    <a:lnTo>
                      <a:pt x="128" y="300"/>
                    </a:lnTo>
                    <a:lnTo>
                      <a:pt x="126" y="302"/>
                    </a:lnTo>
                    <a:lnTo>
                      <a:pt x="126" y="302"/>
                    </a:lnTo>
                    <a:lnTo>
                      <a:pt x="126" y="302"/>
                    </a:lnTo>
                    <a:lnTo>
                      <a:pt x="126" y="306"/>
                    </a:lnTo>
                    <a:lnTo>
                      <a:pt x="126" y="306"/>
                    </a:lnTo>
                    <a:lnTo>
                      <a:pt x="126" y="306"/>
                    </a:lnTo>
                    <a:lnTo>
                      <a:pt x="126" y="308"/>
                    </a:lnTo>
                    <a:lnTo>
                      <a:pt x="126" y="312"/>
                    </a:lnTo>
                    <a:lnTo>
                      <a:pt x="126" y="316"/>
                    </a:lnTo>
                    <a:lnTo>
                      <a:pt x="128" y="318"/>
                    </a:lnTo>
                    <a:lnTo>
                      <a:pt x="128" y="320"/>
                    </a:lnTo>
                    <a:lnTo>
                      <a:pt x="128" y="322"/>
                    </a:lnTo>
                    <a:lnTo>
                      <a:pt x="128" y="322"/>
                    </a:lnTo>
                    <a:lnTo>
                      <a:pt x="126" y="322"/>
                    </a:lnTo>
                    <a:lnTo>
                      <a:pt x="124" y="322"/>
                    </a:lnTo>
                    <a:lnTo>
                      <a:pt x="124" y="322"/>
                    </a:lnTo>
                    <a:lnTo>
                      <a:pt x="120" y="322"/>
                    </a:lnTo>
                    <a:lnTo>
                      <a:pt x="118" y="320"/>
                    </a:lnTo>
                    <a:lnTo>
                      <a:pt x="118" y="320"/>
                    </a:lnTo>
                    <a:lnTo>
                      <a:pt x="118" y="320"/>
                    </a:lnTo>
                    <a:lnTo>
                      <a:pt x="116" y="318"/>
                    </a:lnTo>
                    <a:lnTo>
                      <a:pt x="118" y="316"/>
                    </a:lnTo>
                    <a:lnTo>
                      <a:pt x="118" y="314"/>
                    </a:lnTo>
                    <a:lnTo>
                      <a:pt x="118" y="310"/>
                    </a:lnTo>
                    <a:lnTo>
                      <a:pt x="118" y="308"/>
                    </a:lnTo>
                    <a:lnTo>
                      <a:pt x="118" y="308"/>
                    </a:lnTo>
                    <a:lnTo>
                      <a:pt x="118" y="304"/>
                    </a:lnTo>
                    <a:lnTo>
                      <a:pt x="118" y="304"/>
                    </a:lnTo>
                    <a:lnTo>
                      <a:pt x="116" y="304"/>
                    </a:lnTo>
                    <a:lnTo>
                      <a:pt x="116" y="302"/>
                    </a:lnTo>
                    <a:lnTo>
                      <a:pt x="116" y="302"/>
                    </a:lnTo>
                    <a:lnTo>
                      <a:pt x="114" y="302"/>
                    </a:lnTo>
                    <a:lnTo>
                      <a:pt x="112" y="300"/>
                    </a:lnTo>
                    <a:lnTo>
                      <a:pt x="112" y="300"/>
                    </a:lnTo>
                    <a:lnTo>
                      <a:pt x="112" y="300"/>
                    </a:lnTo>
                    <a:lnTo>
                      <a:pt x="110" y="298"/>
                    </a:lnTo>
                    <a:lnTo>
                      <a:pt x="106" y="298"/>
                    </a:lnTo>
                    <a:lnTo>
                      <a:pt x="102" y="298"/>
                    </a:lnTo>
                    <a:lnTo>
                      <a:pt x="98" y="296"/>
                    </a:lnTo>
                    <a:lnTo>
                      <a:pt x="94" y="296"/>
                    </a:lnTo>
                    <a:lnTo>
                      <a:pt x="90" y="298"/>
                    </a:lnTo>
                    <a:lnTo>
                      <a:pt x="90" y="298"/>
                    </a:lnTo>
                    <a:lnTo>
                      <a:pt x="90" y="298"/>
                    </a:lnTo>
                    <a:lnTo>
                      <a:pt x="88" y="298"/>
                    </a:lnTo>
                    <a:lnTo>
                      <a:pt x="88" y="298"/>
                    </a:lnTo>
                    <a:lnTo>
                      <a:pt x="86" y="298"/>
                    </a:lnTo>
                    <a:lnTo>
                      <a:pt x="86" y="300"/>
                    </a:lnTo>
                    <a:lnTo>
                      <a:pt x="86" y="300"/>
                    </a:lnTo>
                    <a:lnTo>
                      <a:pt x="84" y="302"/>
                    </a:lnTo>
                    <a:lnTo>
                      <a:pt x="84" y="304"/>
                    </a:lnTo>
                    <a:lnTo>
                      <a:pt x="84" y="304"/>
                    </a:lnTo>
                    <a:lnTo>
                      <a:pt x="84" y="304"/>
                    </a:lnTo>
                    <a:lnTo>
                      <a:pt x="84" y="306"/>
                    </a:lnTo>
                    <a:lnTo>
                      <a:pt x="84" y="310"/>
                    </a:lnTo>
                    <a:lnTo>
                      <a:pt x="84" y="312"/>
                    </a:lnTo>
                    <a:lnTo>
                      <a:pt x="84" y="314"/>
                    </a:lnTo>
                    <a:lnTo>
                      <a:pt x="84" y="316"/>
                    </a:lnTo>
                    <a:lnTo>
                      <a:pt x="84" y="316"/>
                    </a:lnTo>
                    <a:lnTo>
                      <a:pt x="82" y="318"/>
                    </a:lnTo>
                    <a:lnTo>
                      <a:pt x="80" y="318"/>
                    </a:lnTo>
                    <a:lnTo>
                      <a:pt x="78" y="318"/>
                    </a:lnTo>
                    <a:lnTo>
                      <a:pt x="76" y="318"/>
                    </a:lnTo>
                    <a:lnTo>
                      <a:pt x="74" y="320"/>
                    </a:lnTo>
                    <a:lnTo>
                      <a:pt x="70" y="318"/>
                    </a:lnTo>
                    <a:lnTo>
                      <a:pt x="66" y="318"/>
                    </a:lnTo>
                    <a:lnTo>
                      <a:pt x="64" y="316"/>
                    </a:lnTo>
                    <a:lnTo>
                      <a:pt x="60" y="316"/>
                    </a:lnTo>
                    <a:lnTo>
                      <a:pt x="54" y="312"/>
                    </a:lnTo>
                    <a:lnTo>
                      <a:pt x="50" y="308"/>
                    </a:lnTo>
                    <a:lnTo>
                      <a:pt x="44" y="306"/>
                    </a:lnTo>
                    <a:lnTo>
                      <a:pt x="38" y="302"/>
                    </a:lnTo>
                    <a:lnTo>
                      <a:pt x="32" y="298"/>
                    </a:lnTo>
                    <a:lnTo>
                      <a:pt x="28" y="294"/>
                    </a:lnTo>
                    <a:lnTo>
                      <a:pt x="24" y="292"/>
                    </a:lnTo>
                    <a:lnTo>
                      <a:pt x="22" y="290"/>
                    </a:lnTo>
                    <a:lnTo>
                      <a:pt x="20" y="290"/>
                    </a:lnTo>
                    <a:lnTo>
                      <a:pt x="20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8" y="288"/>
                    </a:lnTo>
                    <a:lnTo>
                      <a:pt x="16" y="288"/>
                    </a:lnTo>
                    <a:lnTo>
                      <a:pt x="16" y="288"/>
                    </a:lnTo>
                    <a:lnTo>
                      <a:pt x="16" y="288"/>
                    </a:lnTo>
                    <a:lnTo>
                      <a:pt x="14" y="286"/>
                    </a:lnTo>
                    <a:lnTo>
                      <a:pt x="14" y="282"/>
                    </a:lnTo>
                    <a:lnTo>
                      <a:pt x="12" y="280"/>
                    </a:lnTo>
                    <a:lnTo>
                      <a:pt x="12" y="280"/>
                    </a:lnTo>
                    <a:lnTo>
                      <a:pt x="12" y="280"/>
                    </a:lnTo>
                    <a:lnTo>
                      <a:pt x="10" y="278"/>
                    </a:lnTo>
                    <a:lnTo>
                      <a:pt x="10" y="278"/>
                    </a:lnTo>
                    <a:lnTo>
                      <a:pt x="10" y="278"/>
                    </a:lnTo>
                    <a:lnTo>
                      <a:pt x="8" y="278"/>
                    </a:lnTo>
                    <a:lnTo>
                      <a:pt x="8" y="278"/>
                    </a:lnTo>
                    <a:lnTo>
                      <a:pt x="8" y="278"/>
                    </a:lnTo>
                    <a:lnTo>
                      <a:pt x="6" y="278"/>
                    </a:lnTo>
                    <a:lnTo>
                      <a:pt x="6" y="280"/>
                    </a:lnTo>
                    <a:lnTo>
                      <a:pt x="6" y="280"/>
                    </a:lnTo>
                    <a:lnTo>
                      <a:pt x="4" y="280"/>
                    </a:lnTo>
                    <a:lnTo>
                      <a:pt x="4" y="282"/>
                    </a:lnTo>
                    <a:lnTo>
                      <a:pt x="4" y="284"/>
                    </a:lnTo>
                    <a:lnTo>
                      <a:pt x="4" y="288"/>
                    </a:lnTo>
                    <a:lnTo>
                      <a:pt x="4" y="292"/>
                    </a:lnTo>
                    <a:lnTo>
                      <a:pt x="4" y="298"/>
                    </a:lnTo>
                    <a:lnTo>
                      <a:pt x="4" y="304"/>
                    </a:lnTo>
                    <a:lnTo>
                      <a:pt x="2" y="310"/>
                    </a:lnTo>
                    <a:lnTo>
                      <a:pt x="2" y="318"/>
                    </a:lnTo>
                    <a:lnTo>
                      <a:pt x="2" y="326"/>
                    </a:lnTo>
                    <a:lnTo>
                      <a:pt x="2" y="336"/>
                    </a:lnTo>
                    <a:lnTo>
                      <a:pt x="2" y="346"/>
                    </a:lnTo>
                    <a:lnTo>
                      <a:pt x="2" y="356"/>
                    </a:lnTo>
                    <a:lnTo>
                      <a:pt x="2" y="376"/>
                    </a:lnTo>
                    <a:lnTo>
                      <a:pt x="2" y="398"/>
                    </a:lnTo>
                    <a:lnTo>
                      <a:pt x="2" y="442"/>
                    </a:lnTo>
                    <a:lnTo>
                      <a:pt x="2" y="452"/>
                    </a:lnTo>
                    <a:lnTo>
                      <a:pt x="2" y="464"/>
                    </a:lnTo>
                    <a:lnTo>
                      <a:pt x="2" y="476"/>
                    </a:lnTo>
                    <a:lnTo>
                      <a:pt x="2" y="488"/>
                    </a:lnTo>
                    <a:lnTo>
                      <a:pt x="2" y="514"/>
                    </a:lnTo>
                    <a:lnTo>
                      <a:pt x="0" y="538"/>
                    </a:lnTo>
                    <a:lnTo>
                      <a:pt x="0" y="552"/>
                    </a:lnTo>
                    <a:lnTo>
                      <a:pt x="0" y="564"/>
                    </a:lnTo>
                    <a:lnTo>
                      <a:pt x="0" y="574"/>
                    </a:lnTo>
                    <a:lnTo>
                      <a:pt x="0" y="586"/>
                    </a:lnTo>
                    <a:lnTo>
                      <a:pt x="0" y="596"/>
                    </a:lnTo>
                    <a:lnTo>
                      <a:pt x="0" y="604"/>
                    </a:lnTo>
                    <a:lnTo>
                      <a:pt x="0" y="612"/>
                    </a:lnTo>
                    <a:lnTo>
                      <a:pt x="0" y="618"/>
                    </a:lnTo>
                    <a:lnTo>
                      <a:pt x="0" y="624"/>
                    </a:lnTo>
                    <a:lnTo>
                      <a:pt x="2" y="628"/>
                    </a:lnTo>
                    <a:lnTo>
                      <a:pt x="2" y="632"/>
                    </a:lnTo>
                    <a:lnTo>
                      <a:pt x="2" y="634"/>
                    </a:lnTo>
                    <a:lnTo>
                      <a:pt x="2" y="634"/>
                    </a:lnTo>
                    <a:lnTo>
                      <a:pt x="2" y="636"/>
                    </a:lnTo>
                    <a:lnTo>
                      <a:pt x="4" y="636"/>
                    </a:lnTo>
                    <a:lnTo>
                      <a:pt x="4" y="636"/>
                    </a:lnTo>
                    <a:lnTo>
                      <a:pt x="4" y="638"/>
                    </a:lnTo>
                    <a:lnTo>
                      <a:pt x="4" y="638"/>
                    </a:lnTo>
                    <a:lnTo>
                      <a:pt x="4" y="638"/>
                    </a:lnTo>
                    <a:lnTo>
                      <a:pt x="6" y="640"/>
                    </a:lnTo>
                    <a:lnTo>
                      <a:pt x="6" y="640"/>
                    </a:lnTo>
                    <a:lnTo>
                      <a:pt x="6" y="640"/>
                    </a:lnTo>
                    <a:lnTo>
                      <a:pt x="8" y="640"/>
                    </a:lnTo>
                    <a:lnTo>
                      <a:pt x="8" y="640"/>
                    </a:lnTo>
                    <a:lnTo>
                      <a:pt x="8" y="640"/>
                    </a:lnTo>
                    <a:lnTo>
                      <a:pt x="10" y="640"/>
                    </a:lnTo>
                    <a:lnTo>
                      <a:pt x="12" y="638"/>
                    </a:lnTo>
                    <a:lnTo>
                      <a:pt x="14" y="636"/>
                    </a:lnTo>
                    <a:lnTo>
                      <a:pt x="14" y="636"/>
                    </a:lnTo>
                    <a:lnTo>
                      <a:pt x="14" y="636"/>
                    </a:lnTo>
                    <a:lnTo>
                      <a:pt x="18" y="638"/>
                    </a:lnTo>
                    <a:lnTo>
                      <a:pt x="24" y="642"/>
                    </a:lnTo>
                    <a:lnTo>
                      <a:pt x="28" y="644"/>
                    </a:lnTo>
                    <a:lnTo>
                      <a:pt x="32" y="646"/>
                    </a:lnTo>
                    <a:lnTo>
                      <a:pt x="34" y="648"/>
                    </a:lnTo>
                    <a:lnTo>
                      <a:pt x="40" y="654"/>
                    </a:lnTo>
                    <a:lnTo>
                      <a:pt x="48" y="660"/>
                    </a:lnTo>
                    <a:lnTo>
                      <a:pt x="54" y="666"/>
                    </a:lnTo>
                    <a:lnTo>
                      <a:pt x="60" y="674"/>
                    </a:lnTo>
                    <a:lnTo>
                      <a:pt x="64" y="678"/>
                    </a:lnTo>
                    <a:lnTo>
                      <a:pt x="66" y="682"/>
                    </a:lnTo>
                    <a:lnTo>
                      <a:pt x="72" y="694"/>
                    </a:lnTo>
                    <a:lnTo>
                      <a:pt x="78" y="704"/>
                    </a:lnTo>
                    <a:lnTo>
                      <a:pt x="82" y="708"/>
                    </a:lnTo>
                    <a:lnTo>
                      <a:pt x="84" y="714"/>
                    </a:lnTo>
                    <a:lnTo>
                      <a:pt x="90" y="722"/>
                    </a:lnTo>
                    <a:lnTo>
                      <a:pt x="96" y="730"/>
                    </a:lnTo>
                    <a:lnTo>
                      <a:pt x="102" y="736"/>
                    </a:lnTo>
                    <a:lnTo>
                      <a:pt x="106" y="744"/>
                    </a:lnTo>
                    <a:lnTo>
                      <a:pt x="108" y="746"/>
                    </a:lnTo>
                    <a:lnTo>
                      <a:pt x="110" y="750"/>
                    </a:lnTo>
                    <a:lnTo>
                      <a:pt x="112" y="756"/>
                    </a:lnTo>
                    <a:lnTo>
                      <a:pt x="114" y="760"/>
                    </a:lnTo>
                    <a:lnTo>
                      <a:pt x="116" y="762"/>
                    </a:lnTo>
                    <a:lnTo>
                      <a:pt x="116" y="762"/>
                    </a:lnTo>
                    <a:lnTo>
                      <a:pt x="118" y="764"/>
                    </a:lnTo>
                    <a:lnTo>
                      <a:pt x="118" y="764"/>
                    </a:lnTo>
                    <a:lnTo>
                      <a:pt x="118" y="766"/>
                    </a:lnTo>
                    <a:lnTo>
                      <a:pt x="120" y="766"/>
                    </a:lnTo>
                    <a:lnTo>
                      <a:pt x="120" y="766"/>
                    </a:lnTo>
                    <a:lnTo>
                      <a:pt x="122" y="768"/>
                    </a:lnTo>
                    <a:lnTo>
                      <a:pt x="124" y="768"/>
                    </a:lnTo>
                    <a:lnTo>
                      <a:pt x="124" y="768"/>
                    </a:lnTo>
                    <a:lnTo>
                      <a:pt x="124" y="768"/>
                    </a:lnTo>
                    <a:lnTo>
                      <a:pt x="128" y="768"/>
                    </a:lnTo>
                    <a:lnTo>
                      <a:pt x="128" y="768"/>
                    </a:lnTo>
                    <a:lnTo>
                      <a:pt x="128" y="768"/>
                    </a:lnTo>
                    <a:lnTo>
                      <a:pt x="132" y="766"/>
                    </a:lnTo>
                    <a:lnTo>
                      <a:pt x="134" y="766"/>
                    </a:lnTo>
                    <a:lnTo>
                      <a:pt x="138" y="764"/>
                    </a:lnTo>
                    <a:lnTo>
                      <a:pt x="140" y="764"/>
                    </a:lnTo>
                    <a:lnTo>
                      <a:pt x="142" y="764"/>
                    </a:lnTo>
                    <a:lnTo>
                      <a:pt x="144" y="764"/>
                    </a:lnTo>
                    <a:lnTo>
                      <a:pt x="144" y="766"/>
                    </a:lnTo>
                    <a:lnTo>
                      <a:pt x="146" y="768"/>
                    </a:lnTo>
                    <a:lnTo>
                      <a:pt x="148" y="770"/>
                    </a:lnTo>
                    <a:lnTo>
                      <a:pt x="150" y="774"/>
                    </a:lnTo>
                    <a:lnTo>
                      <a:pt x="154" y="780"/>
                    </a:lnTo>
                    <a:lnTo>
                      <a:pt x="156" y="784"/>
                    </a:lnTo>
                    <a:lnTo>
                      <a:pt x="158" y="788"/>
                    </a:lnTo>
                    <a:lnTo>
                      <a:pt x="162" y="794"/>
                    </a:lnTo>
                    <a:lnTo>
                      <a:pt x="166" y="798"/>
                    </a:lnTo>
                    <a:lnTo>
                      <a:pt x="170" y="804"/>
                    </a:lnTo>
                    <a:lnTo>
                      <a:pt x="174" y="808"/>
                    </a:lnTo>
                    <a:lnTo>
                      <a:pt x="174" y="812"/>
                    </a:lnTo>
                    <a:lnTo>
                      <a:pt x="176" y="814"/>
                    </a:lnTo>
                    <a:lnTo>
                      <a:pt x="180" y="822"/>
                    </a:lnTo>
                    <a:lnTo>
                      <a:pt x="182" y="826"/>
                    </a:lnTo>
                    <a:lnTo>
                      <a:pt x="184" y="830"/>
                    </a:lnTo>
                    <a:lnTo>
                      <a:pt x="188" y="834"/>
                    </a:lnTo>
                    <a:lnTo>
                      <a:pt x="190" y="836"/>
                    </a:lnTo>
                    <a:lnTo>
                      <a:pt x="190" y="836"/>
                    </a:lnTo>
                    <a:lnTo>
                      <a:pt x="190" y="838"/>
                    </a:lnTo>
                    <a:lnTo>
                      <a:pt x="194" y="840"/>
                    </a:lnTo>
                    <a:lnTo>
                      <a:pt x="194" y="840"/>
                    </a:lnTo>
                    <a:lnTo>
                      <a:pt x="194" y="840"/>
                    </a:lnTo>
                    <a:lnTo>
                      <a:pt x="196" y="840"/>
                    </a:lnTo>
                    <a:lnTo>
                      <a:pt x="204" y="844"/>
                    </a:lnTo>
                    <a:lnTo>
                      <a:pt x="210" y="846"/>
                    </a:lnTo>
                    <a:lnTo>
                      <a:pt x="212" y="846"/>
                    </a:lnTo>
                    <a:lnTo>
                      <a:pt x="216" y="848"/>
                    </a:lnTo>
                    <a:lnTo>
                      <a:pt x="226" y="854"/>
                    </a:lnTo>
                    <a:lnTo>
                      <a:pt x="238" y="860"/>
                    </a:lnTo>
                    <a:lnTo>
                      <a:pt x="242" y="860"/>
                    </a:lnTo>
                    <a:lnTo>
                      <a:pt x="246" y="862"/>
                    </a:lnTo>
                    <a:lnTo>
                      <a:pt x="254" y="864"/>
                    </a:lnTo>
                    <a:lnTo>
                      <a:pt x="258" y="866"/>
                    </a:lnTo>
                    <a:lnTo>
                      <a:pt x="260" y="866"/>
                    </a:lnTo>
                    <a:lnTo>
                      <a:pt x="262" y="868"/>
                    </a:lnTo>
                    <a:lnTo>
                      <a:pt x="264" y="868"/>
                    </a:lnTo>
                    <a:lnTo>
                      <a:pt x="266" y="870"/>
                    </a:lnTo>
                    <a:lnTo>
                      <a:pt x="266" y="872"/>
                    </a:lnTo>
                    <a:lnTo>
                      <a:pt x="266" y="874"/>
                    </a:lnTo>
                    <a:lnTo>
                      <a:pt x="266" y="876"/>
                    </a:lnTo>
                    <a:lnTo>
                      <a:pt x="266" y="878"/>
                    </a:lnTo>
                    <a:lnTo>
                      <a:pt x="268" y="882"/>
                    </a:lnTo>
                    <a:lnTo>
                      <a:pt x="268" y="884"/>
                    </a:lnTo>
                    <a:lnTo>
                      <a:pt x="268" y="884"/>
                    </a:lnTo>
                    <a:lnTo>
                      <a:pt x="268" y="884"/>
                    </a:lnTo>
                    <a:lnTo>
                      <a:pt x="270" y="888"/>
                    </a:lnTo>
                    <a:lnTo>
                      <a:pt x="272" y="892"/>
                    </a:lnTo>
                    <a:lnTo>
                      <a:pt x="274" y="894"/>
                    </a:lnTo>
                    <a:lnTo>
                      <a:pt x="280" y="902"/>
                    </a:lnTo>
                    <a:lnTo>
                      <a:pt x="284" y="906"/>
                    </a:lnTo>
                    <a:lnTo>
                      <a:pt x="286" y="910"/>
                    </a:lnTo>
                    <a:lnTo>
                      <a:pt x="290" y="912"/>
                    </a:lnTo>
                    <a:lnTo>
                      <a:pt x="290" y="914"/>
                    </a:lnTo>
                    <a:lnTo>
                      <a:pt x="294" y="912"/>
                    </a:lnTo>
                    <a:lnTo>
                      <a:pt x="366" y="912"/>
                    </a:lnTo>
                    <a:lnTo>
                      <a:pt x="382" y="912"/>
                    </a:lnTo>
                    <a:lnTo>
                      <a:pt x="428" y="912"/>
                    </a:lnTo>
                    <a:lnTo>
                      <a:pt x="444" y="912"/>
                    </a:lnTo>
                    <a:lnTo>
                      <a:pt x="480" y="912"/>
                    </a:lnTo>
                    <a:lnTo>
                      <a:pt x="514" y="912"/>
                    </a:lnTo>
                    <a:lnTo>
                      <a:pt x="550" y="912"/>
                    </a:lnTo>
                    <a:lnTo>
                      <a:pt x="584" y="912"/>
                    </a:lnTo>
                    <a:lnTo>
                      <a:pt x="600" y="912"/>
                    </a:lnTo>
                    <a:lnTo>
                      <a:pt x="616" y="912"/>
                    </a:lnTo>
                    <a:lnTo>
                      <a:pt x="632" y="912"/>
                    </a:lnTo>
                    <a:lnTo>
                      <a:pt x="648" y="912"/>
                    </a:lnTo>
                    <a:lnTo>
                      <a:pt x="662" y="912"/>
                    </a:lnTo>
                    <a:lnTo>
                      <a:pt x="676" y="912"/>
                    </a:lnTo>
                    <a:lnTo>
                      <a:pt x="690" y="912"/>
                    </a:lnTo>
                    <a:lnTo>
                      <a:pt x="702" y="912"/>
                    </a:lnTo>
                    <a:lnTo>
                      <a:pt x="714" y="912"/>
                    </a:lnTo>
                    <a:lnTo>
                      <a:pt x="724" y="912"/>
                    </a:lnTo>
                    <a:lnTo>
                      <a:pt x="734" y="912"/>
                    </a:lnTo>
                    <a:lnTo>
                      <a:pt x="742" y="910"/>
                    </a:lnTo>
                    <a:lnTo>
                      <a:pt x="750" y="910"/>
                    </a:lnTo>
                    <a:lnTo>
                      <a:pt x="756" y="910"/>
                    </a:lnTo>
                    <a:lnTo>
                      <a:pt x="762" y="910"/>
                    </a:lnTo>
                    <a:lnTo>
                      <a:pt x="766" y="910"/>
                    </a:lnTo>
                    <a:lnTo>
                      <a:pt x="770" y="910"/>
                    </a:lnTo>
                    <a:lnTo>
                      <a:pt x="774" y="910"/>
                    </a:lnTo>
                    <a:lnTo>
                      <a:pt x="778" y="910"/>
                    </a:lnTo>
                    <a:lnTo>
                      <a:pt x="780" y="910"/>
                    </a:lnTo>
                    <a:lnTo>
                      <a:pt x="782" y="908"/>
                    </a:lnTo>
                    <a:lnTo>
                      <a:pt x="784" y="908"/>
                    </a:lnTo>
                    <a:lnTo>
                      <a:pt x="786" y="908"/>
                    </a:lnTo>
                    <a:lnTo>
                      <a:pt x="786" y="908"/>
                    </a:lnTo>
                    <a:lnTo>
                      <a:pt x="786" y="908"/>
                    </a:lnTo>
                    <a:lnTo>
                      <a:pt x="786" y="908"/>
                    </a:lnTo>
                    <a:lnTo>
                      <a:pt x="788" y="908"/>
                    </a:lnTo>
                    <a:lnTo>
                      <a:pt x="788" y="908"/>
                    </a:lnTo>
                    <a:lnTo>
                      <a:pt x="788" y="906"/>
                    </a:lnTo>
                    <a:lnTo>
                      <a:pt x="788" y="906"/>
                    </a:lnTo>
                    <a:lnTo>
                      <a:pt x="788" y="906"/>
                    </a:lnTo>
                    <a:lnTo>
                      <a:pt x="788" y="902"/>
                    </a:lnTo>
                    <a:lnTo>
                      <a:pt x="786" y="902"/>
                    </a:lnTo>
                    <a:lnTo>
                      <a:pt x="786" y="902"/>
                    </a:lnTo>
                    <a:lnTo>
                      <a:pt x="786" y="902"/>
                    </a:lnTo>
                    <a:lnTo>
                      <a:pt x="784" y="900"/>
                    </a:lnTo>
                    <a:lnTo>
                      <a:pt x="782" y="900"/>
                    </a:lnTo>
                    <a:lnTo>
                      <a:pt x="776" y="898"/>
                    </a:lnTo>
                    <a:lnTo>
                      <a:pt x="776" y="898"/>
                    </a:lnTo>
                    <a:lnTo>
                      <a:pt x="776" y="898"/>
                    </a:lnTo>
                    <a:lnTo>
                      <a:pt x="776" y="898"/>
                    </a:lnTo>
                    <a:lnTo>
                      <a:pt x="776" y="896"/>
                    </a:lnTo>
                    <a:lnTo>
                      <a:pt x="776" y="894"/>
                    </a:lnTo>
                    <a:lnTo>
                      <a:pt x="776" y="894"/>
                    </a:lnTo>
                    <a:lnTo>
                      <a:pt x="776" y="894"/>
                    </a:lnTo>
                    <a:lnTo>
                      <a:pt x="776" y="892"/>
                    </a:lnTo>
                    <a:lnTo>
                      <a:pt x="776" y="892"/>
                    </a:lnTo>
                    <a:lnTo>
                      <a:pt x="778" y="892"/>
                    </a:lnTo>
                    <a:lnTo>
                      <a:pt x="780" y="894"/>
                    </a:lnTo>
                    <a:lnTo>
                      <a:pt x="784" y="896"/>
                    </a:lnTo>
                    <a:lnTo>
                      <a:pt x="786" y="896"/>
                    </a:lnTo>
                    <a:lnTo>
                      <a:pt x="788" y="896"/>
                    </a:lnTo>
                    <a:lnTo>
                      <a:pt x="792" y="896"/>
                    </a:lnTo>
                    <a:lnTo>
                      <a:pt x="798" y="898"/>
                    </a:lnTo>
                    <a:lnTo>
                      <a:pt x="802" y="898"/>
                    </a:lnTo>
                    <a:lnTo>
                      <a:pt x="804" y="898"/>
                    </a:lnTo>
                    <a:lnTo>
                      <a:pt x="808" y="898"/>
                    </a:lnTo>
                    <a:lnTo>
                      <a:pt x="808" y="900"/>
                    </a:lnTo>
                    <a:lnTo>
                      <a:pt x="808" y="900"/>
                    </a:lnTo>
                    <a:lnTo>
                      <a:pt x="808" y="900"/>
                    </a:lnTo>
                    <a:lnTo>
                      <a:pt x="808" y="902"/>
                    </a:lnTo>
                    <a:lnTo>
                      <a:pt x="808" y="904"/>
                    </a:lnTo>
                    <a:lnTo>
                      <a:pt x="808" y="906"/>
                    </a:lnTo>
                    <a:lnTo>
                      <a:pt x="808" y="908"/>
                    </a:lnTo>
                    <a:lnTo>
                      <a:pt x="808" y="908"/>
                    </a:lnTo>
                    <a:lnTo>
                      <a:pt x="808" y="908"/>
                    </a:lnTo>
                    <a:lnTo>
                      <a:pt x="810" y="910"/>
                    </a:lnTo>
                    <a:lnTo>
                      <a:pt x="810" y="910"/>
                    </a:lnTo>
                    <a:lnTo>
                      <a:pt x="810" y="912"/>
                    </a:lnTo>
                    <a:lnTo>
                      <a:pt x="810" y="912"/>
                    </a:lnTo>
                    <a:lnTo>
                      <a:pt x="810" y="912"/>
                    </a:lnTo>
                    <a:lnTo>
                      <a:pt x="812" y="914"/>
                    </a:lnTo>
                    <a:lnTo>
                      <a:pt x="814" y="914"/>
                    </a:lnTo>
                    <a:lnTo>
                      <a:pt x="814" y="914"/>
                    </a:lnTo>
                    <a:lnTo>
                      <a:pt x="814" y="914"/>
                    </a:lnTo>
                    <a:lnTo>
                      <a:pt x="818" y="916"/>
                    </a:lnTo>
                    <a:lnTo>
                      <a:pt x="820" y="916"/>
                    </a:lnTo>
                    <a:lnTo>
                      <a:pt x="824" y="916"/>
                    </a:lnTo>
                    <a:lnTo>
                      <a:pt x="828" y="916"/>
                    </a:lnTo>
                    <a:lnTo>
                      <a:pt x="830" y="918"/>
                    </a:lnTo>
                    <a:lnTo>
                      <a:pt x="832" y="918"/>
                    </a:lnTo>
                    <a:lnTo>
                      <a:pt x="834" y="918"/>
                    </a:lnTo>
                    <a:lnTo>
                      <a:pt x="834" y="920"/>
                    </a:lnTo>
                    <a:lnTo>
                      <a:pt x="834" y="922"/>
                    </a:lnTo>
                    <a:lnTo>
                      <a:pt x="832" y="926"/>
                    </a:lnTo>
                    <a:lnTo>
                      <a:pt x="830" y="930"/>
                    </a:lnTo>
                    <a:lnTo>
                      <a:pt x="830" y="934"/>
                    </a:lnTo>
                    <a:lnTo>
                      <a:pt x="830" y="938"/>
                    </a:lnTo>
                    <a:lnTo>
                      <a:pt x="830" y="938"/>
                    </a:lnTo>
                    <a:lnTo>
                      <a:pt x="830" y="938"/>
                    </a:lnTo>
                    <a:lnTo>
                      <a:pt x="830" y="942"/>
                    </a:lnTo>
                    <a:lnTo>
                      <a:pt x="830" y="942"/>
                    </a:lnTo>
                    <a:lnTo>
                      <a:pt x="830" y="942"/>
                    </a:lnTo>
                    <a:lnTo>
                      <a:pt x="830" y="944"/>
                    </a:lnTo>
                    <a:lnTo>
                      <a:pt x="830" y="944"/>
                    </a:lnTo>
                    <a:lnTo>
                      <a:pt x="830" y="944"/>
                    </a:lnTo>
                    <a:lnTo>
                      <a:pt x="832" y="946"/>
                    </a:lnTo>
                    <a:lnTo>
                      <a:pt x="832" y="946"/>
                    </a:lnTo>
                    <a:lnTo>
                      <a:pt x="832" y="946"/>
                    </a:lnTo>
                    <a:lnTo>
                      <a:pt x="834" y="948"/>
                    </a:lnTo>
                    <a:lnTo>
                      <a:pt x="834" y="948"/>
                    </a:lnTo>
                    <a:lnTo>
                      <a:pt x="840" y="952"/>
                    </a:lnTo>
                    <a:lnTo>
                      <a:pt x="844" y="954"/>
                    </a:lnTo>
                    <a:lnTo>
                      <a:pt x="850" y="956"/>
                    </a:lnTo>
                    <a:lnTo>
                      <a:pt x="856" y="958"/>
                    </a:lnTo>
                    <a:lnTo>
                      <a:pt x="860" y="960"/>
                    </a:lnTo>
                    <a:lnTo>
                      <a:pt x="864" y="962"/>
                    </a:lnTo>
                    <a:lnTo>
                      <a:pt x="868" y="964"/>
                    </a:lnTo>
                    <a:lnTo>
                      <a:pt x="868" y="964"/>
                    </a:lnTo>
                    <a:lnTo>
                      <a:pt x="870" y="964"/>
                    </a:lnTo>
                    <a:lnTo>
                      <a:pt x="872" y="964"/>
                    </a:lnTo>
                    <a:lnTo>
                      <a:pt x="872" y="964"/>
                    </a:lnTo>
                    <a:lnTo>
                      <a:pt x="872" y="964"/>
                    </a:lnTo>
                    <a:lnTo>
                      <a:pt x="876" y="964"/>
                    </a:lnTo>
                    <a:lnTo>
                      <a:pt x="876" y="964"/>
                    </a:lnTo>
                    <a:lnTo>
                      <a:pt x="876" y="962"/>
                    </a:lnTo>
                    <a:lnTo>
                      <a:pt x="878" y="962"/>
                    </a:lnTo>
                    <a:lnTo>
                      <a:pt x="878" y="962"/>
                    </a:lnTo>
                    <a:lnTo>
                      <a:pt x="878" y="962"/>
                    </a:lnTo>
                    <a:lnTo>
                      <a:pt x="880" y="960"/>
                    </a:lnTo>
                    <a:lnTo>
                      <a:pt x="882" y="960"/>
                    </a:lnTo>
                    <a:lnTo>
                      <a:pt x="882" y="958"/>
                    </a:lnTo>
                    <a:lnTo>
                      <a:pt x="882" y="958"/>
                    </a:lnTo>
                    <a:lnTo>
                      <a:pt x="884" y="958"/>
                    </a:lnTo>
                    <a:lnTo>
                      <a:pt x="884" y="960"/>
                    </a:lnTo>
                    <a:lnTo>
                      <a:pt x="886" y="960"/>
                    </a:lnTo>
                    <a:lnTo>
                      <a:pt x="888" y="962"/>
                    </a:lnTo>
                    <a:lnTo>
                      <a:pt x="892" y="966"/>
                    </a:lnTo>
                    <a:lnTo>
                      <a:pt x="896" y="970"/>
                    </a:lnTo>
                    <a:lnTo>
                      <a:pt x="898" y="972"/>
                    </a:lnTo>
                    <a:lnTo>
                      <a:pt x="898" y="974"/>
                    </a:lnTo>
                    <a:lnTo>
                      <a:pt x="900" y="978"/>
                    </a:lnTo>
                    <a:lnTo>
                      <a:pt x="902" y="982"/>
                    </a:lnTo>
                    <a:lnTo>
                      <a:pt x="904" y="984"/>
                    </a:lnTo>
                    <a:lnTo>
                      <a:pt x="904" y="984"/>
                    </a:lnTo>
                    <a:lnTo>
                      <a:pt x="902" y="984"/>
                    </a:lnTo>
                    <a:lnTo>
                      <a:pt x="900" y="984"/>
                    </a:lnTo>
                    <a:lnTo>
                      <a:pt x="896" y="982"/>
                    </a:lnTo>
                    <a:lnTo>
                      <a:pt x="892" y="982"/>
                    </a:lnTo>
                    <a:lnTo>
                      <a:pt x="888" y="980"/>
                    </a:lnTo>
                    <a:lnTo>
                      <a:pt x="884" y="980"/>
                    </a:lnTo>
                    <a:lnTo>
                      <a:pt x="884" y="980"/>
                    </a:lnTo>
                    <a:lnTo>
                      <a:pt x="884" y="980"/>
                    </a:lnTo>
                    <a:lnTo>
                      <a:pt x="880" y="980"/>
                    </a:lnTo>
                    <a:lnTo>
                      <a:pt x="880" y="980"/>
                    </a:lnTo>
                    <a:lnTo>
                      <a:pt x="880" y="980"/>
                    </a:lnTo>
                    <a:lnTo>
                      <a:pt x="876" y="982"/>
                    </a:lnTo>
                    <a:lnTo>
                      <a:pt x="876" y="982"/>
                    </a:lnTo>
                    <a:lnTo>
                      <a:pt x="876" y="982"/>
                    </a:lnTo>
                    <a:lnTo>
                      <a:pt x="872" y="984"/>
                    </a:lnTo>
                    <a:lnTo>
                      <a:pt x="872" y="984"/>
                    </a:lnTo>
                    <a:lnTo>
                      <a:pt x="872" y="986"/>
                    </a:lnTo>
                    <a:lnTo>
                      <a:pt x="870" y="988"/>
                    </a:lnTo>
                    <a:lnTo>
                      <a:pt x="868" y="994"/>
                    </a:lnTo>
                    <a:lnTo>
                      <a:pt x="866" y="998"/>
                    </a:lnTo>
                    <a:lnTo>
                      <a:pt x="864" y="1008"/>
                    </a:lnTo>
                    <a:lnTo>
                      <a:pt x="862" y="1012"/>
                    </a:lnTo>
                    <a:lnTo>
                      <a:pt x="860" y="1016"/>
                    </a:lnTo>
                    <a:lnTo>
                      <a:pt x="856" y="1022"/>
                    </a:lnTo>
                    <a:lnTo>
                      <a:pt x="852" y="1030"/>
                    </a:lnTo>
                    <a:lnTo>
                      <a:pt x="850" y="1034"/>
                    </a:lnTo>
                    <a:lnTo>
                      <a:pt x="848" y="1036"/>
                    </a:lnTo>
                    <a:lnTo>
                      <a:pt x="846" y="1040"/>
                    </a:lnTo>
                    <a:lnTo>
                      <a:pt x="846" y="1042"/>
                    </a:lnTo>
                    <a:lnTo>
                      <a:pt x="846" y="1044"/>
                    </a:lnTo>
                    <a:lnTo>
                      <a:pt x="846" y="1044"/>
                    </a:lnTo>
                    <a:lnTo>
                      <a:pt x="846" y="1044"/>
                    </a:lnTo>
                    <a:lnTo>
                      <a:pt x="846" y="1046"/>
                    </a:lnTo>
                    <a:lnTo>
                      <a:pt x="846" y="1046"/>
                    </a:lnTo>
                    <a:lnTo>
                      <a:pt x="846" y="1046"/>
                    </a:lnTo>
                    <a:lnTo>
                      <a:pt x="846" y="1050"/>
                    </a:lnTo>
                    <a:lnTo>
                      <a:pt x="846" y="1050"/>
                    </a:lnTo>
                    <a:lnTo>
                      <a:pt x="846" y="1050"/>
                    </a:lnTo>
                    <a:lnTo>
                      <a:pt x="848" y="1050"/>
                    </a:lnTo>
                    <a:lnTo>
                      <a:pt x="848" y="1050"/>
                    </a:lnTo>
                    <a:lnTo>
                      <a:pt x="848" y="1052"/>
                    </a:lnTo>
                    <a:lnTo>
                      <a:pt x="848" y="1052"/>
                    </a:lnTo>
                    <a:lnTo>
                      <a:pt x="848" y="1052"/>
                    </a:lnTo>
                    <a:lnTo>
                      <a:pt x="850" y="1052"/>
                    </a:lnTo>
                    <a:lnTo>
                      <a:pt x="852" y="1052"/>
                    </a:lnTo>
                    <a:lnTo>
                      <a:pt x="852" y="1052"/>
                    </a:lnTo>
                    <a:lnTo>
                      <a:pt x="852" y="1052"/>
                    </a:lnTo>
                    <a:lnTo>
                      <a:pt x="854" y="1052"/>
                    </a:lnTo>
                    <a:lnTo>
                      <a:pt x="854" y="1052"/>
                    </a:lnTo>
                    <a:lnTo>
                      <a:pt x="854" y="1050"/>
                    </a:lnTo>
                    <a:lnTo>
                      <a:pt x="854" y="1050"/>
                    </a:lnTo>
                    <a:lnTo>
                      <a:pt x="854" y="1050"/>
                    </a:lnTo>
                    <a:lnTo>
                      <a:pt x="856" y="1048"/>
                    </a:lnTo>
                    <a:lnTo>
                      <a:pt x="856" y="1046"/>
                    </a:lnTo>
                    <a:lnTo>
                      <a:pt x="856" y="1044"/>
                    </a:lnTo>
                    <a:lnTo>
                      <a:pt x="858" y="1042"/>
                    </a:lnTo>
                    <a:lnTo>
                      <a:pt x="858" y="1038"/>
                    </a:lnTo>
                    <a:lnTo>
                      <a:pt x="860" y="1036"/>
                    </a:lnTo>
                    <a:lnTo>
                      <a:pt x="862" y="1034"/>
                    </a:lnTo>
                    <a:lnTo>
                      <a:pt x="864" y="1032"/>
                    </a:lnTo>
                    <a:lnTo>
                      <a:pt x="866" y="1032"/>
                    </a:lnTo>
                    <a:lnTo>
                      <a:pt x="868" y="1032"/>
                    </a:lnTo>
                    <a:lnTo>
                      <a:pt x="874" y="1030"/>
                    </a:lnTo>
                    <a:lnTo>
                      <a:pt x="880" y="1030"/>
                    </a:lnTo>
                    <a:lnTo>
                      <a:pt x="886" y="1030"/>
                    </a:lnTo>
                    <a:lnTo>
                      <a:pt x="892" y="1030"/>
                    </a:lnTo>
                    <a:lnTo>
                      <a:pt x="900" y="1028"/>
                    </a:lnTo>
                    <a:lnTo>
                      <a:pt x="904" y="1028"/>
                    </a:lnTo>
                    <a:lnTo>
                      <a:pt x="906" y="1028"/>
                    </a:lnTo>
                    <a:lnTo>
                      <a:pt x="908" y="1026"/>
                    </a:lnTo>
                    <a:lnTo>
                      <a:pt x="908" y="1026"/>
                    </a:lnTo>
                    <a:lnTo>
                      <a:pt x="910" y="1026"/>
                    </a:lnTo>
                    <a:lnTo>
                      <a:pt x="912" y="1024"/>
                    </a:lnTo>
                    <a:lnTo>
                      <a:pt x="912" y="1024"/>
                    </a:lnTo>
                    <a:lnTo>
                      <a:pt x="912" y="1024"/>
                    </a:lnTo>
                    <a:lnTo>
                      <a:pt x="914" y="1020"/>
                    </a:lnTo>
                    <a:lnTo>
                      <a:pt x="914" y="1020"/>
                    </a:lnTo>
                    <a:lnTo>
                      <a:pt x="914" y="1020"/>
                    </a:lnTo>
                    <a:lnTo>
                      <a:pt x="914" y="1018"/>
                    </a:lnTo>
                    <a:lnTo>
                      <a:pt x="914" y="1016"/>
                    </a:lnTo>
                    <a:lnTo>
                      <a:pt x="914" y="1014"/>
                    </a:lnTo>
                    <a:lnTo>
                      <a:pt x="914" y="1010"/>
                    </a:lnTo>
                    <a:lnTo>
                      <a:pt x="914" y="1008"/>
                    </a:lnTo>
                    <a:lnTo>
                      <a:pt x="916" y="1006"/>
                    </a:lnTo>
                    <a:lnTo>
                      <a:pt x="916" y="1006"/>
                    </a:lnTo>
                    <a:lnTo>
                      <a:pt x="918" y="1004"/>
                    </a:lnTo>
                    <a:lnTo>
                      <a:pt x="920" y="1004"/>
                    </a:lnTo>
                    <a:lnTo>
                      <a:pt x="922" y="1004"/>
                    </a:lnTo>
                    <a:lnTo>
                      <a:pt x="926" y="1004"/>
                    </a:lnTo>
                    <a:lnTo>
                      <a:pt x="932" y="1004"/>
                    </a:lnTo>
                    <a:lnTo>
                      <a:pt x="936" y="1004"/>
                    </a:lnTo>
                    <a:lnTo>
                      <a:pt x="940" y="1002"/>
                    </a:lnTo>
                    <a:lnTo>
                      <a:pt x="940" y="1002"/>
                    </a:lnTo>
                    <a:lnTo>
                      <a:pt x="940" y="1002"/>
                    </a:lnTo>
                    <a:lnTo>
                      <a:pt x="944" y="1002"/>
                    </a:lnTo>
                    <a:lnTo>
                      <a:pt x="944" y="1002"/>
                    </a:lnTo>
                    <a:lnTo>
                      <a:pt x="944" y="1002"/>
                    </a:lnTo>
                    <a:lnTo>
                      <a:pt x="948" y="1000"/>
                    </a:lnTo>
                    <a:lnTo>
                      <a:pt x="954" y="994"/>
                    </a:lnTo>
                    <a:lnTo>
                      <a:pt x="956" y="992"/>
                    </a:lnTo>
                    <a:lnTo>
                      <a:pt x="960" y="990"/>
                    </a:lnTo>
                    <a:lnTo>
                      <a:pt x="964" y="988"/>
                    </a:lnTo>
                    <a:lnTo>
                      <a:pt x="968" y="986"/>
                    </a:lnTo>
                    <a:lnTo>
                      <a:pt x="970" y="986"/>
                    </a:lnTo>
                    <a:lnTo>
                      <a:pt x="974" y="986"/>
                    </a:lnTo>
                    <a:lnTo>
                      <a:pt x="980" y="984"/>
                    </a:lnTo>
                    <a:lnTo>
                      <a:pt x="988" y="984"/>
                    </a:lnTo>
                    <a:lnTo>
                      <a:pt x="998" y="984"/>
                    </a:lnTo>
                    <a:lnTo>
                      <a:pt x="1006" y="984"/>
                    </a:lnTo>
                    <a:lnTo>
                      <a:pt x="1014" y="982"/>
                    </a:lnTo>
                    <a:lnTo>
                      <a:pt x="1018" y="982"/>
                    </a:lnTo>
                    <a:lnTo>
                      <a:pt x="1020" y="982"/>
                    </a:lnTo>
                    <a:lnTo>
                      <a:pt x="1024" y="982"/>
                    </a:lnTo>
                    <a:lnTo>
                      <a:pt x="1026" y="982"/>
                    </a:lnTo>
                    <a:lnTo>
                      <a:pt x="1030" y="980"/>
                    </a:lnTo>
                    <a:lnTo>
                      <a:pt x="1030" y="980"/>
                    </a:lnTo>
                    <a:lnTo>
                      <a:pt x="1030" y="980"/>
                    </a:lnTo>
                    <a:lnTo>
                      <a:pt x="1034" y="978"/>
                    </a:lnTo>
                    <a:lnTo>
                      <a:pt x="1034" y="978"/>
                    </a:lnTo>
                    <a:lnTo>
                      <a:pt x="1034" y="978"/>
                    </a:lnTo>
                    <a:lnTo>
                      <a:pt x="1036" y="976"/>
                    </a:lnTo>
                    <a:lnTo>
                      <a:pt x="1036" y="976"/>
                    </a:lnTo>
                    <a:lnTo>
                      <a:pt x="1036" y="976"/>
                    </a:lnTo>
                    <a:lnTo>
                      <a:pt x="1038" y="974"/>
                    </a:lnTo>
                    <a:lnTo>
                      <a:pt x="1038" y="974"/>
                    </a:lnTo>
                    <a:lnTo>
                      <a:pt x="1038" y="972"/>
                    </a:lnTo>
                    <a:lnTo>
                      <a:pt x="1038" y="970"/>
                    </a:lnTo>
                    <a:lnTo>
                      <a:pt x="1040" y="968"/>
                    </a:lnTo>
                    <a:lnTo>
                      <a:pt x="1040" y="968"/>
                    </a:lnTo>
                    <a:lnTo>
                      <a:pt x="1040" y="966"/>
                    </a:lnTo>
                    <a:lnTo>
                      <a:pt x="1046" y="960"/>
                    </a:lnTo>
                    <a:lnTo>
                      <a:pt x="1050" y="958"/>
                    </a:lnTo>
                    <a:lnTo>
                      <a:pt x="1052" y="954"/>
                    </a:lnTo>
                    <a:lnTo>
                      <a:pt x="1052" y="954"/>
                    </a:lnTo>
                    <a:lnTo>
                      <a:pt x="1052" y="952"/>
                    </a:lnTo>
                    <a:lnTo>
                      <a:pt x="1054" y="950"/>
                    </a:lnTo>
                    <a:lnTo>
                      <a:pt x="1054" y="948"/>
                    </a:lnTo>
                    <a:lnTo>
                      <a:pt x="1056" y="944"/>
                    </a:lnTo>
                    <a:lnTo>
                      <a:pt x="1058" y="940"/>
                    </a:lnTo>
                    <a:lnTo>
                      <a:pt x="1058" y="938"/>
                    </a:lnTo>
                    <a:lnTo>
                      <a:pt x="1058" y="936"/>
                    </a:lnTo>
                    <a:lnTo>
                      <a:pt x="1060" y="936"/>
                    </a:lnTo>
                    <a:lnTo>
                      <a:pt x="1062" y="934"/>
                    </a:lnTo>
                    <a:lnTo>
                      <a:pt x="1064" y="934"/>
                    </a:lnTo>
                    <a:lnTo>
                      <a:pt x="1068" y="934"/>
                    </a:lnTo>
                    <a:lnTo>
                      <a:pt x="1070" y="934"/>
                    </a:lnTo>
                    <a:lnTo>
                      <a:pt x="1074" y="932"/>
                    </a:lnTo>
                    <a:lnTo>
                      <a:pt x="1076" y="932"/>
                    </a:lnTo>
                    <a:lnTo>
                      <a:pt x="1076" y="932"/>
                    </a:lnTo>
                    <a:lnTo>
                      <a:pt x="1076" y="932"/>
                    </a:lnTo>
                    <a:lnTo>
                      <a:pt x="1076" y="934"/>
                    </a:lnTo>
                    <a:lnTo>
                      <a:pt x="1076" y="934"/>
                    </a:lnTo>
                    <a:lnTo>
                      <a:pt x="1078" y="936"/>
                    </a:lnTo>
                    <a:lnTo>
                      <a:pt x="1078" y="938"/>
                    </a:lnTo>
                    <a:lnTo>
                      <a:pt x="1078" y="942"/>
                    </a:lnTo>
                    <a:lnTo>
                      <a:pt x="1078" y="948"/>
                    </a:lnTo>
                    <a:lnTo>
                      <a:pt x="1078" y="950"/>
                    </a:lnTo>
                    <a:lnTo>
                      <a:pt x="1078" y="952"/>
                    </a:lnTo>
                    <a:lnTo>
                      <a:pt x="1076" y="958"/>
                    </a:lnTo>
                    <a:lnTo>
                      <a:pt x="1076" y="962"/>
                    </a:lnTo>
                    <a:lnTo>
                      <a:pt x="1078" y="966"/>
                    </a:lnTo>
                    <a:lnTo>
                      <a:pt x="1078" y="966"/>
                    </a:lnTo>
                    <a:lnTo>
                      <a:pt x="1078" y="968"/>
                    </a:lnTo>
                    <a:lnTo>
                      <a:pt x="1078" y="968"/>
                    </a:lnTo>
                    <a:lnTo>
                      <a:pt x="1078" y="968"/>
                    </a:lnTo>
                    <a:lnTo>
                      <a:pt x="1078" y="970"/>
                    </a:lnTo>
                    <a:lnTo>
                      <a:pt x="1080" y="970"/>
                    </a:lnTo>
                    <a:lnTo>
                      <a:pt x="1080" y="970"/>
                    </a:lnTo>
                    <a:lnTo>
                      <a:pt x="1080" y="972"/>
                    </a:lnTo>
                    <a:lnTo>
                      <a:pt x="1082" y="972"/>
                    </a:lnTo>
                    <a:lnTo>
                      <a:pt x="1084" y="974"/>
                    </a:lnTo>
                    <a:lnTo>
                      <a:pt x="1088" y="978"/>
                    </a:lnTo>
                    <a:lnTo>
                      <a:pt x="1092" y="980"/>
                    </a:lnTo>
                    <a:lnTo>
                      <a:pt x="1094" y="980"/>
                    </a:lnTo>
                    <a:lnTo>
                      <a:pt x="1094" y="980"/>
                    </a:lnTo>
                    <a:lnTo>
                      <a:pt x="1094" y="982"/>
                    </a:lnTo>
                    <a:lnTo>
                      <a:pt x="1096" y="982"/>
                    </a:lnTo>
                    <a:lnTo>
                      <a:pt x="1096" y="982"/>
                    </a:lnTo>
                    <a:lnTo>
                      <a:pt x="1098" y="982"/>
                    </a:lnTo>
                    <a:lnTo>
                      <a:pt x="1098" y="980"/>
                    </a:lnTo>
                    <a:lnTo>
                      <a:pt x="1098" y="980"/>
                    </a:lnTo>
                    <a:lnTo>
                      <a:pt x="1100" y="980"/>
                    </a:lnTo>
                    <a:lnTo>
                      <a:pt x="1100" y="978"/>
                    </a:lnTo>
                    <a:lnTo>
                      <a:pt x="1100" y="978"/>
                    </a:lnTo>
                    <a:lnTo>
                      <a:pt x="1100" y="978"/>
                    </a:lnTo>
                    <a:lnTo>
                      <a:pt x="1102" y="976"/>
                    </a:lnTo>
                    <a:lnTo>
                      <a:pt x="1102" y="976"/>
                    </a:lnTo>
                    <a:lnTo>
                      <a:pt x="1102" y="976"/>
                    </a:lnTo>
                    <a:lnTo>
                      <a:pt x="1102" y="974"/>
                    </a:lnTo>
                    <a:lnTo>
                      <a:pt x="1102" y="974"/>
                    </a:lnTo>
                    <a:lnTo>
                      <a:pt x="1102" y="974"/>
                    </a:lnTo>
                    <a:lnTo>
                      <a:pt x="1102" y="974"/>
                    </a:lnTo>
                    <a:lnTo>
                      <a:pt x="1104" y="976"/>
                    </a:lnTo>
                    <a:lnTo>
                      <a:pt x="1104" y="976"/>
                    </a:lnTo>
                    <a:lnTo>
                      <a:pt x="1104" y="976"/>
                    </a:lnTo>
                    <a:lnTo>
                      <a:pt x="1106" y="976"/>
                    </a:lnTo>
                    <a:lnTo>
                      <a:pt x="1106" y="976"/>
                    </a:lnTo>
                    <a:lnTo>
                      <a:pt x="1106" y="976"/>
                    </a:lnTo>
                    <a:lnTo>
                      <a:pt x="1108" y="976"/>
                    </a:lnTo>
                    <a:lnTo>
                      <a:pt x="1110" y="974"/>
                    </a:lnTo>
                    <a:lnTo>
                      <a:pt x="1114" y="974"/>
                    </a:lnTo>
                    <a:lnTo>
                      <a:pt x="1118" y="972"/>
                    </a:lnTo>
                    <a:lnTo>
                      <a:pt x="1120" y="970"/>
                    </a:lnTo>
                    <a:lnTo>
                      <a:pt x="1120" y="970"/>
                    </a:lnTo>
                    <a:lnTo>
                      <a:pt x="1120" y="970"/>
                    </a:lnTo>
                    <a:lnTo>
                      <a:pt x="1120" y="974"/>
                    </a:lnTo>
                    <a:lnTo>
                      <a:pt x="1120" y="974"/>
                    </a:lnTo>
                    <a:lnTo>
                      <a:pt x="1122" y="976"/>
                    </a:lnTo>
                    <a:lnTo>
                      <a:pt x="1124" y="976"/>
                    </a:lnTo>
                    <a:lnTo>
                      <a:pt x="1106" y="982"/>
                    </a:lnTo>
                    <a:lnTo>
                      <a:pt x="1106" y="982"/>
                    </a:lnTo>
                    <a:lnTo>
                      <a:pt x="1104" y="984"/>
                    </a:lnTo>
                    <a:lnTo>
                      <a:pt x="1094" y="1002"/>
                    </a:lnTo>
                    <a:lnTo>
                      <a:pt x="1094" y="1002"/>
                    </a:lnTo>
                    <a:lnTo>
                      <a:pt x="1096" y="1004"/>
                    </a:lnTo>
                    <a:lnTo>
                      <a:pt x="1108" y="1022"/>
                    </a:lnTo>
                    <a:lnTo>
                      <a:pt x="1108" y="1022"/>
                    </a:lnTo>
                    <a:lnTo>
                      <a:pt x="1110" y="1024"/>
                    </a:lnTo>
                    <a:lnTo>
                      <a:pt x="1110" y="1024"/>
                    </a:lnTo>
                    <a:lnTo>
                      <a:pt x="1112" y="1022"/>
                    </a:lnTo>
                    <a:lnTo>
                      <a:pt x="1134" y="996"/>
                    </a:lnTo>
                    <a:lnTo>
                      <a:pt x="1142" y="1000"/>
                    </a:lnTo>
                    <a:lnTo>
                      <a:pt x="1142" y="1000"/>
                    </a:lnTo>
                    <a:lnTo>
                      <a:pt x="1146" y="998"/>
                    </a:lnTo>
                    <a:lnTo>
                      <a:pt x="1154" y="992"/>
                    </a:lnTo>
                    <a:lnTo>
                      <a:pt x="1186" y="980"/>
                    </a:lnTo>
                    <a:lnTo>
                      <a:pt x="1186" y="980"/>
                    </a:lnTo>
                    <a:lnTo>
                      <a:pt x="1188" y="980"/>
                    </a:lnTo>
                    <a:lnTo>
                      <a:pt x="1188" y="978"/>
                    </a:lnTo>
                    <a:lnTo>
                      <a:pt x="1188" y="972"/>
                    </a:lnTo>
                    <a:lnTo>
                      <a:pt x="1206" y="964"/>
                    </a:lnTo>
                    <a:lnTo>
                      <a:pt x="1206" y="964"/>
                    </a:lnTo>
                    <a:lnTo>
                      <a:pt x="1208" y="960"/>
                    </a:lnTo>
                    <a:lnTo>
                      <a:pt x="1208" y="960"/>
                    </a:lnTo>
                    <a:lnTo>
                      <a:pt x="1206" y="958"/>
                    </a:lnTo>
                    <a:lnTo>
                      <a:pt x="1196" y="954"/>
                    </a:lnTo>
                    <a:lnTo>
                      <a:pt x="1196" y="946"/>
                    </a:lnTo>
                    <a:lnTo>
                      <a:pt x="1196" y="946"/>
                    </a:lnTo>
                    <a:lnTo>
                      <a:pt x="1196" y="946"/>
                    </a:lnTo>
                    <a:lnTo>
                      <a:pt x="1194" y="936"/>
                    </a:lnTo>
                    <a:lnTo>
                      <a:pt x="1194" y="936"/>
                    </a:lnTo>
                    <a:lnTo>
                      <a:pt x="1190" y="934"/>
                    </a:lnTo>
                    <a:lnTo>
                      <a:pt x="1190" y="934"/>
                    </a:lnTo>
                    <a:lnTo>
                      <a:pt x="1188" y="936"/>
                    </a:lnTo>
                    <a:lnTo>
                      <a:pt x="1182" y="946"/>
                    </a:lnTo>
                    <a:lnTo>
                      <a:pt x="1174" y="956"/>
                    </a:lnTo>
                    <a:lnTo>
                      <a:pt x="1174" y="956"/>
                    </a:lnTo>
                    <a:lnTo>
                      <a:pt x="1172" y="958"/>
                    </a:lnTo>
                    <a:lnTo>
                      <a:pt x="1174" y="966"/>
                    </a:lnTo>
                    <a:lnTo>
                      <a:pt x="1174" y="966"/>
                    </a:lnTo>
                    <a:lnTo>
                      <a:pt x="1174" y="964"/>
                    </a:lnTo>
                    <a:lnTo>
                      <a:pt x="1174" y="964"/>
                    </a:lnTo>
                    <a:lnTo>
                      <a:pt x="1172" y="962"/>
                    </a:lnTo>
                    <a:lnTo>
                      <a:pt x="1172" y="962"/>
                    </a:lnTo>
                    <a:lnTo>
                      <a:pt x="1168" y="962"/>
                    </a:lnTo>
                    <a:lnTo>
                      <a:pt x="1164" y="964"/>
                    </a:lnTo>
                    <a:lnTo>
                      <a:pt x="1166" y="960"/>
                    </a:lnTo>
                    <a:lnTo>
                      <a:pt x="1172" y="954"/>
                    </a:lnTo>
                    <a:lnTo>
                      <a:pt x="1172" y="954"/>
                    </a:lnTo>
                    <a:lnTo>
                      <a:pt x="1172" y="950"/>
                    </a:lnTo>
                    <a:lnTo>
                      <a:pt x="1172" y="950"/>
                    </a:lnTo>
                    <a:lnTo>
                      <a:pt x="1168" y="948"/>
                    </a:lnTo>
                    <a:lnTo>
                      <a:pt x="1162" y="948"/>
                    </a:lnTo>
                    <a:lnTo>
                      <a:pt x="1150" y="946"/>
                    </a:lnTo>
                    <a:lnTo>
                      <a:pt x="1140" y="942"/>
                    </a:lnTo>
                    <a:lnTo>
                      <a:pt x="1138" y="938"/>
                    </a:lnTo>
                    <a:lnTo>
                      <a:pt x="1138" y="938"/>
                    </a:lnTo>
                    <a:lnTo>
                      <a:pt x="1136" y="936"/>
                    </a:lnTo>
                    <a:lnTo>
                      <a:pt x="1136" y="936"/>
                    </a:lnTo>
                    <a:lnTo>
                      <a:pt x="1134" y="936"/>
                    </a:lnTo>
                    <a:lnTo>
                      <a:pt x="1128" y="944"/>
                    </a:lnTo>
                    <a:lnTo>
                      <a:pt x="1128" y="944"/>
                    </a:lnTo>
                    <a:lnTo>
                      <a:pt x="1128" y="946"/>
                    </a:lnTo>
                    <a:lnTo>
                      <a:pt x="1130" y="948"/>
                    </a:lnTo>
                    <a:lnTo>
                      <a:pt x="1136" y="954"/>
                    </a:lnTo>
                    <a:lnTo>
                      <a:pt x="1136" y="954"/>
                    </a:lnTo>
                    <a:lnTo>
                      <a:pt x="1136" y="956"/>
                    </a:lnTo>
                    <a:lnTo>
                      <a:pt x="1134" y="956"/>
                    </a:lnTo>
                    <a:lnTo>
                      <a:pt x="1134" y="956"/>
                    </a:lnTo>
                    <a:lnTo>
                      <a:pt x="1134" y="956"/>
                    </a:lnTo>
                    <a:lnTo>
                      <a:pt x="1132" y="954"/>
                    </a:lnTo>
                    <a:lnTo>
                      <a:pt x="1130" y="952"/>
                    </a:lnTo>
                    <a:lnTo>
                      <a:pt x="1128" y="950"/>
                    </a:lnTo>
                    <a:lnTo>
                      <a:pt x="1126" y="948"/>
                    </a:lnTo>
                    <a:lnTo>
                      <a:pt x="1124" y="946"/>
                    </a:lnTo>
                    <a:lnTo>
                      <a:pt x="1124" y="946"/>
                    </a:lnTo>
                    <a:lnTo>
                      <a:pt x="1124" y="946"/>
                    </a:lnTo>
                    <a:lnTo>
                      <a:pt x="1124" y="944"/>
                    </a:lnTo>
                    <a:lnTo>
                      <a:pt x="1126" y="944"/>
                    </a:lnTo>
                    <a:lnTo>
                      <a:pt x="1126" y="942"/>
                    </a:lnTo>
                    <a:lnTo>
                      <a:pt x="1128" y="942"/>
                    </a:lnTo>
                    <a:lnTo>
                      <a:pt x="1128" y="940"/>
                    </a:lnTo>
                    <a:lnTo>
                      <a:pt x="1128" y="940"/>
                    </a:lnTo>
                    <a:lnTo>
                      <a:pt x="1128" y="940"/>
                    </a:lnTo>
                    <a:lnTo>
                      <a:pt x="1128" y="940"/>
                    </a:lnTo>
                    <a:lnTo>
                      <a:pt x="1128" y="940"/>
                    </a:lnTo>
                    <a:lnTo>
                      <a:pt x="1130" y="938"/>
                    </a:lnTo>
                    <a:lnTo>
                      <a:pt x="1130" y="936"/>
                    </a:lnTo>
                    <a:lnTo>
                      <a:pt x="1130" y="936"/>
                    </a:lnTo>
                    <a:lnTo>
                      <a:pt x="1128" y="934"/>
                    </a:lnTo>
                    <a:lnTo>
                      <a:pt x="1128" y="934"/>
                    </a:lnTo>
                    <a:lnTo>
                      <a:pt x="1128" y="934"/>
                    </a:lnTo>
                    <a:lnTo>
                      <a:pt x="1126" y="934"/>
                    </a:lnTo>
                    <a:lnTo>
                      <a:pt x="1124" y="934"/>
                    </a:lnTo>
                    <a:lnTo>
                      <a:pt x="1122" y="934"/>
                    </a:lnTo>
                    <a:lnTo>
                      <a:pt x="1120" y="934"/>
                    </a:lnTo>
                    <a:lnTo>
                      <a:pt x="1120" y="934"/>
                    </a:lnTo>
                    <a:lnTo>
                      <a:pt x="1120" y="934"/>
                    </a:lnTo>
                    <a:lnTo>
                      <a:pt x="1122" y="930"/>
                    </a:lnTo>
                    <a:lnTo>
                      <a:pt x="1122" y="928"/>
                    </a:lnTo>
                    <a:lnTo>
                      <a:pt x="1124" y="926"/>
                    </a:lnTo>
                    <a:lnTo>
                      <a:pt x="1126" y="924"/>
                    </a:lnTo>
                    <a:lnTo>
                      <a:pt x="1126" y="922"/>
                    </a:lnTo>
                    <a:lnTo>
                      <a:pt x="1126" y="922"/>
                    </a:lnTo>
                    <a:lnTo>
                      <a:pt x="1128" y="920"/>
                    </a:lnTo>
                    <a:lnTo>
                      <a:pt x="1128" y="920"/>
                    </a:lnTo>
                    <a:lnTo>
                      <a:pt x="1128" y="920"/>
                    </a:lnTo>
                    <a:lnTo>
                      <a:pt x="1126" y="918"/>
                    </a:lnTo>
                    <a:lnTo>
                      <a:pt x="1126" y="916"/>
                    </a:lnTo>
                    <a:lnTo>
                      <a:pt x="1126" y="916"/>
                    </a:lnTo>
                    <a:lnTo>
                      <a:pt x="1124" y="916"/>
                    </a:lnTo>
                    <a:lnTo>
                      <a:pt x="1124" y="916"/>
                    </a:lnTo>
                    <a:lnTo>
                      <a:pt x="1124" y="916"/>
                    </a:lnTo>
                    <a:lnTo>
                      <a:pt x="1122" y="916"/>
                    </a:lnTo>
                    <a:lnTo>
                      <a:pt x="1120" y="916"/>
                    </a:lnTo>
                    <a:lnTo>
                      <a:pt x="1118" y="916"/>
                    </a:lnTo>
                    <a:lnTo>
                      <a:pt x="1114" y="916"/>
                    </a:lnTo>
                    <a:lnTo>
                      <a:pt x="1114" y="916"/>
                    </a:lnTo>
                    <a:lnTo>
                      <a:pt x="1112" y="916"/>
                    </a:lnTo>
                    <a:lnTo>
                      <a:pt x="1112" y="916"/>
                    </a:lnTo>
                    <a:lnTo>
                      <a:pt x="1110" y="914"/>
                    </a:lnTo>
                    <a:lnTo>
                      <a:pt x="1104" y="912"/>
                    </a:lnTo>
                    <a:lnTo>
                      <a:pt x="1102" y="910"/>
                    </a:lnTo>
                    <a:lnTo>
                      <a:pt x="1102" y="910"/>
                    </a:lnTo>
                    <a:lnTo>
                      <a:pt x="1100" y="908"/>
                    </a:lnTo>
                    <a:lnTo>
                      <a:pt x="1100" y="908"/>
                    </a:lnTo>
                    <a:lnTo>
                      <a:pt x="1102" y="906"/>
                    </a:lnTo>
                    <a:lnTo>
                      <a:pt x="1106" y="904"/>
                    </a:lnTo>
                    <a:lnTo>
                      <a:pt x="1108" y="902"/>
                    </a:lnTo>
                    <a:lnTo>
                      <a:pt x="1112" y="900"/>
                    </a:lnTo>
                    <a:lnTo>
                      <a:pt x="1114" y="898"/>
                    </a:lnTo>
                    <a:lnTo>
                      <a:pt x="1114" y="898"/>
                    </a:lnTo>
                    <a:lnTo>
                      <a:pt x="1114" y="898"/>
                    </a:lnTo>
                    <a:lnTo>
                      <a:pt x="1116" y="896"/>
                    </a:lnTo>
                    <a:lnTo>
                      <a:pt x="1116" y="896"/>
                    </a:lnTo>
                    <a:lnTo>
                      <a:pt x="1116" y="894"/>
                    </a:lnTo>
                    <a:lnTo>
                      <a:pt x="1118" y="894"/>
                    </a:lnTo>
                    <a:lnTo>
                      <a:pt x="1118" y="894"/>
                    </a:lnTo>
                    <a:lnTo>
                      <a:pt x="1118" y="894"/>
                    </a:lnTo>
                    <a:lnTo>
                      <a:pt x="1118" y="892"/>
                    </a:lnTo>
                    <a:lnTo>
                      <a:pt x="1118" y="892"/>
                    </a:lnTo>
                    <a:lnTo>
                      <a:pt x="1118" y="890"/>
                    </a:lnTo>
                    <a:lnTo>
                      <a:pt x="1116" y="890"/>
                    </a:lnTo>
                    <a:lnTo>
                      <a:pt x="1116" y="890"/>
                    </a:lnTo>
                    <a:lnTo>
                      <a:pt x="1116" y="888"/>
                    </a:lnTo>
                    <a:lnTo>
                      <a:pt x="1114" y="886"/>
                    </a:lnTo>
                    <a:lnTo>
                      <a:pt x="1114" y="886"/>
                    </a:lnTo>
                    <a:lnTo>
                      <a:pt x="1114" y="886"/>
                    </a:lnTo>
                    <a:lnTo>
                      <a:pt x="1110" y="884"/>
                    </a:lnTo>
                    <a:lnTo>
                      <a:pt x="1108" y="882"/>
                    </a:lnTo>
                    <a:lnTo>
                      <a:pt x="1104" y="882"/>
                    </a:lnTo>
                    <a:lnTo>
                      <a:pt x="1100" y="880"/>
                    </a:lnTo>
                    <a:lnTo>
                      <a:pt x="1100" y="880"/>
                    </a:lnTo>
                    <a:lnTo>
                      <a:pt x="1098" y="880"/>
                    </a:lnTo>
                    <a:lnTo>
                      <a:pt x="1094" y="880"/>
                    </a:lnTo>
                    <a:lnTo>
                      <a:pt x="1094" y="880"/>
                    </a:lnTo>
                    <a:lnTo>
                      <a:pt x="1094" y="880"/>
                    </a:lnTo>
                    <a:lnTo>
                      <a:pt x="1090" y="880"/>
                    </a:lnTo>
                    <a:lnTo>
                      <a:pt x="1090" y="880"/>
                    </a:lnTo>
                    <a:lnTo>
                      <a:pt x="1090" y="880"/>
                    </a:lnTo>
                    <a:lnTo>
                      <a:pt x="1086" y="882"/>
                    </a:lnTo>
                    <a:lnTo>
                      <a:pt x="1082" y="884"/>
                    </a:lnTo>
                    <a:lnTo>
                      <a:pt x="1076" y="886"/>
                    </a:lnTo>
                    <a:lnTo>
                      <a:pt x="1070" y="890"/>
                    </a:lnTo>
                    <a:lnTo>
                      <a:pt x="1066" y="894"/>
                    </a:lnTo>
                    <a:lnTo>
                      <a:pt x="1060" y="898"/>
                    </a:lnTo>
                    <a:lnTo>
                      <a:pt x="1056" y="902"/>
                    </a:lnTo>
                    <a:lnTo>
                      <a:pt x="1052" y="906"/>
                    </a:lnTo>
                    <a:lnTo>
                      <a:pt x="1046" y="912"/>
                    </a:lnTo>
                    <a:lnTo>
                      <a:pt x="1042" y="918"/>
                    </a:lnTo>
                    <a:lnTo>
                      <a:pt x="1040" y="924"/>
                    </a:lnTo>
                    <a:lnTo>
                      <a:pt x="1036" y="930"/>
                    </a:lnTo>
                    <a:lnTo>
                      <a:pt x="1032" y="936"/>
                    </a:lnTo>
                    <a:lnTo>
                      <a:pt x="1028" y="942"/>
                    </a:lnTo>
                    <a:lnTo>
                      <a:pt x="1026" y="948"/>
                    </a:lnTo>
                    <a:lnTo>
                      <a:pt x="1024" y="950"/>
                    </a:lnTo>
                    <a:lnTo>
                      <a:pt x="1022" y="954"/>
                    </a:lnTo>
                    <a:lnTo>
                      <a:pt x="1020" y="956"/>
                    </a:lnTo>
                    <a:lnTo>
                      <a:pt x="1018" y="956"/>
                    </a:lnTo>
                    <a:lnTo>
                      <a:pt x="1016" y="958"/>
                    </a:lnTo>
                    <a:lnTo>
                      <a:pt x="1016" y="958"/>
                    </a:lnTo>
                    <a:lnTo>
                      <a:pt x="1014" y="958"/>
                    </a:lnTo>
                    <a:lnTo>
                      <a:pt x="1012" y="960"/>
                    </a:lnTo>
                    <a:lnTo>
                      <a:pt x="1010" y="960"/>
                    </a:lnTo>
                    <a:lnTo>
                      <a:pt x="1008" y="962"/>
                    </a:lnTo>
                    <a:lnTo>
                      <a:pt x="1006" y="962"/>
                    </a:lnTo>
                    <a:lnTo>
                      <a:pt x="1000" y="966"/>
                    </a:lnTo>
                    <a:lnTo>
                      <a:pt x="994" y="968"/>
                    </a:lnTo>
                    <a:lnTo>
                      <a:pt x="994" y="968"/>
                    </a:lnTo>
                    <a:lnTo>
                      <a:pt x="996" y="966"/>
                    </a:lnTo>
                    <a:lnTo>
                      <a:pt x="1002" y="962"/>
                    </a:lnTo>
                    <a:lnTo>
                      <a:pt x="1010" y="958"/>
                    </a:lnTo>
                    <a:lnTo>
                      <a:pt x="1016" y="952"/>
                    </a:lnTo>
                    <a:lnTo>
                      <a:pt x="1020" y="950"/>
                    </a:lnTo>
                    <a:lnTo>
                      <a:pt x="1022" y="948"/>
                    </a:lnTo>
                    <a:lnTo>
                      <a:pt x="1026" y="942"/>
                    </a:lnTo>
                    <a:lnTo>
                      <a:pt x="1030" y="938"/>
                    </a:lnTo>
                    <a:lnTo>
                      <a:pt x="1032" y="932"/>
                    </a:lnTo>
                    <a:lnTo>
                      <a:pt x="1034" y="926"/>
                    </a:lnTo>
                    <a:lnTo>
                      <a:pt x="1038" y="920"/>
                    </a:lnTo>
                    <a:lnTo>
                      <a:pt x="1040" y="916"/>
                    </a:lnTo>
                    <a:lnTo>
                      <a:pt x="1042" y="910"/>
                    </a:lnTo>
                    <a:lnTo>
                      <a:pt x="1046" y="906"/>
                    </a:lnTo>
                    <a:lnTo>
                      <a:pt x="1056" y="898"/>
                    </a:lnTo>
                    <a:lnTo>
                      <a:pt x="1060" y="894"/>
                    </a:lnTo>
                    <a:lnTo>
                      <a:pt x="1066" y="890"/>
                    </a:lnTo>
                    <a:lnTo>
                      <a:pt x="1072" y="886"/>
                    </a:lnTo>
                    <a:lnTo>
                      <a:pt x="1078" y="882"/>
                    </a:lnTo>
                    <a:lnTo>
                      <a:pt x="1086" y="878"/>
                    </a:lnTo>
                    <a:lnTo>
                      <a:pt x="1094" y="876"/>
                    </a:lnTo>
                    <a:lnTo>
                      <a:pt x="1100" y="876"/>
                    </a:lnTo>
                    <a:lnTo>
                      <a:pt x="1106" y="874"/>
                    </a:lnTo>
                    <a:lnTo>
                      <a:pt x="1112" y="874"/>
                    </a:lnTo>
                    <a:lnTo>
                      <a:pt x="1118" y="872"/>
                    </a:lnTo>
                    <a:lnTo>
                      <a:pt x="1134" y="872"/>
                    </a:lnTo>
                    <a:lnTo>
                      <a:pt x="1148" y="870"/>
                    </a:lnTo>
                    <a:lnTo>
                      <a:pt x="1164" y="870"/>
                    </a:lnTo>
                    <a:lnTo>
                      <a:pt x="1170" y="870"/>
                    </a:lnTo>
                    <a:lnTo>
                      <a:pt x="1178" y="870"/>
                    </a:lnTo>
                    <a:lnTo>
                      <a:pt x="1184" y="870"/>
                    </a:lnTo>
                    <a:lnTo>
                      <a:pt x="1188" y="868"/>
                    </a:lnTo>
                    <a:lnTo>
                      <a:pt x="1194" y="868"/>
                    </a:lnTo>
                    <a:lnTo>
                      <a:pt x="1198" y="868"/>
                    </a:lnTo>
                    <a:lnTo>
                      <a:pt x="1202" y="866"/>
                    </a:lnTo>
                    <a:lnTo>
                      <a:pt x="1204" y="866"/>
                    </a:lnTo>
                    <a:lnTo>
                      <a:pt x="1206" y="866"/>
                    </a:lnTo>
                    <a:lnTo>
                      <a:pt x="1208" y="866"/>
                    </a:lnTo>
                    <a:lnTo>
                      <a:pt x="1208" y="866"/>
                    </a:lnTo>
                    <a:lnTo>
                      <a:pt x="1208" y="864"/>
                    </a:lnTo>
                    <a:lnTo>
                      <a:pt x="1208" y="864"/>
                    </a:lnTo>
                    <a:lnTo>
                      <a:pt x="1208" y="864"/>
                    </a:lnTo>
                    <a:lnTo>
                      <a:pt x="1210" y="864"/>
                    </a:lnTo>
                    <a:lnTo>
                      <a:pt x="1210" y="862"/>
                    </a:lnTo>
                    <a:lnTo>
                      <a:pt x="1210" y="862"/>
                    </a:lnTo>
                    <a:lnTo>
                      <a:pt x="1210" y="862"/>
                    </a:lnTo>
                    <a:lnTo>
                      <a:pt x="1210" y="860"/>
                    </a:lnTo>
                    <a:lnTo>
                      <a:pt x="1210" y="860"/>
                    </a:lnTo>
                    <a:lnTo>
                      <a:pt x="1210" y="858"/>
                    </a:lnTo>
                    <a:lnTo>
                      <a:pt x="1208" y="858"/>
                    </a:lnTo>
                    <a:lnTo>
                      <a:pt x="1208" y="856"/>
                    </a:lnTo>
                    <a:lnTo>
                      <a:pt x="1208" y="856"/>
                    </a:lnTo>
                    <a:lnTo>
                      <a:pt x="1208" y="856"/>
                    </a:lnTo>
                    <a:lnTo>
                      <a:pt x="1208" y="856"/>
                    </a:lnTo>
                    <a:lnTo>
                      <a:pt x="1210" y="852"/>
                    </a:lnTo>
                    <a:lnTo>
                      <a:pt x="1214" y="850"/>
                    </a:lnTo>
                    <a:lnTo>
                      <a:pt x="1220" y="842"/>
                    </a:lnTo>
                    <a:lnTo>
                      <a:pt x="1222" y="840"/>
                    </a:lnTo>
                    <a:lnTo>
                      <a:pt x="1224" y="838"/>
                    </a:lnTo>
                    <a:lnTo>
                      <a:pt x="1224" y="838"/>
                    </a:lnTo>
                    <a:lnTo>
                      <a:pt x="1224" y="840"/>
                    </a:lnTo>
                    <a:lnTo>
                      <a:pt x="1228" y="842"/>
                    </a:lnTo>
                    <a:lnTo>
                      <a:pt x="1230" y="844"/>
                    </a:lnTo>
                    <a:lnTo>
                      <a:pt x="1230" y="844"/>
                    </a:lnTo>
                    <a:lnTo>
                      <a:pt x="1230" y="844"/>
                    </a:lnTo>
                    <a:lnTo>
                      <a:pt x="1232" y="844"/>
                    </a:lnTo>
                    <a:lnTo>
                      <a:pt x="1232" y="844"/>
                    </a:lnTo>
                    <a:lnTo>
                      <a:pt x="1232" y="844"/>
                    </a:lnTo>
                    <a:lnTo>
                      <a:pt x="1234" y="844"/>
                    </a:lnTo>
                    <a:lnTo>
                      <a:pt x="1234" y="846"/>
                    </a:lnTo>
                    <a:lnTo>
                      <a:pt x="1234" y="848"/>
                    </a:lnTo>
                    <a:lnTo>
                      <a:pt x="1232" y="850"/>
                    </a:lnTo>
                    <a:lnTo>
                      <a:pt x="1228" y="852"/>
                    </a:lnTo>
                    <a:lnTo>
                      <a:pt x="1228" y="852"/>
                    </a:lnTo>
                    <a:lnTo>
                      <a:pt x="1228" y="852"/>
                    </a:lnTo>
                    <a:lnTo>
                      <a:pt x="1226" y="854"/>
                    </a:lnTo>
                    <a:lnTo>
                      <a:pt x="1224" y="856"/>
                    </a:lnTo>
                    <a:lnTo>
                      <a:pt x="1222" y="858"/>
                    </a:lnTo>
                    <a:lnTo>
                      <a:pt x="1222" y="858"/>
                    </a:lnTo>
                    <a:lnTo>
                      <a:pt x="1222" y="858"/>
                    </a:lnTo>
                    <a:lnTo>
                      <a:pt x="1220" y="860"/>
                    </a:lnTo>
                    <a:lnTo>
                      <a:pt x="1220" y="860"/>
                    </a:lnTo>
                    <a:lnTo>
                      <a:pt x="1220" y="862"/>
                    </a:lnTo>
                    <a:lnTo>
                      <a:pt x="1220" y="864"/>
                    </a:lnTo>
                    <a:lnTo>
                      <a:pt x="1220" y="866"/>
                    </a:lnTo>
                    <a:lnTo>
                      <a:pt x="1218" y="874"/>
                    </a:lnTo>
                    <a:lnTo>
                      <a:pt x="1218" y="880"/>
                    </a:lnTo>
                    <a:lnTo>
                      <a:pt x="1216" y="888"/>
                    </a:lnTo>
                    <a:lnTo>
                      <a:pt x="1214" y="894"/>
                    </a:lnTo>
                    <a:lnTo>
                      <a:pt x="1212" y="896"/>
                    </a:lnTo>
                    <a:lnTo>
                      <a:pt x="1212" y="898"/>
                    </a:lnTo>
                    <a:lnTo>
                      <a:pt x="1210" y="900"/>
                    </a:lnTo>
                    <a:lnTo>
                      <a:pt x="1208" y="902"/>
                    </a:lnTo>
                    <a:lnTo>
                      <a:pt x="1206" y="902"/>
                    </a:lnTo>
                    <a:lnTo>
                      <a:pt x="1202" y="904"/>
                    </a:lnTo>
                    <a:lnTo>
                      <a:pt x="1202" y="904"/>
                    </a:lnTo>
                    <a:lnTo>
                      <a:pt x="1202" y="904"/>
                    </a:lnTo>
                    <a:lnTo>
                      <a:pt x="1200" y="904"/>
                    </a:lnTo>
                    <a:lnTo>
                      <a:pt x="1200" y="904"/>
                    </a:lnTo>
                    <a:lnTo>
                      <a:pt x="1200" y="906"/>
                    </a:lnTo>
                    <a:lnTo>
                      <a:pt x="1200" y="906"/>
                    </a:lnTo>
                    <a:lnTo>
                      <a:pt x="1200" y="906"/>
                    </a:lnTo>
                    <a:lnTo>
                      <a:pt x="1198" y="906"/>
                    </a:lnTo>
                    <a:lnTo>
                      <a:pt x="1198" y="908"/>
                    </a:lnTo>
                    <a:lnTo>
                      <a:pt x="1198" y="908"/>
                    </a:lnTo>
                    <a:lnTo>
                      <a:pt x="1198" y="910"/>
                    </a:lnTo>
                    <a:lnTo>
                      <a:pt x="1198" y="912"/>
                    </a:lnTo>
                    <a:lnTo>
                      <a:pt x="1198" y="912"/>
                    </a:lnTo>
                    <a:lnTo>
                      <a:pt x="1198" y="912"/>
                    </a:lnTo>
                    <a:lnTo>
                      <a:pt x="1198" y="914"/>
                    </a:lnTo>
                    <a:lnTo>
                      <a:pt x="1200" y="914"/>
                    </a:lnTo>
                    <a:lnTo>
                      <a:pt x="1200" y="914"/>
                    </a:lnTo>
                    <a:lnTo>
                      <a:pt x="1198" y="914"/>
                    </a:lnTo>
                    <a:lnTo>
                      <a:pt x="1198" y="916"/>
                    </a:lnTo>
                    <a:lnTo>
                      <a:pt x="1198" y="916"/>
                    </a:lnTo>
                    <a:lnTo>
                      <a:pt x="1196" y="918"/>
                    </a:lnTo>
                    <a:lnTo>
                      <a:pt x="1196" y="918"/>
                    </a:lnTo>
                    <a:lnTo>
                      <a:pt x="1194" y="920"/>
                    </a:lnTo>
                    <a:lnTo>
                      <a:pt x="1194" y="922"/>
                    </a:lnTo>
                    <a:lnTo>
                      <a:pt x="1196" y="924"/>
                    </a:lnTo>
                    <a:lnTo>
                      <a:pt x="1196" y="924"/>
                    </a:lnTo>
                    <a:lnTo>
                      <a:pt x="1196" y="924"/>
                    </a:lnTo>
                    <a:lnTo>
                      <a:pt x="1198" y="926"/>
                    </a:lnTo>
                    <a:lnTo>
                      <a:pt x="1198" y="926"/>
                    </a:lnTo>
                    <a:lnTo>
                      <a:pt x="1198" y="926"/>
                    </a:lnTo>
                    <a:lnTo>
                      <a:pt x="1200" y="928"/>
                    </a:lnTo>
                    <a:lnTo>
                      <a:pt x="1200" y="928"/>
                    </a:lnTo>
                    <a:lnTo>
                      <a:pt x="1202" y="928"/>
                    </a:lnTo>
                    <a:lnTo>
                      <a:pt x="1204" y="928"/>
                    </a:lnTo>
                    <a:lnTo>
                      <a:pt x="1204" y="928"/>
                    </a:lnTo>
                    <a:lnTo>
                      <a:pt x="1204" y="928"/>
                    </a:lnTo>
                    <a:lnTo>
                      <a:pt x="1210" y="928"/>
                    </a:lnTo>
                    <a:lnTo>
                      <a:pt x="1210" y="928"/>
                    </a:lnTo>
                    <a:lnTo>
                      <a:pt x="1210" y="928"/>
                    </a:lnTo>
                    <a:lnTo>
                      <a:pt x="1214" y="928"/>
                    </a:lnTo>
                    <a:lnTo>
                      <a:pt x="1220" y="928"/>
                    </a:lnTo>
                    <a:lnTo>
                      <a:pt x="1224" y="928"/>
                    </a:lnTo>
                    <a:lnTo>
                      <a:pt x="1224" y="928"/>
                    </a:lnTo>
                    <a:lnTo>
                      <a:pt x="1226" y="928"/>
                    </a:lnTo>
                    <a:lnTo>
                      <a:pt x="1228" y="930"/>
                    </a:lnTo>
                    <a:lnTo>
                      <a:pt x="1230" y="930"/>
                    </a:lnTo>
                    <a:lnTo>
                      <a:pt x="1230" y="932"/>
                    </a:lnTo>
                    <a:lnTo>
                      <a:pt x="1232" y="936"/>
                    </a:lnTo>
                    <a:lnTo>
                      <a:pt x="1232" y="936"/>
                    </a:lnTo>
                    <a:lnTo>
                      <a:pt x="1232" y="936"/>
                    </a:lnTo>
                    <a:lnTo>
                      <a:pt x="1234" y="940"/>
                    </a:lnTo>
                    <a:lnTo>
                      <a:pt x="1234" y="940"/>
                    </a:lnTo>
                    <a:lnTo>
                      <a:pt x="1236" y="942"/>
                    </a:lnTo>
                    <a:lnTo>
                      <a:pt x="1238" y="946"/>
                    </a:lnTo>
                    <a:lnTo>
                      <a:pt x="1240" y="948"/>
                    </a:lnTo>
                    <a:lnTo>
                      <a:pt x="1244" y="950"/>
                    </a:lnTo>
                    <a:lnTo>
                      <a:pt x="1244" y="950"/>
                    </a:lnTo>
                    <a:lnTo>
                      <a:pt x="1246" y="950"/>
                    </a:lnTo>
                    <a:lnTo>
                      <a:pt x="1250" y="948"/>
                    </a:lnTo>
                    <a:lnTo>
                      <a:pt x="1252" y="946"/>
                    </a:lnTo>
                    <a:lnTo>
                      <a:pt x="1254" y="944"/>
                    </a:lnTo>
                    <a:lnTo>
                      <a:pt x="1256" y="944"/>
                    </a:lnTo>
                    <a:lnTo>
                      <a:pt x="1258" y="942"/>
                    </a:lnTo>
                    <a:lnTo>
                      <a:pt x="1260" y="942"/>
                    </a:lnTo>
                    <a:lnTo>
                      <a:pt x="1262" y="940"/>
                    </a:lnTo>
                    <a:lnTo>
                      <a:pt x="1266" y="940"/>
                    </a:lnTo>
                    <a:lnTo>
                      <a:pt x="1266" y="940"/>
                    </a:lnTo>
                    <a:lnTo>
                      <a:pt x="1266" y="940"/>
                    </a:lnTo>
                    <a:lnTo>
                      <a:pt x="1268" y="938"/>
                    </a:lnTo>
                    <a:lnTo>
                      <a:pt x="1268" y="938"/>
                    </a:lnTo>
                    <a:lnTo>
                      <a:pt x="1270" y="938"/>
                    </a:lnTo>
                    <a:lnTo>
                      <a:pt x="1270" y="940"/>
                    </a:lnTo>
                    <a:lnTo>
                      <a:pt x="1270" y="942"/>
                    </a:lnTo>
                    <a:lnTo>
                      <a:pt x="1272" y="948"/>
                    </a:lnTo>
                    <a:lnTo>
                      <a:pt x="1272" y="948"/>
                    </a:lnTo>
                    <a:lnTo>
                      <a:pt x="1272" y="950"/>
                    </a:lnTo>
                    <a:lnTo>
                      <a:pt x="1274" y="950"/>
                    </a:lnTo>
                    <a:lnTo>
                      <a:pt x="1282" y="950"/>
                    </a:lnTo>
                    <a:lnTo>
                      <a:pt x="1288" y="950"/>
                    </a:lnTo>
                    <a:lnTo>
                      <a:pt x="1288" y="950"/>
                    </a:lnTo>
                    <a:lnTo>
                      <a:pt x="1288" y="950"/>
                    </a:lnTo>
                    <a:lnTo>
                      <a:pt x="1292" y="950"/>
                    </a:lnTo>
                    <a:lnTo>
                      <a:pt x="1292" y="950"/>
                    </a:lnTo>
                    <a:lnTo>
                      <a:pt x="1294" y="948"/>
                    </a:lnTo>
                    <a:lnTo>
                      <a:pt x="1296" y="948"/>
                    </a:lnTo>
                    <a:lnTo>
                      <a:pt x="1296" y="948"/>
                    </a:lnTo>
                    <a:lnTo>
                      <a:pt x="1296" y="946"/>
                    </a:lnTo>
                    <a:lnTo>
                      <a:pt x="1298" y="946"/>
                    </a:lnTo>
                    <a:lnTo>
                      <a:pt x="1298" y="946"/>
                    </a:lnTo>
                    <a:lnTo>
                      <a:pt x="1298" y="944"/>
                    </a:lnTo>
                    <a:lnTo>
                      <a:pt x="1298" y="942"/>
                    </a:lnTo>
                    <a:lnTo>
                      <a:pt x="1298" y="940"/>
                    </a:lnTo>
                    <a:lnTo>
                      <a:pt x="1300" y="938"/>
                    </a:lnTo>
                    <a:lnTo>
                      <a:pt x="1300" y="938"/>
                    </a:lnTo>
                    <a:lnTo>
                      <a:pt x="1300" y="936"/>
                    </a:lnTo>
                    <a:lnTo>
                      <a:pt x="1302" y="936"/>
                    </a:lnTo>
                    <a:lnTo>
                      <a:pt x="1302" y="936"/>
                    </a:lnTo>
                    <a:lnTo>
                      <a:pt x="1304" y="934"/>
                    </a:lnTo>
                    <a:lnTo>
                      <a:pt x="1304" y="932"/>
                    </a:lnTo>
                    <a:lnTo>
                      <a:pt x="1304" y="932"/>
                    </a:lnTo>
                    <a:close/>
                    <a:moveTo>
                      <a:pt x="748" y="432"/>
                    </a:moveTo>
                    <a:lnTo>
                      <a:pt x="752" y="432"/>
                    </a:lnTo>
                    <a:lnTo>
                      <a:pt x="758" y="432"/>
                    </a:lnTo>
                    <a:lnTo>
                      <a:pt x="762" y="434"/>
                    </a:lnTo>
                    <a:lnTo>
                      <a:pt x="768" y="434"/>
                    </a:lnTo>
                    <a:lnTo>
                      <a:pt x="768" y="434"/>
                    </a:lnTo>
                    <a:lnTo>
                      <a:pt x="770" y="436"/>
                    </a:lnTo>
                    <a:lnTo>
                      <a:pt x="772" y="436"/>
                    </a:lnTo>
                    <a:lnTo>
                      <a:pt x="774" y="438"/>
                    </a:lnTo>
                    <a:lnTo>
                      <a:pt x="776" y="442"/>
                    </a:lnTo>
                    <a:lnTo>
                      <a:pt x="778" y="444"/>
                    </a:lnTo>
                    <a:lnTo>
                      <a:pt x="780" y="448"/>
                    </a:lnTo>
                    <a:lnTo>
                      <a:pt x="780" y="448"/>
                    </a:lnTo>
                    <a:lnTo>
                      <a:pt x="776" y="446"/>
                    </a:lnTo>
                    <a:lnTo>
                      <a:pt x="772" y="446"/>
                    </a:lnTo>
                    <a:lnTo>
                      <a:pt x="768" y="444"/>
                    </a:lnTo>
                    <a:lnTo>
                      <a:pt x="766" y="442"/>
                    </a:lnTo>
                    <a:lnTo>
                      <a:pt x="760" y="440"/>
                    </a:lnTo>
                    <a:lnTo>
                      <a:pt x="756" y="438"/>
                    </a:lnTo>
                    <a:lnTo>
                      <a:pt x="750" y="434"/>
                    </a:lnTo>
                    <a:lnTo>
                      <a:pt x="746" y="432"/>
                    </a:lnTo>
                    <a:lnTo>
                      <a:pt x="746" y="432"/>
                    </a:lnTo>
                    <a:lnTo>
                      <a:pt x="748" y="432"/>
                    </a:lnTo>
                    <a:close/>
                    <a:moveTo>
                      <a:pt x="710" y="500"/>
                    </a:moveTo>
                    <a:lnTo>
                      <a:pt x="714" y="500"/>
                    </a:lnTo>
                    <a:lnTo>
                      <a:pt x="716" y="500"/>
                    </a:lnTo>
                    <a:lnTo>
                      <a:pt x="720" y="500"/>
                    </a:lnTo>
                    <a:lnTo>
                      <a:pt x="716" y="500"/>
                    </a:lnTo>
                    <a:lnTo>
                      <a:pt x="710" y="500"/>
                    </a:lnTo>
                    <a:lnTo>
                      <a:pt x="708" y="500"/>
                    </a:lnTo>
                    <a:lnTo>
                      <a:pt x="710" y="500"/>
                    </a:lnTo>
                    <a:close/>
                    <a:moveTo>
                      <a:pt x="504" y="126"/>
                    </a:moveTo>
                    <a:lnTo>
                      <a:pt x="504" y="126"/>
                    </a:lnTo>
                    <a:lnTo>
                      <a:pt x="506" y="126"/>
                    </a:lnTo>
                    <a:lnTo>
                      <a:pt x="508" y="126"/>
                    </a:lnTo>
                    <a:lnTo>
                      <a:pt x="510" y="128"/>
                    </a:lnTo>
                    <a:lnTo>
                      <a:pt x="510" y="128"/>
                    </a:lnTo>
                    <a:lnTo>
                      <a:pt x="512" y="130"/>
                    </a:lnTo>
                    <a:lnTo>
                      <a:pt x="514" y="134"/>
                    </a:lnTo>
                    <a:lnTo>
                      <a:pt x="516" y="136"/>
                    </a:lnTo>
                    <a:lnTo>
                      <a:pt x="516" y="138"/>
                    </a:lnTo>
                    <a:lnTo>
                      <a:pt x="514" y="136"/>
                    </a:lnTo>
                    <a:lnTo>
                      <a:pt x="512" y="134"/>
                    </a:lnTo>
                    <a:lnTo>
                      <a:pt x="510" y="134"/>
                    </a:lnTo>
                    <a:lnTo>
                      <a:pt x="508" y="132"/>
                    </a:lnTo>
                    <a:lnTo>
                      <a:pt x="506" y="130"/>
                    </a:lnTo>
                    <a:lnTo>
                      <a:pt x="506" y="130"/>
                    </a:lnTo>
                    <a:lnTo>
                      <a:pt x="504" y="126"/>
                    </a:lnTo>
                    <a:lnTo>
                      <a:pt x="504" y="124"/>
                    </a:lnTo>
                    <a:lnTo>
                      <a:pt x="504" y="126"/>
                    </a:lnTo>
                    <a:close/>
                    <a:moveTo>
                      <a:pt x="1152" y="962"/>
                    </a:moveTo>
                    <a:lnTo>
                      <a:pt x="1154" y="964"/>
                    </a:lnTo>
                    <a:lnTo>
                      <a:pt x="1150" y="962"/>
                    </a:lnTo>
                    <a:lnTo>
                      <a:pt x="1146" y="960"/>
                    </a:lnTo>
                    <a:lnTo>
                      <a:pt x="1152" y="962"/>
                    </a:lnTo>
                    <a:close/>
                    <a:moveTo>
                      <a:pt x="1238" y="832"/>
                    </a:moveTo>
                    <a:lnTo>
                      <a:pt x="1238" y="834"/>
                    </a:lnTo>
                    <a:lnTo>
                      <a:pt x="1236" y="834"/>
                    </a:lnTo>
                    <a:lnTo>
                      <a:pt x="1236" y="834"/>
                    </a:lnTo>
                    <a:lnTo>
                      <a:pt x="1234" y="836"/>
                    </a:lnTo>
                    <a:lnTo>
                      <a:pt x="1232" y="836"/>
                    </a:lnTo>
                    <a:lnTo>
                      <a:pt x="1232" y="836"/>
                    </a:lnTo>
                    <a:lnTo>
                      <a:pt x="1232" y="836"/>
                    </a:lnTo>
                    <a:lnTo>
                      <a:pt x="1230" y="836"/>
                    </a:lnTo>
                    <a:lnTo>
                      <a:pt x="1226" y="836"/>
                    </a:lnTo>
                    <a:lnTo>
                      <a:pt x="1226" y="836"/>
                    </a:lnTo>
                    <a:lnTo>
                      <a:pt x="1226" y="836"/>
                    </a:lnTo>
                    <a:lnTo>
                      <a:pt x="1228" y="834"/>
                    </a:lnTo>
                    <a:lnTo>
                      <a:pt x="1230" y="830"/>
                    </a:lnTo>
                    <a:lnTo>
                      <a:pt x="1232" y="830"/>
                    </a:lnTo>
                    <a:lnTo>
                      <a:pt x="1232" y="830"/>
                    </a:lnTo>
                    <a:lnTo>
                      <a:pt x="1234" y="830"/>
                    </a:lnTo>
                    <a:lnTo>
                      <a:pt x="1236" y="830"/>
                    </a:lnTo>
                    <a:lnTo>
                      <a:pt x="1238" y="830"/>
                    </a:lnTo>
                    <a:lnTo>
                      <a:pt x="1238" y="830"/>
                    </a:lnTo>
                    <a:lnTo>
                      <a:pt x="1238" y="830"/>
                    </a:lnTo>
                    <a:lnTo>
                      <a:pt x="1240" y="830"/>
                    </a:lnTo>
                    <a:lnTo>
                      <a:pt x="1238" y="832"/>
                    </a:lnTo>
                    <a:close/>
                    <a:moveTo>
                      <a:pt x="156" y="818"/>
                    </a:moveTo>
                    <a:lnTo>
                      <a:pt x="152" y="816"/>
                    </a:lnTo>
                    <a:lnTo>
                      <a:pt x="150" y="814"/>
                    </a:lnTo>
                    <a:lnTo>
                      <a:pt x="148" y="814"/>
                    </a:lnTo>
                    <a:lnTo>
                      <a:pt x="148" y="814"/>
                    </a:lnTo>
                    <a:lnTo>
                      <a:pt x="148" y="812"/>
                    </a:lnTo>
                    <a:lnTo>
                      <a:pt x="148" y="810"/>
                    </a:lnTo>
                    <a:lnTo>
                      <a:pt x="148" y="806"/>
                    </a:lnTo>
                    <a:lnTo>
                      <a:pt x="148" y="804"/>
                    </a:lnTo>
                    <a:lnTo>
                      <a:pt x="148" y="800"/>
                    </a:lnTo>
                    <a:lnTo>
                      <a:pt x="148" y="800"/>
                    </a:lnTo>
                    <a:lnTo>
                      <a:pt x="148" y="800"/>
                    </a:lnTo>
                    <a:lnTo>
                      <a:pt x="146" y="796"/>
                    </a:lnTo>
                    <a:lnTo>
                      <a:pt x="146" y="794"/>
                    </a:lnTo>
                    <a:lnTo>
                      <a:pt x="144" y="792"/>
                    </a:lnTo>
                    <a:lnTo>
                      <a:pt x="144" y="788"/>
                    </a:lnTo>
                    <a:lnTo>
                      <a:pt x="146" y="782"/>
                    </a:lnTo>
                    <a:lnTo>
                      <a:pt x="148" y="776"/>
                    </a:lnTo>
                    <a:lnTo>
                      <a:pt x="148" y="776"/>
                    </a:lnTo>
                    <a:lnTo>
                      <a:pt x="146" y="772"/>
                    </a:lnTo>
                    <a:lnTo>
                      <a:pt x="146" y="772"/>
                    </a:lnTo>
                    <a:lnTo>
                      <a:pt x="146" y="772"/>
                    </a:lnTo>
                    <a:lnTo>
                      <a:pt x="144" y="770"/>
                    </a:lnTo>
                    <a:lnTo>
                      <a:pt x="142" y="770"/>
                    </a:lnTo>
                    <a:lnTo>
                      <a:pt x="142" y="770"/>
                    </a:lnTo>
                    <a:lnTo>
                      <a:pt x="140" y="770"/>
                    </a:lnTo>
                    <a:lnTo>
                      <a:pt x="138" y="770"/>
                    </a:lnTo>
                    <a:lnTo>
                      <a:pt x="134" y="770"/>
                    </a:lnTo>
                    <a:lnTo>
                      <a:pt x="126" y="772"/>
                    </a:lnTo>
                    <a:lnTo>
                      <a:pt x="124" y="774"/>
                    </a:lnTo>
                    <a:lnTo>
                      <a:pt x="120" y="774"/>
                    </a:lnTo>
                    <a:lnTo>
                      <a:pt x="120" y="774"/>
                    </a:lnTo>
                    <a:lnTo>
                      <a:pt x="118" y="774"/>
                    </a:lnTo>
                    <a:lnTo>
                      <a:pt x="116" y="776"/>
                    </a:lnTo>
                    <a:lnTo>
                      <a:pt x="116" y="776"/>
                    </a:lnTo>
                    <a:lnTo>
                      <a:pt x="116" y="778"/>
                    </a:lnTo>
                    <a:lnTo>
                      <a:pt x="114" y="780"/>
                    </a:lnTo>
                    <a:lnTo>
                      <a:pt x="114" y="780"/>
                    </a:lnTo>
                    <a:lnTo>
                      <a:pt x="114" y="782"/>
                    </a:lnTo>
                    <a:lnTo>
                      <a:pt x="114" y="784"/>
                    </a:lnTo>
                    <a:lnTo>
                      <a:pt x="114" y="784"/>
                    </a:lnTo>
                    <a:lnTo>
                      <a:pt x="114" y="784"/>
                    </a:lnTo>
                    <a:lnTo>
                      <a:pt x="114" y="788"/>
                    </a:lnTo>
                    <a:lnTo>
                      <a:pt x="116" y="790"/>
                    </a:lnTo>
                    <a:lnTo>
                      <a:pt x="116" y="794"/>
                    </a:lnTo>
                    <a:lnTo>
                      <a:pt x="118" y="796"/>
                    </a:lnTo>
                    <a:lnTo>
                      <a:pt x="118" y="800"/>
                    </a:lnTo>
                    <a:lnTo>
                      <a:pt x="118" y="800"/>
                    </a:lnTo>
                    <a:lnTo>
                      <a:pt x="118" y="802"/>
                    </a:lnTo>
                    <a:lnTo>
                      <a:pt x="120" y="804"/>
                    </a:lnTo>
                    <a:lnTo>
                      <a:pt x="120" y="804"/>
                    </a:lnTo>
                    <a:lnTo>
                      <a:pt x="122" y="808"/>
                    </a:lnTo>
                    <a:lnTo>
                      <a:pt x="124" y="812"/>
                    </a:lnTo>
                    <a:lnTo>
                      <a:pt x="124" y="816"/>
                    </a:lnTo>
                    <a:lnTo>
                      <a:pt x="124" y="816"/>
                    </a:lnTo>
                    <a:lnTo>
                      <a:pt x="126" y="818"/>
                    </a:lnTo>
                    <a:lnTo>
                      <a:pt x="128" y="818"/>
                    </a:lnTo>
                    <a:lnTo>
                      <a:pt x="130" y="818"/>
                    </a:lnTo>
                    <a:lnTo>
                      <a:pt x="130" y="820"/>
                    </a:lnTo>
                    <a:lnTo>
                      <a:pt x="132" y="820"/>
                    </a:lnTo>
                    <a:lnTo>
                      <a:pt x="132" y="822"/>
                    </a:lnTo>
                    <a:lnTo>
                      <a:pt x="132" y="824"/>
                    </a:lnTo>
                    <a:lnTo>
                      <a:pt x="132" y="826"/>
                    </a:lnTo>
                    <a:lnTo>
                      <a:pt x="132" y="826"/>
                    </a:lnTo>
                    <a:lnTo>
                      <a:pt x="132" y="826"/>
                    </a:lnTo>
                    <a:lnTo>
                      <a:pt x="134" y="830"/>
                    </a:lnTo>
                    <a:lnTo>
                      <a:pt x="134" y="830"/>
                    </a:lnTo>
                    <a:lnTo>
                      <a:pt x="134" y="830"/>
                    </a:lnTo>
                    <a:lnTo>
                      <a:pt x="136" y="832"/>
                    </a:lnTo>
                    <a:lnTo>
                      <a:pt x="136" y="832"/>
                    </a:lnTo>
                    <a:lnTo>
                      <a:pt x="136" y="832"/>
                    </a:lnTo>
                    <a:lnTo>
                      <a:pt x="138" y="834"/>
                    </a:lnTo>
                    <a:lnTo>
                      <a:pt x="138" y="834"/>
                    </a:lnTo>
                    <a:lnTo>
                      <a:pt x="138" y="834"/>
                    </a:lnTo>
                    <a:lnTo>
                      <a:pt x="140" y="834"/>
                    </a:lnTo>
                    <a:lnTo>
                      <a:pt x="140" y="834"/>
                    </a:lnTo>
                    <a:lnTo>
                      <a:pt x="140" y="834"/>
                    </a:lnTo>
                    <a:lnTo>
                      <a:pt x="146" y="836"/>
                    </a:lnTo>
                    <a:lnTo>
                      <a:pt x="148" y="836"/>
                    </a:lnTo>
                    <a:lnTo>
                      <a:pt x="148" y="836"/>
                    </a:lnTo>
                    <a:lnTo>
                      <a:pt x="148" y="836"/>
                    </a:lnTo>
                    <a:lnTo>
                      <a:pt x="150" y="836"/>
                    </a:lnTo>
                    <a:lnTo>
                      <a:pt x="150" y="836"/>
                    </a:lnTo>
                    <a:lnTo>
                      <a:pt x="152" y="836"/>
                    </a:lnTo>
                    <a:lnTo>
                      <a:pt x="154" y="834"/>
                    </a:lnTo>
                    <a:lnTo>
                      <a:pt x="154" y="834"/>
                    </a:lnTo>
                    <a:lnTo>
                      <a:pt x="154" y="834"/>
                    </a:lnTo>
                    <a:lnTo>
                      <a:pt x="156" y="832"/>
                    </a:lnTo>
                    <a:lnTo>
                      <a:pt x="156" y="832"/>
                    </a:lnTo>
                    <a:lnTo>
                      <a:pt x="156" y="832"/>
                    </a:lnTo>
                    <a:lnTo>
                      <a:pt x="156" y="828"/>
                    </a:lnTo>
                    <a:lnTo>
                      <a:pt x="156" y="826"/>
                    </a:lnTo>
                    <a:lnTo>
                      <a:pt x="156" y="820"/>
                    </a:lnTo>
                    <a:lnTo>
                      <a:pt x="156" y="820"/>
                    </a:lnTo>
                    <a:lnTo>
                      <a:pt x="156" y="818"/>
                    </a:lnTo>
                    <a:lnTo>
                      <a:pt x="156" y="818"/>
                    </a:lnTo>
                    <a:close/>
                    <a:moveTo>
                      <a:pt x="632" y="94"/>
                    </a:moveTo>
                    <a:lnTo>
                      <a:pt x="628" y="94"/>
                    </a:lnTo>
                    <a:lnTo>
                      <a:pt x="624" y="94"/>
                    </a:lnTo>
                    <a:lnTo>
                      <a:pt x="620" y="96"/>
                    </a:lnTo>
                    <a:lnTo>
                      <a:pt x="616" y="96"/>
                    </a:lnTo>
                    <a:lnTo>
                      <a:pt x="610" y="98"/>
                    </a:lnTo>
                    <a:lnTo>
                      <a:pt x="608" y="98"/>
                    </a:lnTo>
                    <a:lnTo>
                      <a:pt x="604" y="98"/>
                    </a:lnTo>
                    <a:lnTo>
                      <a:pt x="600" y="100"/>
                    </a:lnTo>
                    <a:lnTo>
                      <a:pt x="598" y="100"/>
                    </a:lnTo>
                    <a:lnTo>
                      <a:pt x="596" y="100"/>
                    </a:lnTo>
                    <a:lnTo>
                      <a:pt x="594" y="100"/>
                    </a:lnTo>
                    <a:lnTo>
                      <a:pt x="594" y="100"/>
                    </a:lnTo>
                    <a:lnTo>
                      <a:pt x="594" y="100"/>
                    </a:lnTo>
                    <a:lnTo>
                      <a:pt x="592" y="102"/>
                    </a:lnTo>
                    <a:lnTo>
                      <a:pt x="592" y="102"/>
                    </a:lnTo>
                    <a:lnTo>
                      <a:pt x="592" y="104"/>
                    </a:lnTo>
                    <a:lnTo>
                      <a:pt x="596" y="122"/>
                    </a:lnTo>
                    <a:lnTo>
                      <a:pt x="598" y="142"/>
                    </a:lnTo>
                    <a:lnTo>
                      <a:pt x="598" y="144"/>
                    </a:lnTo>
                    <a:lnTo>
                      <a:pt x="598" y="146"/>
                    </a:lnTo>
                    <a:lnTo>
                      <a:pt x="596" y="146"/>
                    </a:lnTo>
                    <a:lnTo>
                      <a:pt x="596" y="148"/>
                    </a:lnTo>
                    <a:lnTo>
                      <a:pt x="590" y="152"/>
                    </a:lnTo>
                    <a:lnTo>
                      <a:pt x="588" y="154"/>
                    </a:lnTo>
                    <a:lnTo>
                      <a:pt x="588" y="154"/>
                    </a:lnTo>
                    <a:lnTo>
                      <a:pt x="586" y="152"/>
                    </a:lnTo>
                    <a:lnTo>
                      <a:pt x="586" y="150"/>
                    </a:lnTo>
                    <a:lnTo>
                      <a:pt x="586" y="150"/>
                    </a:lnTo>
                    <a:lnTo>
                      <a:pt x="584" y="146"/>
                    </a:lnTo>
                    <a:lnTo>
                      <a:pt x="584" y="144"/>
                    </a:lnTo>
                    <a:lnTo>
                      <a:pt x="582" y="142"/>
                    </a:lnTo>
                    <a:lnTo>
                      <a:pt x="582" y="142"/>
                    </a:lnTo>
                    <a:lnTo>
                      <a:pt x="582" y="140"/>
                    </a:lnTo>
                    <a:lnTo>
                      <a:pt x="582" y="138"/>
                    </a:lnTo>
                    <a:lnTo>
                      <a:pt x="582" y="138"/>
                    </a:lnTo>
                    <a:lnTo>
                      <a:pt x="582" y="138"/>
                    </a:lnTo>
                    <a:lnTo>
                      <a:pt x="580" y="136"/>
                    </a:lnTo>
                    <a:lnTo>
                      <a:pt x="580" y="136"/>
                    </a:lnTo>
                    <a:lnTo>
                      <a:pt x="578" y="136"/>
                    </a:lnTo>
                    <a:lnTo>
                      <a:pt x="574" y="134"/>
                    </a:lnTo>
                    <a:lnTo>
                      <a:pt x="572" y="132"/>
                    </a:lnTo>
                    <a:lnTo>
                      <a:pt x="570" y="132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70" y="130"/>
                    </a:lnTo>
                    <a:lnTo>
                      <a:pt x="566" y="132"/>
                    </a:lnTo>
                    <a:lnTo>
                      <a:pt x="566" y="132"/>
                    </a:lnTo>
                    <a:lnTo>
                      <a:pt x="566" y="134"/>
                    </a:lnTo>
                    <a:lnTo>
                      <a:pt x="566" y="142"/>
                    </a:lnTo>
                    <a:lnTo>
                      <a:pt x="566" y="150"/>
                    </a:lnTo>
                    <a:lnTo>
                      <a:pt x="568" y="158"/>
                    </a:lnTo>
                    <a:lnTo>
                      <a:pt x="570" y="164"/>
                    </a:lnTo>
                    <a:lnTo>
                      <a:pt x="570" y="164"/>
                    </a:lnTo>
                    <a:lnTo>
                      <a:pt x="572" y="166"/>
                    </a:lnTo>
                    <a:lnTo>
                      <a:pt x="574" y="172"/>
                    </a:lnTo>
                    <a:lnTo>
                      <a:pt x="574" y="172"/>
                    </a:lnTo>
                    <a:lnTo>
                      <a:pt x="576" y="172"/>
                    </a:lnTo>
                    <a:lnTo>
                      <a:pt x="578" y="174"/>
                    </a:lnTo>
                    <a:lnTo>
                      <a:pt x="580" y="178"/>
                    </a:lnTo>
                    <a:lnTo>
                      <a:pt x="584" y="180"/>
                    </a:lnTo>
                    <a:lnTo>
                      <a:pt x="584" y="180"/>
                    </a:lnTo>
                    <a:lnTo>
                      <a:pt x="584" y="180"/>
                    </a:lnTo>
                    <a:lnTo>
                      <a:pt x="588" y="182"/>
                    </a:lnTo>
                    <a:lnTo>
                      <a:pt x="592" y="184"/>
                    </a:lnTo>
                    <a:lnTo>
                      <a:pt x="596" y="184"/>
                    </a:lnTo>
                    <a:lnTo>
                      <a:pt x="598" y="186"/>
                    </a:lnTo>
                    <a:lnTo>
                      <a:pt x="600" y="188"/>
                    </a:lnTo>
                    <a:lnTo>
                      <a:pt x="602" y="190"/>
                    </a:lnTo>
                    <a:lnTo>
                      <a:pt x="602" y="190"/>
                    </a:lnTo>
                    <a:lnTo>
                      <a:pt x="602" y="192"/>
                    </a:lnTo>
                    <a:lnTo>
                      <a:pt x="604" y="194"/>
                    </a:lnTo>
                    <a:lnTo>
                      <a:pt x="604" y="198"/>
                    </a:lnTo>
                    <a:lnTo>
                      <a:pt x="606" y="200"/>
                    </a:lnTo>
                    <a:lnTo>
                      <a:pt x="608" y="206"/>
                    </a:lnTo>
                    <a:lnTo>
                      <a:pt x="608" y="206"/>
                    </a:lnTo>
                    <a:lnTo>
                      <a:pt x="608" y="206"/>
                    </a:lnTo>
                    <a:lnTo>
                      <a:pt x="608" y="208"/>
                    </a:lnTo>
                    <a:lnTo>
                      <a:pt x="608" y="210"/>
                    </a:lnTo>
                    <a:lnTo>
                      <a:pt x="608" y="210"/>
                    </a:lnTo>
                    <a:lnTo>
                      <a:pt x="610" y="210"/>
                    </a:lnTo>
                    <a:lnTo>
                      <a:pt x="610" y="212"/>
                    </a:lnTo>
                    <a:lnTo>
                      <a:pt x="612" y="214"/>
                    </a:lnTo>
                    <a:lnTo>
                      <a:pt x="616" y="218"/>
                    </a:lnTo>
                    <a:lnTo>
                      <a:pt x="620" y="220"/>
                    </a:lnTo>
                    <a:lnTo>
                      <a:pt x="620" y="220"/>
                    </a:lnTo>
                    <a:lnTo>
                      <a:pt x="622" y="222"/>
                    </a:lnTo>
                    <a:lnTo>
                      <a:pt x="628" y="220"/>
                    </a:lnTo>
                    <a:lnTo>
                      <a:pt x="628" y="220"/>
                    </a:lnTo>
                    <a:lnTo>
                      <a:pt x="628" y="220"/>
                    </a:lnTo>
                    <a:lnTo>
                      <a:pt x="630" y="220"/>
                    </a:lnTo>
                    <a:lnTo>
                      <a:pt x="630" y="220"/>
                    </a:lnTo>
                    <a:lnTo>
                      <a:pt x="632" y="220"/>
                    </a:lnTo>
                    <a:lnTo>
                      <a:pt x="634" y="218"/>
                    </a:lnTo>
                    <a:lnTo>
                      <a:pt x="634" y="218"/>
                    </a:lnTo>
                    <a:lnTo>
                      <a:pt x="634" y="218"/>
                    </a:lnTo>
                    <a:lnTo>
                      <a:pt x="634" y="216"/>
                    </a:lnTo>
                    <a:lnTo>
                      <a:pt x="634" y="216"/>
                    </a:lnTo>
                    <a:lnTo>
                      <a:pt x="636" y="214"/>
                    </a:lnTo>
                    <a:lnTo>
                      <a:pt x="636" y="212"/>
                    </a:lnTo>
                    <a:lnTo>
                      <a:pt x="636" y="212"/>
                    </a:lnTo>
                    <a:lnTo>
                      <a:pt x="636" y="212"/>
                    </a:lnTo>
                    <a:lnTo>
                      <a:pt x="634" y="210"/>
                    </a:lnTo>
                    <a:lnTo>
                      <a:pt x="638" y="210"/>
                    </a:lnTo>
                    <a:lnTo>
                      <a:pt x="642" y="210"/>
                    </a:lnTo>
                    <a:lnTo>
                      <a:pt x="646" y="210"/>
                    </a:lnTo>
                    <a:lnTo>
                      <a:pt x="646" y="210"/>
                    </a:lnTo>
                    <a:lnTo>
                      <a:pt x="646" y="210"/>
                    </a:lnTo>
                    <a:lnTo>
                      <a:pt x="648" y="208"/>
                    </a:lnTo>
                    <a:lnTo>
                      <a:pt x="648" y="208"/>
                    </a:lnTo>
                    <a:lnTo>
                      <a:pt x="648" y="208"/>
                    </a:lnTo>
                    <a:lnTo>
                      <a:pt x="650" y="208"/>
                    </a:lnTo>
                    <a:lnTo>
                      <a:pt x="650" y="208"/>
                    </a:lnTo>
                    <a:lnTo>
                      <a:pt x="652" y="206"/>
                    </a:lnTo>
                    <a:lnTo>
                      <a:pt x="652" y="206"/>
                    </a:lnTo>
                    <a:lnTo>
                      <a:pt x="652" y="206"/>
                    </a:lnTo>
                    <a:lnTo>
                      <a:pt x="654" y="204"/>
                    </a:lnTo>
                    <a:lnTo>
                      <a:pt x="654" y="202"/>
                    </a:lnTo>
                    <a:lnTo>
                      <a:pt x="656" y="198"/>
                    </a:lnTo>
                    <a:lnTo>
                      <a:pt x="656" y="198"/>
                    </a:lnTo>
                    <a:lnTo>
                      <a:pt x="658" y="196"/>
                    </a:lnTo>
                    <a:lnTo>
                      <a:pt x="656" y="190"/>
                    </a:lnTo>
                    <a:lnTo>
                      <a:pt x="656" y="184"/>
                    </a:lnTo>
                    <a:lnTo>
                      <a:pt x="656" y="178"/>
                    </a:lnTo>
                    <a:lnTo>
                      <a:pt x="656" y="172"/>
                    </a:lnTo>
                    <a:lnTo>
                      <a:pt x="656" y="166"/>
                    </a:lnTo>
                    <a:lnTo>
                      <a:pt x="656" y="162"/>
                    </a:lnTo>
                    <a:lnTo>
                      <a:pt x="656" y="158"/>
                    </a:lnTo>
                    <a:lnTo>
                      <a:pt x="654" y="154"/>
                    </a:lnTo>
                    <a:lnTo>
                      <a:pt x="654" y="154"/>
                    </a:lnTo>
                    <a:lnTo>
                      <a:pt x="654" y="154"/>
                    </a:lnTo>
                    <a:lnTo>
                      <a:pt x="652" y="150"/>
                    </a:lnTo>
                    <a:lnTo>
                      <a:pt x="652" y="150"/>
                    </a:lnTo>
                    <a:lnTo>
                      <a:pt x="652" y="150"/>
                    </a:lnTo>
                    <a:lnTo>
                      <a:pt x="650" y="148"/>
                    </a:lnTo>
                    <a:lnTo>
                      <a:pt x="650" y="148"/>
                    </a:lnTo>
                    <a:lnTo>
                      <a:pt x="650" y="146"/>
                    </a:lnTo>
                    <a:lnTo>
                      <a:pt x="648" y="144"/>
                    </a:lnTo>
                    <a:lnTo>
                      <a:pt x="648" y="144"/>
                    </a:lnTo>
                    <a:lnTo>
                      <a:pt x="648" y="144"/>
                    </a:lnTo>
                    <a:lnTo>
                      <a:pt x="644" y="142"/>
                    </a:lnTo>
                    <a:lnTo>
                      <a:pt x="644" y="142"/>
                    </a:lnTo>
                    <a:lnTo>
                      <a:pt x="644" y="142"/>
                    </a:lnTo>
                    <a:lnTo>
                      <a:pt x="640" y="140"/>
                    </a:lnTo>
                    <a:lnTo>
                      <a:pt x="634" y="138"/>
                    </a:lnTo>
                    <a:lnTo>
                      <a:pt x="628" y="138"/>
                    </a:lnTo>
                    <a:lnTo>
                      <a:pt x="624" y="136"/>
                    </a:lnTo>
                    <a:lnTo>
                      <a:pt x="626" y="136"/>
                    </a:lnTo>
                    <a:lnTo>
                      <a:pt x="626" y="134"/>
                    </a:lnTo>
                    <a:lnTo>
                      <a:pt x="626" y="134"/>
                    </a:lnTo>
                    <a:lnTo>
                      <a:pt x="628" y="132"/>
                    </a:lnTo>
                    <a:lnTo>
                      <a:pt x="628" y="132"/>
                    </a:lnTo>
                    <a:lnTo>
                      <a:pt x="630" y="130"/>
                    </a:lnTo>
                    <a:lnTo>
                      <a:pt x="634" y="128"/>
                    </a:lnTo>
                    <a:lnTo>
                      <a:pt x="634" y="128"/>
                    </a:lnTo>
                    <a:lnTo>
                      <a:pt x="634" y="128"/>
                    </a:lnTo>
                    <a:lnTo>
                      <a:pt x="636" y="126"/>
                    </a:lnTo>
                    <a:lnTo>
                      <a:pt x="638" y="124"/>
                    </a:lnTo>
                    <a:lnTo>
                      <a:pt x="640" y="122"/>
                    </a:lnTo>
                    <a:lnTo>
                      <a:pt x="640" y="122"/>
                    </a:lnTo>
                    <a:lnTo>
                      <a:pt x="640" y="122"/>
                    </a:lnTo>
                    <a:lnTo>
                      <a:pt x="642" y="120"/>
                    </a:lnTo>
                    <a:lnTo>
                      <a:pt x="642" y="120"/>
                    </a:lnTo>
                    <a:lnTo>
                      <a:pt x="642" y="118"/>
                    </a:lnTo>
                    <a:lnTo>
                      <a:pt x="642" y="116"/>
                    </a:lnTo>
                    <a:lnTo>
                      <a:pt x="642" y="114"/>
                    </a:lnTo>
                    <a:lnTo>
                      <a:pt x="642" y="112"/>
                    </a:lnTo>
                    <a:lnTo>
                      <a:pt x="642" y="112"/>
                    </a:lnTo>
                    <a:lnTo>
                      <a:pt x="644" y="110"/>
                    </a:lnTo>
                    <a:lnTo>
                      <a:pt x="644" y="108"/>
                    </a:lnTo>
                    <a:lnTo>
                      <a:pt x="646" y="106"/>
                    </a:lnTo>
                    <a:lnTo>
                      <a:pt x="646" y="106"/>
                    </a:lnTo>
                    <a:lnTo>
                      <a:pt x="646" y="104"/>
                    </a:lnTo>
                    <a:lnTo>
                      <a:pt x="646" y="100"/>
                    </a:lnTo>
                    <a:lnTo>
                      <a:pt x="646" y="98"/>
                    </a:lnTo>
                    <a:lnTo>
                      <a:pt x="646" y="96"/>
                    </a:lnTo>
                    <a:lnTo>
                      <a:pt x="644" y="94"/>
                    </a:lnTo>
                    <a:lnTo>
                      <a:pt x="644" y="94"/>
                    </a:lnTo>
                    <a:lnTo>
                      <a:pt x="644" y="94"/>
                    </a:lnTo>
                    <a:lnTo>
                      <a:pt x="644" y="94"/>
                    </a:lnTo>
                    <a:lnTo>
                      <a:pt x="644" y="94"/>
                    </a:lnTo>
                    <a:lnTo>
                      <a:pt x="644" y="92"/>
                    </a:lnTo>
                    <a:lnTo>
                      <a:pt x="642" y="92"/>
                    </a:lnTo>
                    <a:lnTo>
                      <a:pt x="642" y="92"/>
                    </a:lnTo>
                    <a:lnTo>
                      <a:pt x="642" y="92"/>
                    </a:lnTo>
                    <a:lnTo>
                      <a:pt x="640" y="92"/>
                    </a:lnTo>
                    <a:lnTo>
                      <a:pt x="640" y="92"/>
                    </a:lnTo>
                    <a:lnTo>
                      <a:pt x="640" y="92"/>
                    </a:lnTo>
                    <a:lnTo>
                      <a:pt x="638" y="92"/>
                    </a:lnTo>
                    <a:lnTo>
                      <a:pt x="636" y="92"/>
                    </a:lnTo>
                    <a:lnTo>
                      <a:pt x="634" y="92"/>
                    </a:lnTo>
                    <a:lnTo>
                      <a:pt x="632" y="94"/>
                    </a:lnTo>
                    <a:close/>
                    <a:moveTo>
                      <a:pt x="698" y="80"/>
                    </a:moveTo>
                    <a:lnTo>
                      <a:pt x="690" y="80"/>
                    </a:lnTo>
                    <a:lnTo>
                      <a:pt x="686" y="80"/>
                    </a:lnTo>
                    <a:lnTo>
                      <a:pt x="686" y="80"/>
                    </a:lnTo>
                    <a:lnTo>
                      <a:pt x="686" y="80"/>
                    </a:lnTo>
                    <a:lnTo>
                      <a:pt x="682" y="80"/>
                    </a:lnTo>
                    <a:lnTo>
                      <a:pt x="682" y="80"/>
                    </a:lnTo>
                    <a:lnTo>
                      <a:pt x="682" y="80"/>
                    </a:lnTo>
                    <a:lnTo>
                      <a:pt x="678" y="82"/>
                    </a:lnTo>
                    <a:lnTo>
                      <a:pt x="678" y="82"/>
                    </a:lnTo>
                    <a:lnTo>
                      <a:pt x="678" y="84"/>
                    </a:lnTo>
                    <a:lnTo>
                      <a:pt x="676" y="84"/>
                    </a:lnTo>
                    <a:lnTo>
                      <a:pt x="676" y="84"/>
                    </a:lnTo>
                    <a:lnTo>
                      <a:pt x="676" y="84"/>
                    </a:lnTo>
                    <a:lnTo>
                      <a:pt x="674" y="86"/>
                    </a:lnTo>
                    <a:lnTo>
                      <a:pt x="674" y="86"/>
                    </a:lnTo>
                    <a:lnTo>
                      <a:pt x="674" y="90"/>
                    </a:lnTo>
                    <a:lnTo>
                      <a:pt x="676" y="94"/>
                    </a:lnTo>
                    <a:lnTo>
                      <a:pt x="678" y="96"/>
                    </a:lnTo>
                    <a:lnTo>
                      <a:pt x="680" y="98"/>
                    </a:lnTo>
                    <a:lnTo>
                      <a:pt x="682" y="100"/>
                    </a:lnTo>
                    <a:lnTo>
                      <a:pt x="680" y="100"/>
                    </a:lnTo>
                    <a:lnTo>
                      <a:pt x="680" y="102"/>
                    </a:lnTo>
                    <a:lnTo>
                      <a:pt x="678" y="102"/>
                    </a:lnTo>
                    <a:lnTo>
                      <a:pt x="678" y="104"/>
                    </a:lnTo>
                    <a:lnTo>
                      <a:pt x="676" y="104"/>
                    </a:lnTo>
                    <a:lnTo>
                      <a:pt x="676" y="104"/>
                    </a:lnTo>
                    <a:lnTo>
                      <a:pt x="674" y="102"/>
                    </a:lnTo>
                    <a:lnTo>
                      <a:pt x="672" y="100"/>
                    </a:lnTo>
                    <a:lnTo>
                      <a:pt x="672" y="100"/>
                    </a:lnTo>
                    <a:lnTo>
                      <a:pt x="668" y="100"/>
                    </a:lnTo>
                    <a:lnTo>
                      <a:pt x="668" y="100"/>
                    </a:lnTo>
                    <a:lnTo>
                      <a:pt x="666" y="102"/>
                    </a:lnTo>
                    <a:lnTo>
                      <a:pt x="666" y="104"/>
                    </a:lnTo>
                    <a:lnTo>
                      <a:pt x="668" y="106"/>
                    </a:lnTo>
                    <a:lnTo>
                      <a:pt x="668" y="108"/>
                    </a:lnTo>
                    <a:lnTo>
                      <a:pt x="668" y="112"/>
                    </a:lnTo>
                    <a:lnTo>
                      <a:pt x="668" y="116"/>
                    </a:lnTo>
                    <a:lnTo>
                      <a:pt x="668" y="122"/>
                    </a:lnTo>
                    <a:lnTo>
                      <a:pt x="668" y="130"/>
                    </a:lnTo>
                    <a:lnTo>
                      <a:pt x="668" y="138"/>
                    </a:lnTo>
                    <a:lnTo>
                      <a:pt x="670" y="144"/>
                    </a:lnTo>
                    <a:lnTo>
                      <a:pt x="670" y="152"/>
                    </a:lnTo>
                    <a:lnTo>
                      <a:pt x="670" y="160"/>
                    </a:lnTo>
                    <a:lnTo>
                      <a:pt x="672" y="166"/>
                    </a:lnTo>
                    <a:lnTo>
                      <a:pt x="672" y="172"/>
                    </a:lnTo>
                    <a:lnTo>
                      <a:pt x="674" y="178"/>
                    </a:lnTo>
                    <a:lnTo>
                      <a:pt x="676" y="182"/>
                    </a:lnTo>
                    <a:lnTo>
                      <a:pt x="676" y="184"/>
                    </a:lnTo>
                    <a:lnTo>
                      <a:pt x="676" y="184"/>
                    </a:lnTo>
                    <a:lnTo>
                      <a:pt x="676" y="184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78" y="186"/>
                    </a:lnTo>
                    <a:lnTo>
                      <a:pt x="680" y="188"/>
                    </a:lnTo>
                    <a:lnTo>
                      <a:pt x="680" y="188"/>
                    </a:lnTo>
                    <a:lnTo>
                      <a:pt x="680" y="188"/>
                    </a:lnTo>
                    <a:lnTo>
                      <a:pt x="682" y="188"/>
                    </a:lnTo>
                    <a:lnTo>
                      <a:pt x="684" y="188"/>
                    </a:lnTo>
                    <a:lnTo>
                      <a:pt x="686" y="188"/>
                    </a:lnTo>
                    <a:lnTo>
                      <a:pt x="690" y="186"/>
                    </a:lnTo>
                    <a:lnTo>
                      <a:pt x="690" y="186"/>
                    </a:lnTo>
                    <a:lnTo>
                      <a:pt x="690" y="186"/>
                    </a:lnTo>
                    <a:lnTo>
                      <a:pt x="692" y="184"/>
                    </a:lnTo>
                    <a:lnTo>
                      <a:pt x="692" y="184"/>
                    </a:lnTo>
                    <a:lnTo>
                      <a:pt x="694" y="184"/>
                    </a:lnTo>
                    <a:lnTo>
                      <a:pt x="694" y="182"/>
                    </a:lnTo>
                    <a:lnTo>
                      <a:pt x="694" y="182"/>
                    </a:lnTo>
                    <a:lnTo>
                      <a:pt x="694" y="182"/>
                    </a:lnTo>
                    <a:lnTo>
                      <a:pt x="696" y="180"/>
                    </a:lnTo>
                    <a:lnTo>
                      <a:pt x="696" y="176"/>
                    </a:lnTo>
                    <a:lnTo>
                      <a:pt x="698" y="174"/>
                    </a:lnTo>
                    <a:lnTo>
                      <a:pt x="700" y="170"/>
                    </a:lnTo>
                    <a:lnTo>
                      <a:pt x="700" y="170"/>
                    </a:lnTo>
                    <a:lnTo>
                      <a:pt x="700" y="170"/>
                    </a:lnTo>
                    <a:lnTo>
                      <a:pt x="700" y="166"/>
                    </a:lnTo>
                    <a:lnTo>
                      <a:pt x="700" y="164"/>
                    </a:lnTo>
                    <a:lnTo>
                      <a:pt x="700" y="164"/>
                    </a:lnTo>
                    <a:lnTo>
                      <a:pt x="700" y="164"/>
                    </a:lnTo>
                    <a:lnTo>
                      <a:pt x="698" y="160"/>
                    </a:lnTo>
                    <a:lnTo>
                      <a:pt x="698" y="160"/>
                    </a:lnTo>
                    <a:lnTo>
                      <a:pt x="698" y="158"/>
                    </a:lnTo>
                    <a:lnTo>
                      <a:pt x="698" y="156"/>
                    </a:lnTo>
                    <a:lnTo>
                      <a:pt x="696" y="154"/>
                    </a:lnTo>
                    <a:lnTo>
                      <a:pt x="696" y="154"/>
                    </a:lnTo>
                    <a:lnTo>
                      <a:pt x="696" y="154"/>
                    </a:lnTo>
                    <a:lnTo>
                      <a:pt x="696" y="152"/>
                    </a:lnTo>
                    <a:lnTo>
                      <a:pt x="696" y="152"/>
                    </a:lnTo>
                    <a:lnTo>
                      <a:pt x="700" y="150"/>
                    </a:lnTo>
                    <a:lnTo>
                      <a:pt x="704" y="150"/>
                    </a:lnTo>
                    <a:lnTo>
                      <a:pt x="708" y="148"/>
                    </a:lnTo>
                    <a:lnTo>
                      <a:pt x="716" y="148"/>
                    </a:lnTo>
                    <a:lnTo>
                      <a:pt x="726" y="148"/>
                    </a:lnTo>
                    <a:lnTo>
                      <a:pt x="726" y="148"/>
                    </a:lnTo>
                    <a:lnTo>
                      <a:pt x="728" y="146"/>
                    </a:lnTo>
                    <a:lnTo>
                      <a:pt x="728" y="144"/>
                    </a:lnTo>
                    <a:lnTo>
                      <a:pt x="730" y="140"/>
                    </a:lnTo>
                    <a:lnTo>
                      <a:pt x="730" y="136"/>
                    </a:lnTo>
                    <a:lnTo>
                      <a:pt x="730" y="132"/>
                    </a:lnTo>
                    <a:lnTo>
                      <a:pt x="730" y="128"/>
                    </a:lnTo>
                    <a:lnTo>
                      <a:pt x="732" y="126"/>
                    </a:lnTo>
                    <a:lnTo>
                      <a:pt x="734" y="124"/>
                    </a:lnTo>
                    <a:lnTo>
                      <a:pt x="736" y="122"/>
                    </a:lnTo>
                    <a:lnTo>
                      <a:pt x="736" y="122"/>
                    </a:lnTo>
                    <a:lnTo>
                      <a:pt x="740" y="120"/>
                    </a:lnTo>
                    <a:lnTo>
                      <a:pt x="740" y="120"/>
                    </a:lnTo>
                    <a:lnTo>
                      <a:pt x="740" y="118"/>
                    </a:lnTo>
                    <a:lnTo>
                      <a:pt x="742" y="114"/>
                    </a:lnTo>
                    <a:lnTo>
                      <a:pt x="744" y="108"/>
                    </a:lnTo>
                    <a:lnTo>
                      <a:pt x="742" y="110"/>
                    </a:lnTo>
                    <a:lnTo>
                      <a:pt x="746" y="106"/>
                    </a:lnTo>
                    <a:lnTo>
                      <a:pt x="746" y="106"/>
                    </a:lnTo>
                    <a:lnTo>
                      <a:pt x="746" y="104"/>
                    </a:lnTo>
                    <a:lnTo>
                      <a:pt x="748" y="102"/>
                    </a:lnTo>
                    <a:lnTo>
                      <a:pt x="748" y="102"/>
                    </a:lnTo>
                    <a:lnTo>
                      <a:pt x="750" y="102"/>
                    </a:lnTo>
                    <a:lnTo>
                      <a:pt x="750" y="98"/>
                    </a:lnTo>
                    <a:lnTo>
                      <a:pt x="750" y="98"/>
                    </a:lnTo>
                    <a:lnTo>
                      <a:pt x="750" y="98"/>
                    </a:lnTo>
                    <a:lnTo>
                      <a:pt x="752" y="96"/>
                    </a:lnTo>
                    <a:lnTo>
                      <a:pt x="752" y="96"/>
                    </a:lnTo>
                    <a:lnTo>
                      <a:pt x="752" y="94"/>
                    </a:lnTo>
                    <a:lnTo>
                      <a:pt x="750" y="94"/>
                    </a:lnTo>
                    <a:lnTo>
                      <a:pt x="750" y="94"/>
                    </a:lnTo>
                    <a:lnTo>
                      <a:pt x="750" y="92"/>
                    </a:lnTo>
                    <a:lnTo>
                      <a:pt x="750" y="92"/>
                    </a:lnTo>
                    <a:lnTo>
                      <a:pt x="750" y="92"/>
                    </a:lnTo>
                    <a:lnTo>
                      <a:pt x="748" y="90"/>
                    </a:lnTo>
                    <a:lnTo>
                      <a:pt x="746" y="90"/>
                    </a:lnTo>
                    <a:lnTo>
                      <a:pt x="746" y="90"/>
                    </a:lnTo>
                    <a:lnTo>
                      <a:pt x="746" y="90"/>
                    </a:lnTo>
                    <a:lnTo>
                      <a:pt x="744" y="90"/>
                    </a:lnTo>
                    <a:lnTo>
                      <a:pt x="740" y="88"/>
                    </a:lnTo>
                    <a:lnTo>
                      <a:pt x="740" y="88"/>
                    </a:lnTo>
                    <a:lnTo>
                      <a:pt x="738" y="88"/>
                    </a:lnTo>
                    <a:lnTo>
                      <a:pt x="734" y="88"/>
                    </a:lnTo>
                    <a:lnTo>
                      <a:pt x="728" y="88"/>
                    </a:lnTo>
                    <a:lnTo>
                      <a:pt x="722" y="88"/>
                    </a:lnTo>
                    <a:lnTo>
                      <a:pt x="716" y="90"/>
                    </a:lnTo>
                    <a:lnTo>
                      <a:pt x="716" y="90"/>
                    </a:lnTo>
                    <a:lnTo>
                      <a:pt x="716" y="90"/>
                    </a:lnTo>
                    <a:lnTo>
                      <a:pt x="714" y="90"/>
                    </a:lnTo>
                    <a:lnTo>
                      <a:pt x="714" y="90"/>
                    </a:lnTo>
                    <a:lnTo>
                      <a:pt x="714" y="90"/>
                    </a:lnTo>
                    <a:lnTo>
                      <a:pt x="714" y="90"/>
                    </a:lnTo>
                    <a:lnTo>
                      <a:pt x="714" y="90"/>
                    </a:lnTo>
                    <a:lnTo>
                      <a:pt x="712" y="90"/>
                    </a:lnTo>
                    <a:lnTo>
                      <a:pt x="712" y="88"/>
                    </a:lnTo>
                    <a:lnTo>
                      <a:pt x="710" y="82"/>
                    </a:lnTo>
                    <a:lnTo>
                      <a:pt x="710" y="82"/>
                    </a:lnTo>
                    <a:lnTo>
                      <a:pt x="710" y="82"/>
                    </a:lnTo>
                    <a:lnTo>
                      <a:pt x="710" y="80"/>
                    </a:lnTo>
                    <a:lnTo>
                      <a:pt x="710" y="80"/>
                    </a:lnTo>
                    <a:lnTo>
                      <a:pt x="708" y="80"/>
                    </a:lnTo>
                    <a:lnTo>
                      <a:pt x="708" y="78"/>
                    </a:lnTo>
                    <a:lnTo>
                      <a:pt x="708" y="78"/>
                    </a:lnTo>
                    <a:lnTo>
                      <a:pt x="704" y="78"/>
                    </a:lnTo>
                    <a:lnTo>
                      <a:pt x="700" y="78"/>
                    </a:lnTo>
                    <a:lnTo>
                      <a:pt x="698" y="80"/>
                    </a:lnTo>
                    <a:close/>
                    <a:moveTo>
                      <a:pt x="904" y="98"/>
                    </a:moveTo>
                    <a:lnTo>
                      <a:pt x="902" y="98"/>
                    </a:lnTo>
                    <a:lnTo>
                      <a:pt x="900" y="98"/>
                    </a:lnTo>
                    <a:lnTo>
                      <a:pt x="896" y="98"/>
                    </a:lnTo>
                    <a:lnTo>
                      <a:pt x="892" y="96"/>
                    </a:lnTo>
                    <a:lnTo>
                      <a:pt x="892" y="96"/>
                    </a:lnTo>
                    <a:lnTo>
                      <a:pt x="890" y="98"/>
                    </a:lnTo>
                    <a:lnTo>
                      <a:pt x="890" y="98"/>
                    </a:lnTo>
                    <a:lnTo>
                      <a:pt x="888" y="100"/>
                    </a:lnTo>
                    <a:lnTo>
                      <a:pt x="888" y="102"/>
                    </a:lnTo>
                    <a:lnTo>
                      <a:pt x="888" y="104"/>
                    </a:lnTo>
                    <a:lnTo>
                      <a:pt x="890" y="108"/>
                    </a:lnTo>
                    <a:lnTo>
                      <a:pt x="890" y="110"/>
                    </a:lnTo>
                    <a:lnTo>
                      <a:pt x="890" y="118"/>
                    </a:lnTo>
                    <a:lnTo>
                      <a:pt x="890" y="126"/>
                    </a:lnTo>
                    <a:lnTo>
                      <a:pt x="892" y="132"/>
                    </a:lnTo>
                    <a:lnTo>
                      <a:pt x="894" y="140"/>
                    </a:lnTo>
                    <a:lnTo>
                      <a:pt x="894" y="142"/>
                    </a:lnTo>
                    <a:lnTo>
                      <a:pt x="896" y="146"/>
                    </a:lnTo>
                    <a:lnTo>
                      <a:pt x="896" y="146"/>
                    </a:lnTo>
                    <a:lnTo>
                      <a:pt x="896" y="146"/>
                    </a:lnTo>
                    <a:lnTo>
                      <a:pt x="898" y="148"/>
                    </a:lnTo>
                    <a:lnTo>
                      <a:pt x="898" y="148"/>
                    </a:lnTo>
                    <a:lnTo>
                      <a:pt x="898" y="148"/>
                    </a:lnTo>
                    <a:lnTo>
                      <a:pt x="900" y="150"/>
                    </a:lnTo>
                    <a:lnTo>
                      <a:pt x="900" y="150"/>
                    </a:lnTo>
                    <a:lnTo>
                      <a:pt x="902" y="150"/>
                    </a:lnTo>
                    <a:lnTo>
                      <a:pt x="908" y="148"/>
                    </a:lnTo>
                    <a:lnTo>
                      <a:pt x="912" y="146"/>
                    </a:lnTo>
                    <a:lnTo>
                      <a:pt x="916" y="146"/>
                    </a:lnTo>
                    <a:lnTo>
                      <a:pt x="922" y="146"/>
                    </a:lnTo>
                    <a:lnTo>
                      <a:pt x="932" y="146"/>
                    </a:lnTo>
                    <a:lnTo>
                      <a:pt x="942" y="144"/>
                    </a:lnTo>
                    <a:lnTo>
                      <a:pt x="942" y="144"/>
                    </a:lnTo>
                    <a:lnTo>
                      <a:pt x="944" y="144"/>
                    </a:lnTo>
                    <a:lnTo>
                      <a:pt x="946" y="144"/>
                    </a:lnTo>
                    <a:lnTo>
                      <a:pt x="948" y="142"/>
                    </a:lnTo>
                    <a:lnTo>
                      <a:pt x="948" y="142"/>
                    </a:lnTo>
                    <a:lnTo>
                      <a:pt x="948" y="142"/>
                    </a:lnTo>
                    <a:lnTo>
                      <a:pt x="948" y="140"/>
                    </a:lnTo>
                    <a:lnTo>
                      <a:pt x="948" y="140"/>
                    </a:lnTo>
                    <a:lnTo>
                      <a:pt x="950" y="140"/>
                    </a:lnTo>
                    <a:lnTo>
                      <a:pt x="950" y="138"/>
                    </a:lnTo>
                    <a:lnTo>
                      <a:pt x="950" y="138"/>
                    </a:lnTo>
                    <a:lnTo>
                      <a:pt x="950" y="138"/>
                    </a:lnTo>
                    <a:lnTo>
                      <a:pt x="950" y="134"/>
                    </a:lnTo>
                    <a:lnTo>
                      <a:pt x="950" y="134"/>
                    </a:lnTo>
                    <a:lnTo>
                      <a:pt x="950" y="134"/>
                    </a:lnTo>
                    <a:lnTo>
                      <a:pt x="948" y="130"/>
                    </a:lnTo>
                    <a:lnTo>
                      <a:pt x="948" y="130"/>
                    </a:lnTo>
                    <a:lnTo>
                      <a:pt x="948" y="130"/>
                    </a:lnTo>
                    <a:lnTo>
                      <a:pt x="946" y="128"/>
                    </a:lnTo>
                    <a:lnTo>
                      <a:pt x="946" y="128"/>
                    </a:lnTo>
                    <a:lnTo>
                      <a:pt x="946" y="128"/>
                    </a:lnTo>
                    <a:lnTo>
                      <a:pt x="944" y="124"/>
                    </a:lnTo>
                    <a:lnTo>
                      <a:pt x="942" y="122"/>
                    </a:lnTo>
                    <a:lnTo>
                      <a:pt x="938" y="122"/>
                    </a:lnTo>
                    <a:lnTo>
                      <a:pt x="938" y="118"/>
                    </a:lnTo>
                    <a:lnTo>
                      <a:pt x="936" y="116"/>
                    </a:lnTo>
                    <a:lnTo>
                      <a:pt x="932" y="114"/>
                    </a:lnTo>
                    <a:lnTo>
                      <a:pt x="930" y="112"/>
                    </a:lnTo>
                    <a:lnTo>
                      <a:pt x="930" y="112"/>
                    </a:lnTo>
                    <a:lnTo>
                      <a:pt x="930" y="110"/>
                    </a:lnTo>
                    <a:lnTo>
                      <a:pt x="924" y="108"/>
                    </a:lnTo>
                    <a:lnTo>
                      <a:pt x="924" y="108"/>
                    </a:lnTo>
                    <a:lnTo>
                      <a:pt x="924" y="108"/>
                    </a:lnTo>
                    <a:lnTo>
                      <a:pt x="918" y="106"/>
                    </a:lnTo>
                    <a:lnTo>
                      <a:pt x="918" y="106"/>
                    </a:lnTo>
                    <a:lnTo>
                      <a:pt x="916" y="104"/>
                    </a:lnTo>
                    <a:lnTo>
                      <a:pt x="916" y="102"/>
                    </a:lnTo>
                    <a:lnTo>
                      <a:pt x="916" y="102"/>
                    </a:lnTo>
                    <a:lnTo>
                      <a:pt x="914" y="102"/>
                    </a:lnTo>
                    <a:lnTo>
                      <a:pt x="914" y="100"/>
                    </a:lnTo>
                    <a:lnTo>
                      <a:pt x="914" y="100"/>
                    </a:lnTo>
                    <a:lnTo>
                      <a:pt x="912" y="100"/>
                    </a:lnTo>
                    <a:lnTo>
                      <a:pt x="912" y="98"/>
                    </a:lnTo>
                    <a:lnTo>
                      <a:pt x="912" y="98"/>
                    </a:lnTo>
                    <a:lnTo>
                      <a:pt x="910" y="98"/>
                    </a:lnTo>
                    <a:lnTo>
                      <a:pt x="908" y="98"/>
                    </a:lnTo>
                    <a:lnTo>
                      <a:pt x="906" y="98"/>
                    </a:lnTo>
                    <a:lnTo>
                      <a:pt x="904" y="98"/>
                    </a:lnTo>
                    <a:close/>
                    <a:moveTo>
                      <a:pt x="938" y="358"/>
                    </a:moveTo>
                    <a:lnTo>
                      <a:pt x="936" y="362"/>
                    </a:lnTo>
                    <a:lnTo>
                      <a:pt x="934" y="366"/>
                    </a:lnTo>
                    <a:lnTo>
                      <a:pt x="934" y="366"/>
                    </a:lnTo>
                    <a:lnTo>
                      <a:pt x="934" y="366"/>
                    </a:lnTo>
                    <a:lnTo>
                      <a:pt x="932" y="370"/>
                    </a:lnTo>
                    <a:lnTo>
                      <a:pt x="932" y="370"/>
                    </a:lnTo>
                    <a:lnTo>
                      <a:pt x="932" y="370"/>
                    </a:lnTo>
                    <a:lnTo>
                      <a:pt x="932" y="374"/>
                    </a:lnTo>
                    <a:lnTo>
                      <a:pt x="932" y="374"/>
                    </a:lnTo>
                    <a:lnTo>
                      <a:pt x="932" y="376"/>
                    </a:lnTo>
                    <a:lnTo>
                      <a:pt x="932" y="378"/>
                    </a:lnTo>
                    <a:lnTo>
                      <a:pt x="932" y="378"/>
                    </a:lnTo>
                    <a:lnTo>
                      <a:pt x="932" y="378"/>
                    </a:lnTo>
                    <a:lnTo>
                      <a:pt x="932" y="380"/>
                    </a:lnTo>
                    <a:lnTo>
                      <a:pt x="932" y="380"/>
                    </a:lnTo>
                    <a:lnTo>
                      <a:pt x="932" y="380"/>
                    </a:lnTo>
                    <a:lnTo>
                      <a:pt x="934" y="382"/>
                    </a:lnTo>
                    <a:lnTo>
                      <a:pt x="934" y="382"/>
                    </a:lnTo>
                    <a:lnTo>
                      <a:pt x="934" y="382"/>
                    </a:lnTo>
                    <a:lnTo>
                      <a:pt x="934" y="386"/>
                    </a:lnTo>
                    <a:lnTo>
                      <a:pt x="934" y="386"/>
                    </a:lnTo>
                    <a:lnTo>
                      <a:pt x="936" y="386"/>
                    </a:lnTo>
                    <a:lnTo>
                      <a:pt x="938" y="388"/>
                    </a:lnTo>
                    <a:lnTo>
                      <a:pt x="938" y="388"/>
                    </a:lnTo>
                    <a:lnTo>
                      <a:pt x="938" y="388"/>
                    </a:lnTo>
                    <a:lnTo>
                      <a:pt x="940" y="388"/>
                    </a:lnTo>
                    <a:lnTo>
                      <a:pt x="940" y="388"/>
                    </a:lnTo>
                    <a:lnTo>
                      <a:pt x="942" y="388"/>
                    </a:lnTo>
                    <a:lnTo>
                      <a:pt x="944" y="390"/>
                    </a:lnTo>
                    <a:lnTo>
                      <a:pt x="944" y="390"/>
                    </a:lnTo>
                    <a:lnTo>
                      <a:pt x="944" y="390"/>
                    </a:lnTo>
                    <a:lnTo>
                      <a:pt x="948" y="390"/>
                    </a:lnTo>
                    <a:lnTo>
                      <a:pt x="954" y="388"/>
                    </a:lnTo>
                    <a:lnTo>
                      <a:pt x="956" y="388"/>
                    </a:lnTo>
                    <a:lnTo>
                      <a:pt x="960" y="388"/>
                    </a:lnTo>
                    <a:lnTo>
                      <a:pt x="960" y="388"/>
                    </a:lnTo>
                    <a:lnTo>
                      <a:pt x="962" y="388"/>
                    </a:lnTo>
                    <a:lnTo>
                      <a:pt x="962" y="386"/>
                    </a:lnTo>
                    <a:lnTo>
                      <a:pt x="962" y="386"/>
                    </a:lnTo>
                    <a:lnTo>
                      <a:pt x="962" y="386"/>
                    </a:lnTo>
                    <a:lnTo>
                      <a:pt x="964" y="384"/>
                    </a:lnTo>
                    <a:lnTo>
                      <a:pt x="964" y="382"/>
                    </a:lnTo>
                    <a:lnTo>
                      <a:pt x="966" y="380"/>
                    </a:lnTo>
                    <a:lnTo>
                      <a:pt x="966" y="378"/>
                    </a:lnTo>
                    <a:lnTo>
                      <a:pt x="968" y="374"/>
                    </a:lnTo>
                    <a:lnTo>
                      <a:pt x="970" y="368"/>
                    </a:lnTo>
                    <a:lnTo>
                      <a:pt x="972" y="360"/>
                    </a:lnTo>
                    <a:lnTo>
                      <a:pt x="972" y="358"/>
                    </a:lnTo>
                    <a:lnTo>
                      <a:pt x="972" y="354"/>
                    </a:lnTo>
                    <a:lnTo>
                      <a:pt x="972" y="352"/>
                    </a:lnTo>
                    <a:lnTo>
                      <a:pt x="972" y="352"/>
                    </a:lnTo>
                    <a:lnTo>
                      <a:pt x="972" y="350"/>
                    </a:lnTo>
                    <a:lnTo>
                      <a:pt x="972" y="350"/>
                    </a:lnTo>
                    <a:lnTo>
                      <a:pt x="970" y="348"/>
                    </a:lnTo>
                    <a:lnTo>
                      <a:pt x="970" y="348"/>
                    </a:lnTo>
                    <a:lnTo>
                      <a:pt x="970" y="348"/>
                    </a:lnTo>
                    <a:lnTo>
                      <a:pt x="970" y="346"/>
                    </a:lnTo>
                    <a:lnTo>
                      <a:pt x="968" y="346"/>
                    </a:lnTo>
                    <a:lnTo>
                      <a:pt x="968" y="346"/>
                    </a:lnTo>
                    <a:lnTo>
                      <a:pt x="966" y="346"/>
                    </a:lnTo>
                    <a:lnTo>
                      <a:pt x="960" y="344"/>
                    </a:lnTo>
                    <a:lnTo>
                      <a:pt x="954" y="344"/>
                    </a:lnTo>
                    <a:lnTo>
                      <a:pt x="950" y="344"/>
                    </a:lnTo>
                    <a:lnTo>
                      <a:pt x="944" y="344"/>
                    </a:lnTo>
                    <a:lnTo>
                      <a:pt x="944" y="344"/>
                    </a:lnTo>
                    <a:lnTo>
                      <a:pt x="942" y="344"/>
                    </a:lnTo>
                    <a:lnTo>
                      <a:pt x="942" y="344"/>
                    </a:lnTo>
                    <a:lnTo>
                      <a:pt x="940" y="346"/>
                    </a:lnTo>
                    <a:lnTo>
                      <a:pt x="940" y="348"/>
                    </a:lnTo>
                    <a:lnTo>
                      <a:pt x="940" y="348"/>
                    </a:lnTo>
                    <a:lnTo>
                      <a:pt x="940" y="348"/>
                    </a:lnTo>
                    <a:lnTo>
                      <a:pt x="940" y="348"/>
                    </a:lnTo>
                    <a:lnTo>
                      <a:pt x="940" y="350"/>
                    </a:lnTo>
                    <a:lnTo>
                      <a:pt x="942" y="350"/>
                    </a:lnTo>
                    <a:lnTo>
                      <a:pt x="942" y="352"/>
                    </a:lnTo>
                    <a:lnTo>
                      <a:pt x="942" y="352"/>
                    </a:lnTo>
                    <a:lnTo>
                      <a:pt x="940" y="354"/>
                    </a:lnTo>
                    <a:lnTo>
                      <a:pt x="938" y="358"/>
                    </a:lnTo>
                    <a:close/>
                    <a:moveTo>
                      <a:pt x="870" y="536"/>
                    </a:moveTo>
                    <a:lnTo>
                      <a:pt x="870" y="534"/>
                    </a:lnTo>
                    <a:lnTo>
                      <a:pt x="870" y="534"/>
                    </a:lnTo>
                    <a:lnTo>
                      <a:pt x="870" y="534"/>
                    </a:lnTo>
                    <a:lnTo>
                      <a:pt x="868" y="534"/>
                    </a:lnTo>
                    <a:lnTo>
                      <a:pt x="868" y="534"/>
                    </a:lnTo>
                    <a:lnTo>
                      <a:pt x="868" y="532"/>
                    </a:lnTo>
                    <a:lnTo>
                      <a:pt x="866" y="532"/>
                    </a:lnTo>
                    <a:lnTo>
                      <a:pt x="866" y="532"/>
                    </a:lnTo>
                    <a:lnTo>
                      <a:pt x="866" y="532"/>
                    </a:lnTo>
                    <a:lnTo>
                      <a:pt x="864" y="532"/>
                    </a:lnTo>
                    <a:lnTo>
                      <a:pt x="860" y="532"/>
                    </a:lnTo>
                    <a:lnTo>
                      <a:pt x="856" y="532"/>
                    </a:lnTo>
                    <a:lnTo>
                      <a:pt x="850" y="532"/>
                    </a:lnTo>
                    <a:lnTo>
                      <a:pt x="848" y="532"/>
                    </a:lnTo>
                    <a:lnTo>
                      <a:pt x="844" y="532"/>
                    </a:lnTo>
                    <a:lnTo>
                      <a:pt x="842" y="534"/>
                    </a:lnTo>
                    <a:lnTo>
                      <a:pt x="842" y="534"/>
                    </a:lnTo>
                    <a:lnTo>
                      <a:pt x="840" y="534"/>
                    </a:lnTo>
                    <a:lnTo>
                      <a:pt x="836" y="540"/>
                    </a:lnTo>
                    <a:lnTo>
                      <a:pt x="836" y="544"/>
                    </a:lnTo>
                    <a:lnTo>
                      <a:pt x="836" y="546"/>
                    </a:lnTo>
                    <a:lnTo>
                      <a:pt x="836" y="546"/>
                    </a:lnTo>
                    <a:lnTo>
                      <a:pt x="836" y="546"/>
                    </a:lnTo>
                    <a:lnTo>
                      <a:pt x="836" y="550"/>
                    </a:lnTo>
                    <a:lnTo>
                      <a:pt x="836" y="550"/>
                    </a:lnTo>
                    <a:lnTo>
                      <a:pt x="836" y="550"/>
                    </a:lnTo>
                    <a:lnTo>
                      <a:pt x="836" y="552"/>
                    </a:lnTo>
                    <a:lnTo>
                      <a:pt x="836" y="552"/>
                    </a:lnTo>
                    <a:lnTo>
                      <a:pt x="838" y="554"/>
                    </a:lnTo>
                    <a:lnTo>
                      <a:pt x="840" y="554"/>
                    </a:lnTo>
                    <a:lnTo>
                      <a:pt x="840" y="554"/>
                    </a:lnTo>
                    <a:lnTo>
                      <a:pt x="840" y="554"/>
                    </a:lnTo>
                    <a:lnTo>
                      <a:pt x="844" y="556"/>
                    </a:lnTo>
                    <a:lnTo>
                      <a:pt x="844" y="556"/>
                    </a:lnTo>
                    <a:lnTo>
                      <a:pt x="844" y="556"/>
                    </a:lnTo>
                    <a:lnTo>
                      <a:pt x="846" y="556"/>
                    </a:lnTo>
                    <a:lnTo>
                      <a:pt x="850" y="556"/>
                    </a:lnTo>
                    <a:lnTo>
                      <a:pt x="854" y="556"/>
                    </a:lnTo>
                    <a:lnTo>
                      <a:pt x="858" y="556"/>
                    </a:lnTo>
                    <a:lnTo>
                      <a:pt x="860" y="554"/>
                    </a:lnTo>
                    <a:lnTo>
                      <a:pt x="860" y="554"/>
                    </a:lnTo>
                    <a:lnTo>
                      <a:pt x="862" y="554"/>
                    </a:lnTo>
                    <a:lnTo>
                      <a:pt x="864" y="554"/>
                    </a:lnTo>
                    <a:lnTo>
                      <a:pt x="864" y="554"/>
                    </a:lnTo>
                    <a:lnTo>
                      <a:pt x="864" y="554"/>
                    </a:lnTo>
                    <a:lnTo>
                      <a:pt x="866" y="552"/>
                    </a:lnTo>
                    <a:lnTo>
                      <a:pt x="866" y="552"/>
                    </a:lnTo>
                    <a:lnTo>
                      <a:pt x="868" y="550"/>
                    </a:lnTo>
                    <a:lnTo>
                      <a:pt x="870" y="548"/>
                    </a:lnTo>
                    <a:lnTo>
                      <a:pt x="870" y="548"/>
                    </a:lnTo>
                    <a:lnTo>
                      <a:pt x="870" y="548"/>
                    </a:lnTo>
                    <a:lnTo>
                      <a:pt x="872" y="544"/>
                    </a:lnTo>
                    <a:lnTo>
                      <a:pt x="872" y="544"/>
                    </a:lnTo>
                    <a:lnTo>
                      <a:pt x="872" y="542"/>
                    </a:lnTo>
                    <a:lnTo>
                      <a:pt x="872" y="542"/>
                    </a:lnTo>
                    <a:lnTo>
                      <a:pt x="872" y="542"/>
                    </a:lnTo>
                    <a:lnTo>
                      <a:pt x="872" y="540"/>
                    </a:lnTo>
                    <a:lnTo>
                      <a:pt x="872" y="538"/>
                    </a:lnTo>
                    <a:lnTo>
                      <a:pt x="872" y="538"/>
                    </a:lnTo>
                    <a:lnTo>
                      <a:pt x="872" y="538"/>
                    </a:lnTo>
                    <a:lnTo>
                      <a:pt x="872" y="536"/>
                    </a:lnTo>
                    <a:lnTo>
                      <a:pt x="872" y="536"/>
                    </a:lnTo>
                    <a:lnTo>
                      <a:pt x="870" y="536"/>
                    </a:lnTo>
                    <a:lnTo>
                      <a:pt x="870" y="536"/>
                    </a:lnTo>
                    <a:close/>
                    <a:moveTo>
                      <a:pt x="890" y="574"/>
                    </a:moveTo>
                    <a:lnTo>
                      <a:pt x="890" y="574"/>
                    </a:lnTo>
                    <a:lnTo>
                      <a:pt x="892" y="574"/>
                    </a:lnTo>
                    <a:lnTo>
                      <a:pt x="892" y="574"/>
                    </a:lnTo>
                    <a:lnTo>
                      <a:pt x="892" y="574"/>
                    </a:lnTo>
                    <a:lnTo>
                      <a:pt x="894" y="574"/>
                    </a:lnTo>
                    <a:lnTo>
                      <a:pt x="896" y="576"/>
                    </a:lnTo>
                    <a:lnTo>
                      <a:pt x="898" y="576"/>
                    </a:lnTo>
                    <a:lnTo>
                      <a:pt x="898" y="576"/>
                    </a:lnTo>
                    <a:lnTo>
                      <a:pt x="900" y="576"/>
                    </a:lnTo>
                    <a:lnTo>
                      <a:pt x="902" y="576"/>
                    </a:lnTo>
                    <a:lnTo>
                      <a:pt x="902" y="576"/>
                    </a:lnTo>
                    <a:lnTo>
                      <a:pt x="902" y="576"/>
                    </a:lnTo>
                    <a:lnTo>
                      <a:pt x="904" y="574"/>
                    </a:lnTo>
                    <a:lnTo>
                      <a:pt x="904" y="574"/>
                    </a:lnTo>
                    <a:lnTo>
                      <a:pt x="906" y="574"/>
                    </a:lnTo>
                    <a:lnTo>
                      <a:pt x="908" y="570"/>
                    </a:lnTo>
                    <a:lnTo>
                      <a:pt x="908" y="570"/>
                    </a:lnTo>
                    <a:lnTo>
                      <a:pt x="910" y="570"/>
                    </a:lnTo>
                    <a:lnTo>
                      <a:pt x="910" y="566"/>
                    </a:lnTo>
                    <a:lnTo>
                      <a:pt x="910" y="566"/>
                    </a:lnTo>
                    <a:lnTo>
                      <a:pt x="910" y="564"/>
                    </a:lnTo>
                    <a:lnTo>
                      <a:pt x="912" y="560"/>
                    </a:lnTo>
                    <a:lnTo>
                      <a:pt x="912" y="560"/>
                    </a:lnTo>
                    <a:lnTo>
                      <a:pt x="912" y="560"/>
                    </a:lnTo>
                    <a:lnTo>
                      <a:pt x="910" y="556"/>
                    </a:lnTo>
                    <a:lnTo>
                      <a:pt x="910" y="556"/>
                    </a:lnTo>
                    <a:lnTo>
                      <a:pt x="910" y="554"/>
                    </a:lnTo>
                    <a:lnTo>
                      <a:pt x="908" y="550"/>
                    </a:lnTo>
                    <a:lnTo>
                      <a:pt x="908" y="550"/>
                    </a:lnTo>
                    <a:lnTo>
                      <a:pt x="908" y="550"/>
                    </a:lnTo>
                    <a:lnTo>
                      <a:pt x="904" y="546"/>
                    </a:lnTo>
                    <a:lnTo>
                      <a:pt x="904" y="546"/>
                    </a:lnTo>
                    <a:lnTo>
                      <a:pt x="904" y="546"/>
                    </a:lnTo>
                    <a:lnTo>
                      <a:pt x="902" y="544"/>
                    </a:lnTo>
                    <a:lnTo>
                      <a:pt x="902" y="544"/>
                    </a:lnTo>
                    <a:lnTo>
                      <a:pt x="902" y="544"/>
                    </a:lnTo>
                    <a:lnTo>
                      <a:pt x="898" y="544"/>
                    </a:lnTo>
                    <a:lnTo>
                      <a:pt x="898" y="544"/>
                    </a:lnTo>
                    <a:lnTo>
                      <a:pt x="896" y="544"/>
                    </a:lnTo>
                    <a:lnTo>
                      <a:pt x="896" y="544"/>
                    </a:lnTo>
                    <a:lnTo>
                      <a:pt x="896" y="546"/>
                    </a:lnTo>
                    <a:lnTo>
                      <a:pt x="894" y="548"/>
                    </a:lnTo>
                    <a:lnTo>
                      <a:pt x="894" y="550"/>
                    </a:lnTo>
                    <a:lnTo>
                      <a:pt x="894" y="552"/>
                    </a:lnTo>
                    <a:lnTo>
                      <a:pt x="892" y="554"/>
                    </a:lnTo>
                    <a:lnTo>
                      <a:pt x="892" y="554"/>
                    </a:lnTo>
                    <a:lnTo>
                      <a:pt x="892" y="556"/>
                    </a:lnTo>
                    <a:lnTo>
                      <a:pt x="892" y="560"/>
                    </a:lnTo>
                    <a:lnTo>
                      <a:pt x="892" y="562"/>
                    </a:lnTo>
                    <a:lnTo>
                      <a:pt x="892" y="562"/>
                    </a:lnTo>
                    <a:lnTo>
                      <a:pt x="890" y="564"/>
                    </a:lnTo>
                    <a:lnTo>
                      <a:pt x="890" y="566"/>
                    </a:lnTo>
                    <a:lnTo>
                      <a:pt x="890" y="566"/>
                    </a:lnTo>
                    <a:lnTo>
                      <a:pt x="890" y="566"/>
                    </a:lnTo>
                    <a:lnTo>
                      <a:pt x="890" y="568"/>
                    </a:lnTo>
                    <a:lnTo>
                      <a:pt x="890" y="568"/>
                    </a:lnTo>
                    <a:lnTo>
                      <a:pt x="888" y="570"/>
                    </a:lnTo>
                    <a:lnTo>
                      <a:pt x="890" y="570"/>
                    </a:lnTo>
                    <a:lnTo>
                      <a:pt x="890" y="570"/>
                    </a:lnTo>
                    <a:lnTo>
                      <a:pt x="890" y="572"/>
                    </a:lnTo>
                    <a:lnTo>
                      <a:pt x="890" y="574"/>
                    </a:lnTo>
                    <a:close/>
                    <a:moveTo>
                      <a:pt x="884" y="626"/>
                    </a:moveTo>
                    <a:lnTo>
                      <a:pt x="884" y="626"/>
                    </a:lnTo>
                    <a:lnTo>
                      <a:pt x="884" y="626"/>
                    </a:lnTo>
                    <a:lnTo>
                      <a:pt x="882" y="628"/>
                    </a:lnTo>
                    <a:lnTo>
                      <a:pt x="882" y="628"/>
                    </a:lnTo>
                    <a:lnTo>
                      <a:pt x="882" y="628"/>
                    </a:lnTo>
                    <a:lnTo>
                      <a:pt x="880" y="632"/>
                    </a:lnTo>
                    <a:lnTo>
                      <a:pt x="880" y="632"/>
                    </a:lnTo>
                    <a:lnTo>
                      <a:pt x="880" y="632"/>
                    </a:lnTo>
                    <a:lnTo>
                      <a:pt x="880" y="634"/>
                    </a:lnTo>
                    <a:lnTo>
                      <a:pt x="880" y="634"/>
                    </a:lnTo>
                    <a:lnTo>
                      <a:pt x="880" y="636"/>
                    </a:lnTo>
                    <a:lnTo>
                      <a:pt x="880" y="638"/>
                    </a:lnTo>
                    <a:lnTo>
                      <a:pt x="880" y="642"/>
                    </a:lnTo>
                    <a:lnTo>
                      <a:pt x="882" y="646"/>
                    </a:lnTo>
                    <a:lnTo>
                      <a:pt x="882" y="650"/>
                    </a:lnTo>
                    <a:lnTo>
                      <a:pt x="882" y="650"/>
                    </a:lnTo>
                    <a:lnTo>
                      <a:pt x="884" y="652"/>
                    </a:lnTo>
                    <a:lnTo>
                      <a:pt x="884" y="652"/>
                    </a:lnTo>
                    <a:lnTo>
                      <a:pt x="886" y="652"/>
                    </a:lnTo>
                    <a:lnTo>
                      <a:pt x="890" y="652"/>
                    </a:lnTo>
                    <a:lnTo>
                      <a:pt x="890" y="652"/>
                    </a:lnTo>
                    <a:lnTo>
                      <a:pt x="892" y="652"/>
                    </a:lnTo>
                    <a:lnTo>
                      <a:pt x="894" y="648"/>
                    </a:lnTo>
                    <a:lnTo>
                      <a:pt x="894" y="648"/>
                    </a:lnTo>
                    <a:lnTo>
                      <a:pt x="896" y="648"/>
                    </a:lnTo>
                    <a:lnTo>
                      <a:pt x="896" y="646"/>
                    </a:lnTo>
                    <a:lnTo>
                      <a:pt x="896" y="646"/>
                    </a:lnTo>
                    <a:lnTo>
                      <a:pt x="898" y="644"/>
                    </a:lnTo>
                    <a:lnTo>
                      <a:pt x="898" y="640"/>
                    </a:lnTo>
                    <a:lnTo>
                      <a:pt x="898" y="640"/>
                    </a:lnTo>
                    <a:lnTo>
                      <a:pt x="898" y="640"/>
                    </a:lnTo>
                    <a:lnTo>
                      <a:pt x="898" y="636"/>
                    </a:lnTo>
                    <a:lnTo>
                      <a:pt x="898" y="636"/>
                    </a:lnTo>
                    <a:lnTo>
                      <a:pt x="898" y="636"/>
                    </a:lnTo>
                    <a:lnTo>
                      <a:pt x="896" y="632"/>
                    </a:lnTo>
                    <a:lnTo>
                      <a:pt x="896" y="632"/>
                    </a:lnTo>
                    <a:lnTo>
                      <a:pt x="896" y="632"/>
                    </a:lnTo>
                    <a:lnTo>
                      <a:pt x="894" y="628"/>
                    </a:lnTo>
                    <a:lnTo>
                      <a:pt x="894" y="628"/>
                    </a:lnTo>
                    <a:lnTo>
                      <a:pt x="894" y="628"/>
                    </a:lnTo>
                    <a:lnTo>
                      <a:pt x="892" y="624"/>
                    </a:lnTo>
                    <a:lnTo>
                      <a:pt x="892" y="624"/>
                    </a:lnTo>
                    <a:lnTo>
                      <a:pt x="890" y="622"/>
                    </a:lnTo>
                    <a:lnTo>
                      <a:pt x="890" y="622"/>
                    </a:lnTo>
                    <a:lnTo>
                      <a:pt x="888" y="622"/>
                    </a:lnTo>
                    <a:lnTo>
                      <a:pt x="884" y="626"/>
                    </a:lnTo>
                    <a:close/>
                    <a:moveTo>
                      <a:pt x="892" y="732"/>
                    </a:moveTo>
                    <a:lnTo>
                      <a:pt x="892" y="734"/>
                    </a:lnTo>
                    <a:lnTo>
                      <a:pt x="892" y="736"/>
                    </a:lnTo>
                    <a:lnTo>
                      <a:pt x="892" y="738"/>
                    </a:lnTo>
                    <a:lnTo>
                      <a:pt x="892" y="738"/>
                    </a:lnTo>
                    <a:lnTo>
                      <a:pt x="894" y="740"/>
                    </a:lnTo>
                    <a:lnTo>
                      <a:pt x="898" y="742"/>
                    </a:lnTo>
                    <a:lnTo>
                      <a:pt x="902" y="744"/>
                    </a:lnTo>
                    <a:lnTo>
                      <a:pt x="904" y="744"/>
                    </a:lnTo>
                    <a:lnTo>
                      <a:pt x="904" y="744"/>
                    </a:lnTo>
                    <a:lnTo>
                      <a:pt x="906" y="744"/>
                    </a:lnTo>
                    <a:lnTo>
                      <a:pt x="908" y="746"/>
                    </a:lnTo>
                    <a:lnTo>
                      <a:pt x="908" y="746"/>
                    </a:lnTo>
                    <a:lnTo>
                      <a:pt x="908" y="744"/>
                    </a:lnTo>
                    <a:lnTo>
                      <a:pt x="910" y="744"/>
                    </a:lnTo>
                    <a:lnTo>
                      <a:pt x="910" y="744"/>
                    </a:lnTo>
                    <a:lnTo>
                      <a:pt x="912" y="742"/>
                    </a:lnTo>
                    <a:lnTo>
                      <a:pt x="912" y="740"/>
                    </a:lnTo>
                    <a:lnTo>
                      <a:pt x="912" y="740"/>
                    </a:lnTo>
                    <a:lnTo>
                      <a:pt x="912" y="740"/>
                    </a:lnTo>
                    <a:lnTo>
                      <a:pt x="914" y="736"/>
                    </a:lnTo>
                    <a:lnTo>
                      <a:pt x="914" y="734"/>
                    </a:lnTo>
                    <a:lnTo>
                      <a:pt x="914" y="732"/>
                    </a:lnTo>
                    <a:lnTo>
                      <a:pt x="916" y="732"/>
                    </a:lnTo>
                    <a:lnTo>
                      <a:pt x="918" y="730"/>
                    </a:lnTo>
                    <a:lnTo>
                      <a:pt x="920" y="728"/>
                    </a:lnTo>
                    <a:lnTo>
                      <a:pt x="924" y="726"/>
                    </a:lnTo>
                    <a:lnTo>
                      <a:pt x="928" y="722"/>
                    </a:lnTo>
                    <a:lnTo>
                      <a:pt x="930" y="720"/>
                    </a:lnTo>
                    <a:lnTo>
                      <a:pt x="932" y="718"/>
                    </a:lnTo>
                    <a:lnTo>
                      <a:pt x="932" y="716"/>
                    </a:lnTo>
                    <a:lnTo>
                      <a:pt x="932" y="716"/>
                    </a:lnTo>
                    <a:lnTo>
                      <a:pt x="934" y="714"/>
                    </a:lnTo>
                    <a:lnTo>
                      <a:pt x="934" y="714"/>
                    </a:lnTo>
                    <a:lnTo>
                      <a:pt x="934" y="714"/>
                    </a:lnTo>
                    <a:lnTo>
                      <a:pt x="934" y="712"/>
                    </a:lnTo>
                    <a:lnTo>
                      <a:pt x="934" y="710"/>
                    </a:lnTo>
                    <a:lnTo>
                      <a:pt x="934" y="710"/>
                    </a:lnTo>
                    <a:lnTo>
                      <a:pt x="934" y="710"/>
                    </a:lnTo>
                    <a:lnTo>
                      <a:pt x="934" y="708"/>
                    </a:lnTo>
                    <a:lnTo>
                      <a:pt x="934" y="708"/>
                    </a:lnTo>
                    <a:lnTo>
                      <a:pt x="932" y="708"/>
                    </a:lnTo>
                    <a:lnTo>
                      <a:pt x="932" y="706"/>
                    </a:lnTo>
                    <a:lnTo>
                      <a:pt x="932" y="706"/>
                    </a:lnTo>
                    <a:lnTo>
                      <a:pt x="930" y="706"/>
                    </a:lnTo>
                    <a:lnTo>
                      <a:pt x="928" y="704"/>
                    </a:lnTo>
                    <a:lnTo>
                      <a:pt x="928" y="704"/>
                    </a:lnTo>
                    <a:lnTo>
                      <a:pt x="928" y="704"/>
                    </a:lnTo>
                    <a:lnTo>
                      <a:pt x="920" y="704"/>
                    </a:lnTo>
                    <a:lnTo>
                      <a:pt x="912" y="704"/>
                    </a:lnTo>
                    <a:lnTo>
                      <a:pt x="904" y="704"/>
                    </a:lnTo>
                    <a:lnTo>
                      <a:pt x="898" y="704"/>
                    </a:lnTo>
                    <a:lnTo>
                      <a:pt x="898" y="704"/>
                    </a:lnTo>
                    <a:lnTo>
                      <a:pt x="896" y="704"/>
                    </a:lnTo>
                    <a:lnTo>
                      <a:pt x="894" y="706"/>
                    </a:lnTo>
                    <a:lnTo>
                      <a:pt x="894" y="710"/>
                    </a:lnTo>
                    <a:lnTo>
                      <a:pt x="894" y="714"/>
                    </a:lnTo>
                    <a:lnTo>
                      <a:pt x="894" y="718"/>
                    </a:lnTo>
                    <a:lnTo>
                      <a:pt x="892" y="720"/>
                    </a:lnTo>
                    <a:lnTo>
                      <a:pt x="892" y="722"/>
                    </a:lnTo>
                    <a:lnTo>
                      <a:pt x="892" y="724"/>
                    </a:lnTo>
                    <a:lnTo>
                      <a:pt x="892" y="726"/>
                    </a:lnTo>
                    <a:lnTo>
                      <a:pt x="892" y="728"/>
                    </a:lnTo>
                    <a:lnTo>
                      <a:pt x="892" y="730"/>
                    </a:lnTo>
                    <a:lnTo>
                      <a:pt x="892" y="732"/>
                    </a:lnTo>
                    <a:close/>
                    <a:moveTo>
                      <a:pt x="1166" y="894"/>
                    </a:moveTo>
                    <a:lnTo>
                      <a:pt x="1166" y="894"/>
                    </a:lnTo>
                    <a:lnTo>
                      <a:pt x="1166" y="894"/>
                    </a:lnTo>
                    <a:lnTo>
                      <a:pt x="1164" y="894"/>
                    </a:lnTo>
                    <a:lnTo>
                      <a:pt x="1164" y="894"/>
                    </a:lnTo>
                    <a:lnTo>
                      <a:pt x="1162" y="894"/>
                    </a:lnTo>
                    <a:lnTo>
                      <a:pt x="1162" y="892"/>
                    </a:lnTo>
                    <a:lnTo>
                      <a:pt x="1162" y="892"/>
                    </a:lnTo>
                    <a:lnTo>
                      <a:pt x="1160" y="892"/>
                    </a:lnTo>
                    <a:lnTo>
                      <a:pt x="1158" y="890"/>
                    </a:lnTo>
                    <a:lnTo>
                      <a:pt x="1156" y="888"/>
                    </a:lnTo>
                    <a:lnTo>
                      <a:pt x="1154" y="886"/>
                    </a:lnTo>
                    <a:lnTo>
                      <a:pt x="1152" y="884"/>
                    </a:lnTo>
                    <a:lnTo>
                      <a:pt x="1150" y="882"/>
                    </a:lnTo>
                    <a:lnTo>
                      <a:pt x="1148" y="880"/>
                    </a:lnTo>
                    <a:lnTo>
                      <a:pt x="1144" y="876"/>
                    </a:lnTo>
                    <a:lnTo>
                      <a:pt x="1144" y="876"/>
                    </a:lnTo>
                    <a:lnTo>
                      <a:pt x="1144" y="876"/>
                    </a:lnTo>
                    <a:lnTo>
                      <a:pt x="1142" y="876"/>
                    </a:lnTo>
                    <a:lnTo>
                      <a:pt x="1142" y="876"/>
                    </a:lnTo>
                    <a:lnTo>
                      <a:pt x="1140" y="876"/>
                    </a:lnTo>
                    <a:lnTo>
                      <a:pt x="1138" y="874"/>
                    </a:lnTo>
                    <a:lnTo>
                      <a:pt x="1138" y="874"/>
                    </a:lnTo>
                    <a:lnTo>
                      <a:pt x="1138" y="874"/>
                    </a:lnTo>
                    <a:lnTo>
                      <a:pt x="1134" y="876"/>
                    </a:lnTo>
                    <a:lnTo>
                      <a:pt x="1132" y="876"/>
                    </a:lnTo>
                    <a:lnTo>
                      <a:pt x="1130" y="878"/>
                    </a:lnTo>
                    <a:lnTo>
                      <a:pt x="1128" y="878"/>
                    </a:lnTo>
                    <a:lnTo>
                      <a:pt x="1124" y="880"/>
                    </a:lnTo>
                    <a:lnTo>
                      <a:pt x="1124" y="880"/>
                    </a:lnTo>
                    <a:lnTo>
                      <a:pt x="1124" y="882"/>
                    </a:lnTo>
                    <a:lnTo>
                      <a:pt x="1124" y="882"/>
                    </a:lnTo>
                    <a:lnTo>
                      <a:pt x="1124" y="884"/>
                    </a:lnTo>
                    <a:lnTo>
                      <a:pt x="1128" y="888"/>
                    </a:lnTo>
                    <a:lnTo>
                      <a:pt x="1130" y="890"/>
                    </a:lnTo>
                    <a:lnTo>
                      <a:pt x="1136" y="894"/>
                    </a:lnTo>
                    <a:lnTo>
                      <a:pt x="1138" y="894"/>
                    </a:lnTo>
                    <a:lnTo>
                      <a:pt x="1138" y="896"/>
                    </a:lnTo>
                    <a:lnTo>
                      <a:pt x="1138" y="896"/>
                    </a:lnTo>
                    <a:lnTo>
                      <a:pt x="1138" y="896"/>
                    </a:lnTo>
                    <a:lnTo>
                      <a:pt x="1140" y="898"/>
                    </a:lnTo>
                    <a:lnTo>
                      <a:pt x="1140" y="898"/>
                    </a:lnTo>
                    <a:lnTo>
                      <a:pt x="1140" y="898"/>
                    </a:lnTo>
                    <a:lnTo>
                      <a:pt x="1142" y="900"/>
                    </a:lnTo>
                    <a:lnTo>
                      <a:pt x="1142" y="900"/>
                    </a:lnTo>
                    <a:lnTo>
                      <a:pt x="1142" y="900"/>
                    </a:lnTo>
                    <a:lnTo>
                      <a:pt x="1146" y="900"/>
                    </a:lnTo>
                    <a:lnTo>
                      <a:pt x="1148" y="900"/>
                    </a:lnTo>
                    <a:lnTo>
                      <a:pt x="1150" y="902"/>
                    </a:lnTo>
                    <a:lnTo>
                      <a:pt x="1150" y="902"/>
                    </a:lnTo>
                    <a:lnTo>
                      <a:pt x="1150" y="902"/>
                    </a:lnTo>
                    <a:lnTo>
                      <a:pt x="1158" y="902"/>
                    </a:lnTo>
                    <a:lnTo>
                      <a:pt x="1164" y="900"/>
                    </a:lnTo>
                    <a:lnTo>
                      <a:pt x="1164" y="900"/>
                    </a:lnTo>
                    <a:lnTo>
                      <a:pt x="1166" y="900"/>
                    </a:lnTo>
                    <a:lnTo>
                      <a:pt x="1166" y="898"/>
                    </a:lnTo>
                    <a:lnTo>
                      <a:pt x="1166" y="898"/>
                    </a:lnTo>
                    <a:lnTo>
                      <a:pt x="1168" y="898"/>
                    </a:lnTo>
                    <a:lnTo>
                      <a:pt x="1168" y="896"/>
                    </a:lnTo>
                    <a:lnTo>
                      <a:pt x="1166" y="896"/>
                    </a:lnTo>
                    <a:lnTo>
                      <a:pt x="1166" y="896"/>
                    </a:lnTo>
                    <a:lnTo>
                      <a:pt x="1166" y="894"/>
                    </a:lnTo>
                    <a:lnTo>
                      <a:pt x="1166" y="894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US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81" name="Freeform 27">
                <a:extLst>
                  <a:ext uri="{FF2B5EF4-FFF2-40B4-BE49-F238E27FC236}">
                    <a16:creationId xmlns:a16="http://schemas.microsoft.com/office/drawing/2014/main" id="{9E593FD2-EE60-400F-8207-B804C5BE70A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4490" y="2046908"/>
                <a:ext cx="2513707" cy="1918707"/>
              </a:xfrm>
              <a:custGeom>
                <a:avLst/>
                <a:gdLst>
                  <a:gd name="T0" fmla="*/ 300 w 1672"/>
                  <a:gd name="T1" fmla="*/ 1176 h 1238"/>
                  <a:gd name="T2" fmla="*/ 310 w 1672"/>
                  <a:gd name="T3" fmla="*/ 1196 h 1238"/>
                  <a:gd name="T4" fmla="*/ 356 w 1672"/>
                  <a:gd name="T5" fmla="*/ 1236 h 1238"/>
                  <a:gd name="T6" fmla="*/ 1656 w 1672"/>
                  <a:gd name="T7" fmla="*/ 728 h 1238"/>
                  <a:gd name="T8" fmla="*/ 1628 w 1672"/>
                  <a:gd name="T9" fmla="*/ 750 h 1238"/>
                  <a:gd name="T10" fmla="*/ 1532 w 1672"/>
                  <a:gd name="T11" fmla="*/ 788 h 1238"/>
                  <a:gd name="T12" fmla="*/ 1432 w 1672"/>
                  <a:gd name="T13" fmla="*/ 848 h 1238"/>
                  <a:gd name="T14" fmla="*/ 1432 w 1672"/>
                  <a:gd name="T15" fmla="*/ 796 h 1238"/>
                  <a:gd name="T16" fmla="*/ 1410 w 1672"/>
                  <a:gd name="T17" fmla="*/ 758 h 1238"/>
                  <a:gd name="T18" fmla="*/ 1366 w 1672"/>
                  <a:gd name="T19" fmla="*/ 840 h 1238"/>
                  <a:gd name="T20" fmla="*/ 1400 w 1672"/>
                  <a:gd name="T21" fmla="*/ 746 h 1238"/>
                  <a:gd name="T22" fmla="*/ 1324 w 1672"/>
                  <a:gd name="T23" fmla="*/ 722 h 1238"/>
                  <a:gd name="T24" fmla="*/ 1238 w 1672"/>
                  <a:gd name="T25" fmla="*/ 702 h 1238"/>
                  <a:gd name="T26" fmla="*/ 860 w 1672"/>
                  <a:gd name="T27" fmla="*/ 704 h 1238"/>
                  <a:gd name="T28" fmla="*/ 814 w 1672"/>
                  <a:gd name="T29" fmla="*/ 738 h 1238"/>
                  <a:gd name="T30" fmla="*/ 886 w 1672"/>
                  <a:gd name="T31" fmla="*/ 992 h 1238"/>
                  <a:gd name="T32" fmla="*/ 954 w 1672"/>
                  <a:gd name="T33" fmla="*/ 1004 h 1238"/>
                  <a:gd name="T34" fmla="*/ 1052 w 1672"/>
                  <a:gd name="T35" fmla="*/ 1034 h 1238"/>
                  <a:gd name="T36" fmla="*/ 1130 w 1672"/>
                  <a:gd name="T37" fmla="*/ 1068 h 1238"/>
                  <a:gd name="T38" fmla="*/ 1184 w 1672"/>
                  <a:gd name="T39" fmla="*/ 1116 h 1238"/>
                  <a:gd name="T40" fmla="*/ 1246 w 1672"/>
                  <a:gd name="T41" fmla="*/ 1072 h 1238"/>
                  <a:gd name="T42" fmla="*/ 1350 w 1672"/>
                  <a:gd name="T43" fmla="*/ 1056 h 1238"/>
                  <a:gd name="T44" fmla="*/ 1412 w 1672"/>
                  <a:gd name="T45" fmla="*/ 1056 h 1238"/>
                  <a:gd name="T46" fmla="*/ 1466 w 1672"/>
                  <a:gd name="T47" fmla="*/ 1138 h 1238"/>
                  <a:gd name="T48" fmla="*/ 1452 w 1672"/>
                  <a:gd name="T49" fmla="*/ 1036 h 1238"/>
                  <a:gd name="T50" fmla="*/ 1546 w 1672"/>
                  <a:gd name="T51" fmla="*/ 912 h 1238"/>
                  <a:gd name="T52" fmla="*/ 1632 w 1672"/>
                  <a:gd name="T53" fmla="*/ 848 h 1238"/>
                  <a:gd name="T54" fmla="*/ 1640 w 1672"/>
                  <a:gd name="T55" fmla="*/ 796 h 1238"/>
                  <a:gd name="T56" fmla="*/ 678 w 1672"/>
                  <a:gd name="T57" fmla="*/ 506 h 1238"/>
                  <a:gd name="T58" fmla="*/ 622 w 1672"/>
                  <a:gd name="T59" fmla="*/ 436 h 1238"/>
                  <a:gd name="T60" fmla="*/ 582 w 1672"/>
                  <a:gd name="T61" fmla="*/ 430 h 1238"/>
                  <a:gd name="T62" fmla="*/ 572 w 1672"/>
                  <a:gd name="T63" fmla="*/ 324 h 1238"/>
                  <a:gd name="T64" fmla="*/ 576 w 1672"/>
                  <a:gd name="T65" fmla="*/ 66 h 1238"/>
                  <a:gd name="T66" fmla="*/ 458 w 1672"/>
                  <a:gd name="T67" fmla="*/ 38 h 1238"/>
                  <a:gd name="T68" fmla="*/ 388 w 1672"/>
                  <a:gd name="T69" fmla="*/ 22 h 1238"/>
                  <a:gd name="T70" fmla="*/ 356 w 1672"/>
                  <a:gd name="T71" fmla="*/ 2 h 1238"/>
                  <a:gd name="T72" fmla="*/ 300 w 1672"/>
                  <a:gd name="T73" fmla="*/ 26 h 1238"/>
                  <a:gd name="T74" fmla="*/ 256 w 1672"/>
                  <a:gd name="T75" fmla="*/ 54 h 1238"/>
                  <a:gd name="T76" fmla="*/ 194 w 1672"/>
                  <a:gd name="T77" fmla="*/ 118 h 1238"/>
                  <a:gd name="T78" fmla="*/ 228 w 1672"/>
                  <a:gd name="T79" fmla="*/ 180 h 1238"/>
                  <a:gd name="T80" fmla="*/ 238 w 1672"/>
                  <a:gd name="T81" fmla="*/ 222 h 1238"/>
                  <a:gd name="T82" fmla="*/ 166 w 1672"/>
                  <a:gd name="T83" fmla="*/ 236 h 1238"/>
                  <a:gd name="T84" fmla="*/ 204 w 1672"/>
                  <a:gd name="T85" fmla="*/ 276 h 1238"/>
                  <a:gd name="T86" fmla="*/ 274 w 1672"/>
                  <a:gd name="T87" fmla="*/ 306 h 1238"/>
                  <a:gd name="T88" fmla="*/ 206 w 1672"/>
                  <a:gd name="T89" fmla="*/ 378 h 1238"/>
                  <a:gd name="T90" fmla="*/ 210 w 1672"/>
                  <a:gd name="T91" fmla="*/ 406 h 1238"/>
                  <a:gd name="T92" fmla="*/ 252 w 1672"/>
                  <a:gd name="T93" fmla="*/ 448 h 1238"/>
                  <a:gd name="T94" fmla="*/ 304 w 1672"/>
                  <a:gd name="T95" fmla="*/ 464 h 1238"/>
                  <a:gd name="T96" fmla="*/ 274 w 1672"/>
                  <a:gd name="T97" fmla="*/ 516 h 1238"/>
                  <a:gd name="T98" fmla="*/ 160 w 1672"/>
                  <a:gd name="T99" fmla="*/ 580 h 1238"/>
                  <a:gd name="T100" fmla="*/ 28 w 1672"/>
                  <a:gd name="T101" fmla="*/ 616 h 1238"/>
                  <a:gd name="T102" fmla="*/ 116 w 1672"/>
                  <a:gd name="T103" fmla="*/ 614 h 1238"/>
                  <a:gd name="T104" fmla="*/ 196 w 1672"/>
                  <a:gd name="T105" fmla="*/ 594 h 1238"/>
                  <a:gd name="T106" fmla="*/ 386 w 1672"/>
                  <a:gd name="T107" fmla="*/ 442 h 1238"/>
                  <a:gd name="T108" fmla="*/ 382 w 1672"/>
                  <a:gd name="T109" fmla="*/ 474 h 1238"/>
                  <a:gd name="T110" fmla="*/ 488 w 1672"/>
                  <a:gd name="T111" fmla="*/ 414 h 1238"/>
                  <a:gd name="T112" fmla="*/ 538 w 1672"/>
                  <a:gd name="T113" fmla="*/ 418 h 1238"/>
                  <a:gd name="T114" fmla="*/ 598 w 1672"/>
                  <a:gd name="T115" fmla="*/ 466 h 1238"/>
                  <a:gd name="T116" fmla="*/ 624 w 1672"/>
                  <a:gd name="T117" fmla="*/ 510 h 1238"/>
                  <a:gd name="T118" fmla="*/ 634 w 1672"/>
                  <a:gd name="T119" fmla="*/ 482 h 1238"/>
                  <a:gd name="T120" fmla="*/ 642 w 1672"/>
                  <a:gd name="T121" fmla="*/ 510 h 1238"/>
                  <a:gd name="T122" fmla="*/ 648 w 1672"/>
                  <a:gd name="T123" fmla="*/ 548 h 1238"/>
                  <a:gd name="T124" fmla="*/ 688 w 1672"/>
                  <a:gd name="T125" fmla="*/ 520 h 12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672" h="1238">
                    <a:moveTo>
                      <a:pt x="370" y="1220"/>
                    </a:moveTo>
                    <a:lnTo>
                      <a:pt x="366" y="1216"/>
                    </a:lnTo>
                    <a:lnTo>
                      <a:pt x="364" y="1212"/>
                    </a:lnTo>
                    <a:lnTo>
                      <a:pt x="362" y="1210"/>
                    </a:lnTo>
                    <a:lnTo>
                      <a:pt x="360" y="1208"/>
                    </a:lnTo>
                    <a:lnTo>
                      <a:pt x="358" y="1204"/>
                    </a:lnTo>
                    <a:lnTo>
                      <a:pt x="356" y="1200"/>
                    </a:lnTo>
                    <a:lnTo>
                      <a:pt x="354" y="1194"/>
                    </a:lnTo>
                    <a:lnTo>
                      <a:pt x="354" y="1194"/>
                    </a:lnTo>
                    <a:lnTo>
                      <a:pt x="352" y="1192"/>
                    </a:lnTo>
                    <a:lnTo>
                      <a:pt x="348" y="1190"/>
                    </a:lnTo>
                    <a:lnTo>
                      <a:pt x="342" y="1188"/>
                    </a:lnTo>
                    <a:lnTo>
                      <a:pt x="338" y="1186"/>
                    </a:lnTo>
                    <a:lnTo>
                      <a:pt x="332" y="1186"/>
                    </a:lnTo>
                    <a:lnTo>
                      <a:pt x="328" y="1186"/>
                    </a:lnTo>
                    <a:lnTo>
                      <a:pt x="322" y="1186"/>
                    </a:lnTo>
                    <a:lnTo>
                      <a:pt x="316" y="1184"/>
                    </a:lnTo>
                    <a:lnTo>
                      <a:pt x="310" y="1184"/>
                    </a:lnTo>
                    <a:lnTo>
                      <a:pt x="310" y="1184"/>
                    </a:lnTo>
                    <a:lnTo>
                      <a:pt x="310" y="1184"/>
                    </a:lnTo>
                    <a:lnTo>
                      <a:pt x="310" y="1184"/>
                    </a:lnTo>
                    <a:lnTo>
                      <a:pt x="310" y="1184"/>
                    </a:lnTo>
                    <a:lnTo>
                      <a:pt x="310" y="1182"/>
                    </a:lnTo>
                    <a:lnTo>
                      <a:pt x="308" y="1182"/>
                    </a:lnTo>
                    <a:lnTo>
                      <a:pt x="308" y="1182"/>
                    </a:lnTo>
                    <a:lnTo>
                      <a:pt x="308" y="1180"/>
                    </a:lnTo>
                    <a:lnTo>
                      <a:pt x="308" y="1180"/>
                    </a:lnTo>
                    <a:lnTo>
                      <a:pt x="308" y="1180"/>
                    </a:lnTo>
                    <a:lnTo>
                      <a:pt x="308" y="1180"/>
                    </a:lnTo>
                    <a:lnTo>
                      <a:pt x="306" y="1178"/>
                    </a:lnTo>
                    <a:lnTo>
                      <a:pt x="306" y="1178"/>
                    </a:lnTo>
                    <a:lnTo>
                      <a:pt x="306" y="1178"/>
                    </a:lnTo>
                    <a:lnTo>
                      <a:pt x="304" y="1178"/>
                    </a:lnTo>
                    <a:lnTo>
                      <a:pt x="304" y="1178"/>
                    </a:lnTo>
                    <a:lnTo>
                      <a:pt x="304" y="1176"/>
                    </a:lnTo>
                    <a:lnTo>
                      <a:pt x="300" y="1176"/>
                    </a:lnTo>
                    <a:lnTo>
                      <a:pt x="300" y="1176"/>
                    </a:lnTo>
                    <a:lnTo>
                      <a:pt x="298" y="1176"/>
                    </a:lnTo>
                    <a:lnTo>
                      <a:pt x="294" y="1176"/>
                    </a:lnTo>
                    <a:lnTo>
                      <a:pt x="294" y="1176"/>
                    </a:lnTo>
                    <a:lnTo>
                      <a:pt x="292" y="1176"/>
                    </a:lnTo>
                    <a:lnTo>
                      <a:pt x="290" y="1178"/>
                    </a:lnTo>
                    <a:lnTo>
                      <a:pt x="286" y="1180"/>
                    </a:lnTo>
                    <a:lnTo>
                      <a:pt x="284" y="1182"/>
                    </a:lnTo>
                    <a:lnTo>
                      <a:pt x="282" y="1182"/>
                    </a:lnTo>
                    <a:lnTo>
                      <a:pt x="282" y="1182"/>
                    </a:lnTo>
                    <a:lnTo>
                      <a:pt x="282" y="1182"/>
                    </a:lnTo>
                    <a:lnTo>
                      <a:pt x="282" y="1182"/>
                    </a:lnTo>
                    <a:lnTo>
                      <a:pt x="278" y="1182"/>
                    </a:lnTo>
                    <a:lnTo>
                      <a:pt x="278" y="1182"/>
                    </a:lnTo>
                    <a:lnTo>
                      <a:pt x="278" y="1182"/>
                    </a:lnTo>
                    <a:lnTo>
                      <a:pt x="278" y="1184"/>
                    </a:lnTo>
                    <a:lnTo>
                      <a:pt x="278" y="1184"/>
                    </a:lnTo>
                    <a:lnTo>
                      <a:pt x="278" y="1184"/>
                    </a:lnTo>
                    <a:lnTo>
                      <a:pt x="278" y="1186"/>
                    </a:lnTo>
                    <a:lnTo>
                      <a:pt x="276" y="1188"/>
                    </a:lnTo>
                    <a:lnTo>
                      <a:pt x="276" y="1188"/>
                    </a:lnTo>
                    <a:lnTo>
                      <a:pt x="278" y="1192"/>
                    </a:lnTo>
                    <a:lnTo>
                      <a:pt x="278" y="1192"/>
                    </a:lnTo>
                    <a:lnTo>
                      <a:pt x="280" y="1192"/>
                    </a:lnTo>
                    <a:lnTo>
                      <a:pt x="286" y="1192"/>
                    </a:lnTo>
                    <a:lnTo>
                      <a:pt x="292" y="1192"/>
                    </a:lnTo>
                    <a:lnTo>
                      <a:pt x="298" y="1192"/>
                    </a:lnTo>
                    <a:lnTo>
                      <a:pt x="304" y="1190"/>
                    </a:lnTo>
                    <a:lnTo>
                      <a:pt x="304" y="1190"/>
                    </a:lnTo>
                    <a:lnTo>
                      <a:pt x="304" y="1190"/>
                    </a:lnTo>
                    <a:lnTo>
                      <a:pt x="306" y="1190"/>
                    </a:lnTo>
                    <a:lnTo>
                      <a:pt x="306" y="1190"/>
                    </a:lnTo>
                    <a:lnTo>
                      <a:pt x="308" y="1190"/>
                    </a:lnTo>
                    <a:lnTo>
                      <a:pt x="308" y="1188"/>
                    </a:lnTo>
                    <a:lnTo>
                      <a:pt x="308" y="1192"/>
                    </a:lnTo>
                    <a:lnTo>
                      <a:pt x="310" y="1194"/>
                    </a:lnTo>
                    <a:lnTo>
                      <a:pt x="310" y="1196"/>
                    </a:lnTo>
                    <a:lnTo>
                      <a:pt x="310" y="1196"/>
                    </a:lnTo>
                    <a:lnTo>
                      <a:pt x="310" y="1196"/>
                    </a:lnTo>
                    <a:lnTo>
                      <a:pt x="312" y="1198"/>
                    </a:lnTo>
                    <a:lnTo>
                      <a:pt x="312" y="1198"/>
                    </a:lnTo>
                    <a:lnTo>
                      <a:pt x="312" y="1198"/>
                    </a:lnTo>
                    <a:lnTo>
                      <a:pt x="314" y="1200"/>
                    </a:lnTo>
                    <a:lnTo>
                      <a:pt x="314" y="1200"/>
                    </a:lnTo>
                    <a:lnTo>
                      <a:pt x="314" y="1200"/>
                    </a:lnTo>
                    <a:lnTo>
                      <a:pt x="316" y="1202"/>
                    </a:lnTo>
                    <a:lnTo>
                      <a:pt x="318" y="1202"/>
                    </a:lnTo>
                    <a:lnTo>
                      <a:pt x="322" y="1204"/>
                    </a:lnTo>
                    <a:lnTo>
                      <a:pt x="322" y="1204"/>
                    </a:lnTo>
                    <a:lnTo>
                      <a:pt x="322" y="1204"/>
                    </a:lnTo>
                    <a:lnTo>
                      <a:pt x="324" y="1204"/>
                    </a:lnTo>
                    <a:lnTo>
                      <a:pt x="326" y="1206"/>
                    </a:lnTo>
                    <a:lnTo>
                      <a:pt x="330" y="1206"/>
                    </a:lnTo>
                    <a:lnTo>
                      <a:pt x="332" y="1208"/>
                    </a:lnTo>
                    <a:lnTo>
                      <a:pt x="334" y="1208"/>
                    </a:lnTo>
                    <a:lnTo>
                      <a:pt x="336" y="1210"/>
                    </a:lnTo>
                    <a:lnTo>
                      <a:pt x="336" y="1210"/>
                    </a:lnTo>
                    <a:lnTo>
                      <a:pt x="336" y="1212"/>
                    </a:lnTo>
                    <a:lnTo>
                      <a:pt x="338" y="1212"/>
                    </a:lnTo>
                    <a:lnTo>
                      <a:pt x="340" y="1214"/>
                    </a:lnTo>
                    <a:lnTo>
                      <a:pt x="342" y="1214"/>
                    </a:lnTo>
                    <a:lnTo>
                      <a:pt x="342" y="1216"/>
                    </a:lnTo>
                    <a:lnTo>
                      <a:pt x="344" y="1218"/>
                    </a:lnTo>
                    <a:lnTo>
                      <a:pt x="344" y="1222"/>
                    </a:lnTo>
                    <a:lnTo>
                      <a:pt x="344" y="1226"/>
                    </a:lnTo>
                    <a:lnTo>
                      <a:pt x="346" y="1230"/>
                    </a:lnTo>
                    <a:lnTo>
                      <a:pt x="346" y="1232"/>
                    </a:lnTo>
                    <a:lnTo>
                      <a:pt x="346" y="1232"/>
                    </a:lnTo>
                    <a:lnTo>
                      <a:pt x="348" y="1234"/>
                    </a:lnTo>
                    <a:lnTo>
                      <a:pt x="350" y="1236"/>
                    </a:lnTo>
                    <a:lnTo>
                      <a:pt x="350" y="1236"/>
                    </a:lnTo>
                    <a:lnTo>
                      <a:pt x="352" y="1238"/>
                    </a:lnTo>
                    <a:lnTo>
                      <a:pt x="352" y="1238"/>
                    </a:lnTo>
                    <a:lnTo>
                      <a:pt x="354" y="1238"/>
                    </a:lnTo>
                    <a:lnTo>
                      <a:pt x="356" y="1236"/>
                    </a:lnTo>
                    <a:lnTo>
                      <a:pt x="358" y="1234"/>
                    </a:lnTo>
                    <a:lnTo>
                      <a:pt x="362" y="1232"/>
                    </a:lnTo>
                    <a:lnTo>
                      <a:pt x="362" y="1232"/>
                    </a:lnTo>
                    <a:lnTo>
                      <a:pt x="364" y="1230"/>
                    </a:lnTo>
                    <a:lnTo>
                      <a:pt x="366" y="1230"/>
                    </a:lnTo>
                    <a:lnTo>
                      <a:pt x="368" y="1230"/>
                    </a:lnTo>
                    <a:lnTo>
                      <a:pt x="372" y="1228"/>
                    </a:lnTo>
                    <a:lnTo>
                      <a:pt x="372" y="1228"/>
                    </a:lnTo>
                    <a:lnTo>
                      <a:pt x="374" y="1226"/>
                    </a:lnTo>
                    <a:lnTo>
                      <a:pt x="374" y="1226"/>
                    </a:lnTo>
                    <a:lnTo>
                      <a:pt x="374" y="1224"/>
                    </a:lnTo>
                    <a:lnTo>
                      <a:pt x="370" y="1220"/>
                    </a:lnTo>
                    <a:close/>
                    <a:moveTo>
                      <a:pt x="1672" y="778"/>
                    </a:moveTo>
                    <a:lnTo>
                      <a:pt x="1672" y="778"/>
                    </a:lnTo>
                    <a:lnTo>
                      <a:pt x="1672" y="776"/>
                    </a:lnTo>
                    <a:lnTo>
                      <a:pt x="1670" y="774"/>
                    </a:lnTo>
                    <a:lnTo>
                      <a:pt x="1670" y="774"/>
                    </a:lnTo>
                    <a:lnTo>
                      <a:pt x="1670" y="774"/>
                    </a:lnTo>
                    <a:lnTo>
                      <a:pt x="1668" y="774"/>
                    </a:lnTo>
                    <a:lnTo>
                      <a:pt x="1666" y="772"/>
                    </a:lnTo>
                    <a:lnTo>
                      <a:pt x="1662" y="770"/>
                    </a:lnTo>
                    <a:lnTo>
                      <a:pt x="1662" y="768"/>
                    </a:lnTo>
                    <a:lnTo>
                      <a:pt x="1660" y="766"/>
                    </a:lnTo>
                    <a:lnTo>
                      <a:pt x="1660" y="764"/>
                    </a:lnTo>
                    <a:lnTo>
                      <a:pt x="1660" y="762"/>
                    </a:lnTo>
                    <a:lnTo>
                      <a:pt x="1660" y="754"/>
                    </a:lnTo>
                    <a:lnTo>
                      <a:pt x="1660" y="748"/>
                    </a:lnTo>
                    <a:lnTo>
                      <a:pt x="1660" y="744"/>
                    </a:lnTo>
                    <a:lnTo>
                      <a:pt x="1660" y="742"/>
                    </a:lnTo>
                    <a:lnTo>
                      <a:pt x="1660" y="738"/>
                    </a:lnTo>
                    <a:lnTo>
                      <a:pt x="1658" y="732"/>
                    </a:lnTo>
                    <a:lnTo>
                      <a:pt x="1658" y="730"/>
                    </a:lnTo>
                    <a:lnTo>
                      <a:pt x="1658" y="730"/>
                    </a:lnTo>
                    <a:lnTo>
                      <a:pt x="1658" y="730"/>
                    </a:lnTo>
                    <a:lnTo>
                      <a:pt x="1658" y="728"/>
                    </a:lnTo>
                    <a:lnTo>
                      <a:pt x="1656" y="728"/>
                    </a:lnTo>
                    <a:lnTo>
                      <a:pt x="1656" y="728"/>
                    </a:lnTo>
                    <a:lnTo>
                      <a:pt x="1656" y="726"/>
                    </a:lnTo>
                    <a:lnTo>
                      <a:pt x="1656" y="726"/>
                    </a:lnTo>
                    <a:lnTo>
                      <a:pt x="1656" y="726"/>
                    </a:lnTo>
                    <a:lnTo>
                      <a:pt x="1654" y="726"/>
                    </a:lnTo>
                    <a:lnTo>
                      <a:pt x="1652" y="726"/>
                    </a:lnTo>
                    <a:lnTo>
                      <a:pt x="1652" y="726"/>
                    </a:lnTo>
                    <a:lnTo>
                      <a:pt x="1652" y="726"/>
                    </a:lnTo>
                    <a:lnTo>
                      <a:pt x="1650" y="726"/>
                    </a:lnTo>
                    <a:lnTo>
                      <a:pt x="1650" y="726"/>
                    </a:lnTo>
                    <a:lnTo>
                      <a:pt x="1650" y="726"/>
                    </a:lnTo>
                    <a:lnTo>
                      <a:pt x="1648" y="728"/>
                    </a:lnTo>
                    <a:lnTo>
                      <a:pt x="1646" y="728"/>
                    </a:lnTo>
                    <a:lnTo>
                      <a:pt x="1644" y="730"/>
                    </a:lnTo>
                    <a:lnTo>
                      <a:pt x="1642" y="732"/>
                    </a:lnTo>
                    <a:lnTo>
                      <a:pt x="1642" y="732"/>
                    </a:lnTo>
                    <a:lnTo>
                      <a:pt x="1642" y="732"/>
                    </a:lnTo>
                    <a:lnTo>
                      <a:pt x="1640" y="730"/>
                    </a:lnTo>
                    <a:lnTo>
                      <a:pt x="1638" y="730"/>
                    </a:lnTo>
                    <a:lnTo>
                      <a:pt x="1636" y="728"/>
                    </a:lnTo>
                    <a:lnTo>
                      <a:pt x="1634" y="728"/>
                    </a:lnTo>
                    <a:lnTo>
                      <a:pt x="1634" y="728"/>
                    </a:lnTo>
                    <a:lnTo>
                      <a:pt x="1634" y="728"/>
                    </a:lnTo>
                    <a:lnTo>
                      <a:pt x="1632" y="728"/>
                    </a:lnTo>
                    <a:lnTo>
                      <a:pt x="1632" y="728"/>
                    </a:lnTo>
                    <a:lnTo>
                      <a:pt x="1630" y="728"/>
                    </a:lnTo>
                    <a:lnTo>
                      <a:pt x="1630" y="730"/>
                    </a:lnTo>
                    <a:lnTo>
                      <a:pt x="1630" y="730"/>
                    </a:lnTo>
                    <a:lnTo>
                      <a:pt x="1628" y="730"/>
                    </a:lnTo>
                    <a:lnTo>
                      <a:pt x="1628" y="732"/>
                    </a:lnTo>
                    <a:lnTo>
                      <a:pt x="1628" y="732"/>
                    </a:lnTo>
                    <a:lnTo>
                      <a:pt x="1628" y="732"/>
                    </a:lnTo>
                    <a:lnTo>
                      <a:pt x="1628" y="734"/>
                    </a:lnTo>
                    <a:lnTo>
                      <a:pt x="1628" y="738"/>
                    </a:lnTo>
                    <a:lnTo>
                      <a:pt x="1628" y="740"/>
                    </a:lnTo>
                    <a:lnTo>
                      <a:pt x="1628" y="746"/>
                    </a:lnTo>
                    <a:lnTo>
                      <a:pt x="1628" y="748"/>
                    </a:lnTo>
                    <a:lnTo>
                      <a:pt x="1628" y="750"/>
                    </a:lnTo>
                    <a:lnTo>
                      <a:pt x="1626" y="752"/>
                    </a:lnTo>
                    <a:lnTo>
                      <a:pt x="1626" y="752"/>
                    </a:lnTo>
                    <a:lnTo>
                      <a:pt x="1622" y="756"/>
                    </a:lnTo>
                    <a:lnTo>
                      <a:pt x="1618" y="758"/>
                    </a:lnTo>
                    <a:lnTo>
                      <a:pt x="1616" y="760"/>
                    </a:lnTo>
                    <a:lnTo>
                      <a:pt x="1614" y="762"/>
                    </a:lnTo>
                    <a:lnTo>
                      <a:pt x="1614" y="762"/>
                    </a:lnTo>
                    <a:lnTo>
                      <a:pt x="1614" y="762"/>
                    </a:lnTo>
                    <a:lnTo>
                      <a:pt x="1612" y="766"/>
                    </a:lnTo>
                    <a:lnTo>
                      <a:pt x="1608" y="772"/>
                    </a:lnTo>
                    <a:lnTo>
                      <a:pt x="1606" y="776"/>
                    </a:lnTo>
                    <a:lnTo>
                      <a:pt x="1606" y="776"/>
                    </a:lnTo>
                    <a:lnTo>
                      <a:pt x="1604" y="778"/>
                    </a:lnTo>
                    <a:lnTo>
                      <a:pt x="1602" y="778"/>
                    </a:lnTo>
                    <a:lnTo>
                      <a:pt x="1600" y="780"/>
                    </a:lnTo>
                    <a:lnTo>
                      <a:pt x="1596" y="780"/>
                    </a:lnTo>
                    <a:lnTo>
                      <a:pt x="1592" y="780"/>
                    </a:lnTo>
                    <a:lnTo>
                      <a:pt x="1584" y="780"/>
                    </a:lnTo>
                    <a:lnTo>
                      <a:pt x="1580" y="780"/>
                    </a:lnTo>
                    <a:lnTo>
                      <a:pt x="1578" y="780"/>
                    </a:lnTo>
                    <a:lnTo>
                      <a:pt x="1570" y="778"/>
                    </a:lnTo>
                    <a:lnTo>
                      <a:pt x="1564" y="778"/>
                    </a:lnTo>
                    <a:lnTo>
                      <a:pt x="1558" y="778"/>
                    </a:lnTo>
                    <a:lnTo>
                      <a:pt x="1554" y="778"/>
                    </a:lnTo>
                    <a:lnTo>
                      <a:pt x="1550" y="778"/>
                    </a:lnTo>
                    <a:lnTo>
                      <a:pt x="1548" y="778"/>
                    </a:lnTo>
                    <a:lnTo>
                      <a:pt x="1546" y="778"/>
                    </a:lnTo>
                    <a:lnTo>
                      <a:pt x="1542" y="780"/>
                    </a:lnTo>
                    <a:lnTo>
                      <a:pt x="1542" y="780"/>
                    </a:lnTo>
                    <a:lnTo>
                      <a:pt x="1542" y="780"/>
                    </a:lnTo>
                    <a:lnTo>
                      <a:pt x="1538" y="782"/>
                    </a:lnTo>
                    <a:lnTo>
                      <a:pt x="1538" y="784"/>
                    </a:lnTo>
                    <a:lnTo>
                      <a:pt x="1536" y="786"/>
                    </a:lnTo>
                    <a:lnTo>
                      <a:pt x="1534" y="786"/>
                    </a:lnTo>
                    <a:lnTo>
                      <a:pt x="1534" y="788"/>
                    </a:lnTo>
                    <a:lnTo>
                      <a:pt x="1534" y="788"/>
                    </a:lnTo>
                    <a:lnTo>
                      <a:pt x="1532" y="788"/>
                    </a:lnTo>
                    <a:lnTo>
                      <a:pt x="1532" y="792"/>
                    </a:lnTo>
                    <a:lnTo>
                      <a:pt x="1530" y="794"/>
                    </a:lnTo>
                    <a:lnTo>
                      <a:pt x="1528" y="798"/>
                    </a:lnTo>
                    <a:lnTo>
                      <a:pt x="1526" y="802"/>
                    </a:lnTo>
                    <a:lnTo>
                      <a:pt x="1526" y="804"/>
                    </a:lnTo>
                    <a:lnTo>
                      <a:pt x="1524" y="808"/>
                    </a:lnTo>
                    <a:lnTo>
                      <a:pt x="1522" y="808"/>
                    </a:lnTo>
                    <a:lnTo>
                      <a:pt x="1518" y="810"/>
                    </a:lnTo>
                    <a:lnTo>
                      <a:pt x="1516" y="812"/>
                    </a:lnTo>
                    <a:lnTo>
                      <a:pt x="1508" y="812"/>
                    </a:lnTo>
                    <a:lnTo>
                      <a:pt x="1506" y="812"/>
                    </a:lnTo>
                    <a:lnTo>
                      <a:pt x="1502" y="814"/>
                    </a:lnTo>
                    <a:lnTo>
                      <a:pt x="1498" y="814"/>
                    </a:lnTo>
                    <a:lnTo>
                      <a:pt x="1496" y="814"/>
                    </a:lnTo>
                    <a:lnTo>
                      <a:pt x="1496" y="814"/>
                    </a:lnTo>
                    <a:lnTo>
                      <a:pt x="1496" y="814"/>
                    </a:lnTo>
                    <a:lnTo>
                      <a:pt x="1494" y="816"/>
                    </a:lnTo>
                    <a:lnTo>
                      <a:pt x="1492" y="816"/>
                    </a:lnTo>
                    <a:lnTo>
                      <a:pt x="1492" y="816"/>
                    </a:lnTo>
                    <a:lnTo>
                      <a:pt x="1490" y="816"/>
                    </a:lnTo>
                    <a:lnTo>
                      <a:pt x="1488" y="818"/>
                    </a:lnTo>
                    <a:lnTo>
                      <a:pt x="1488" y="820"/>
                    </a:lnTo>
                    <a:lnTo>
                      <a:pt x="1486" y="820"/>
                    </a:lnTo>
                    <a:lnTo>
                      <a:pt x="1484" y="822"/>
                    </a:lnTo>
                    <a:lnTo>
                      <a:pt x="1482" y="824"/>
                    </a:lnTo>
                    <a:lnTo>
                      <a:pt x="1480" y="826"/>
                    </a:lnTo>
                    <a:lnTo>
                      <a:pt x="1476" y="828"/>
                    </a:lnTo>
                    <a:lnTo>
                      <a:pt x="1468" y="836"/>
                    </a:lnTo>
                    <a:lnTo>
                      <a:pt x="1464" y="838"/>
                    </a:lnTo>
                    <a:lnTo>
                      <a:pt x="1460" y="842"/>
                    </a:lnTo>
                    <a:lnTo>
                      <a:pt x="1456" y="844"/>
                    </a:lnTo>
                    <a:lnTo>
                      <a:pt x="1452" y="846"/>
                    </a:lnTo>
                    <a:lnTo>
                      <a:pt x="1450" y="846"/>
                    </a:lnTo>
                    <a:lnTo>
                      <a:pt x="1444" y="848"/>
                    </a:lnTo>
                    <a:lnTo>
                      <a:pt x="1440" y="848"/>
                    </a:lnTo>
                    <a:lnTo>
                      <a:pt x="1436" y="848"/>
                    </a:lnTo>
                    <a:lnTo>
                      <a:pt x="1432" y="848"/>
                    </a:lnTo>
                    <a:lnTo>
                      <a:pt x="1428" y="848"/>
                    </a:lnTo>
                    <a:lnTo>
                      <a:pt x="1426" y="848"/>
                    </a:lnTo>
                    <a:lnTo>
                      <a:pt x="1426" y="846"/>
                    </a:lnTo>
                    <a:lnTo>
                      <a:pt x="1426" y="846"/>
                    </a:lnTo>
                    <a:lnTo>
                      <a:pt x="1426" y="846"/>
                    </a:lnTo>
                    <a:lnTo>
                      <a:pt x="1426" y="844"/>
                    </a:lnTo>
                    <a:lnTo>
                      <a:pt x="1426" y="844"/>
                    </a:lnTo>
                    <a:lnTo>
                      <a:pt x="1428" y="840"/>
                    </a:lnTo>
                    <a:lnTo>
                      <a:pt x="1430" y="836"/>
                    </a:lnTo>
                    <a:lnTo>
                      <a:pt x="1434" y="830"/>
                    </a:lnTo>
                    <a:lnTo>
                      <a:pt x="1436" y="826"/>
                    </a:lnTo>
                    <a:lnTo>
                      <a:pt x="1438" y="822"/>
                    </a:lnTo>
                    <a:lnTo>
                      <a:pt x="1440" y="818"/>
                    </a:lnTo>
                    <a:lnTo>
                      <a:pt x="1440" y="818"/>
                    </a:lnTo>
                    <a:lnTo>
                      <a:pt x="1440" y="818"/>
                    </a:lnTo>
                    <a:lnTo>
                      <a:pt x="1442" y="812"/>
                    </a:lnTo>
                    <a:lnTo>
                      <a:pt x="1442" y="812"/>
                    </a:lnTo>
                    <a:lnTo>
                      <a:pt x="1442" y="806"/>
                    </a:lnTo>
                    <a:lnTo>
                      <a:pt x="1442" y="806"/>
                    </a:lnTo>
                    <a:lnTo>
                      <a:pt x="1442" y="806"/>
                    </a:lnTo>
                    <a:lnTo>
                      <a:pt x="1440" y="802"/>
                    </a:lnTo>
                    <a:lnTo>
                      <a:pt x="1440" y="802"/>
                    </a:lnTo>
                    <a:lnTo>
                      <a:pt x="1440" y="802"/>
                    </a:lnTo>
                    <a:lnTo>
                      <a:pt x="1440" y="800"/>
                    </a:lnTo>
                    <a:lnTo>
                      <a:pt x="1440" y="800"/>
                    </a:lnTo>
                    <a:lnTo>
                      <a:pt x="1440" y="800"/>
                    </a:lnTo>
                    <a:lnTo>
                      <a:pt x="1438" y="798"/>
                    </a:lnTo>
                    <a:lnTo>
                      <a:pt x="1438" y="798"/>
                    </a:lnTo>
                    <a:lnTo>
                      <a:pt x="1438" y="798"/>
                    </a:lnTo>
                    <a:lnTo>
                      <a:pt x="1436" y="796"/>
                    </a:lnTo>
                    <a:lnTo>
                      <a:pt x="1436" y="796"/>
                    </a:lnTo>
                    <a:lnTo>
                      <a:pt x="1436" y="796"/>
                    </a:lnTo>
                    <a:lnTo>
                      <a:pt x="1434" y="796"/>
                    </a:lnTo>
                    <a:lnTo>
                      <a:pt x="1434" y="796"/>
                    </a:lnTo>
                    <a:lnTo>
                      <a:pt x="1434" y="796"/>
                    </a:lnTo>
                    <a:lnTo>
                      <a:pt x="1432" y="796"/>
                    </a:lnTo>
                    <a:lnTo>
                      <a:pt x="1432" y="796"/>
                    </a:lnTo>
                    <a:lnTo>
                      <a:pt x="1432" y="798"/>
                    </a:lnTo>
                    <a:lnTo>
                      <a:pt x="1428" y="798"/>
                    </a:lnTo>
                    <a:lnTo>
                      <a:pt x="1424" y="802"/>
                    </a:lnTo>
                    <a:lnTo>
                      <a:pt x="1422" y="804"/>
                    </a:lnTo>
                    <a:lnTo>
                      <a:pt x="1418" y="806"/>
                    </a:lnTo>
                    <a:lnTo>
                      <a:pt x="1416" y="808"/>
                    </a:lnTo>
                    <a:lnTo>
                      <a:pt x="1418" y="804"/>
                    </a:lnTo>
                    <a:lnTo>
                      <a:pt x="1420" y="800"/>
                    </a:lnTo>
                    <a:lnTo>
                      <a:pt x="1422" y="796"/>
                    </a:lnTo>
                    <a:lnTo>
                      <a:pt x="1424" y="792"/>
                    </a:lnTo>
                    <a:lnTo>
                      <a:pt x="1424" y="786"/>
                    </a:lnTo>
                    <a:lnTo>
                      <a:pt x="1426" y="782"/>
                    </a:lnTo>
                    <a:lnTo>
                      <a:pt x="1426" y="782"/>
                    </a:lnTo>
                    <a:lnTo>
                      <a:pt x="1426" y="782"/>
                    </a:lnTo>
                    <a:lnTo>
                      <a:pt x="1426" y="780"/>
                    </a:lnTo>
                    <a:lnTo>
                      <a:pt x="1426" y="776"/>
                    </a:lnTo>
                    <a:lnTo>
                      <a:pt x="1426" y="776"/>
                    </a:lnTo>
                    <a:lnTo>
                      <a:pt x="1426" y="776"/>
                    </a:lnTo>
                    <a:lnTo>
                      <a:pt x="1424" y="770"/>
                    </a:lnTo>
                    <a:lnTo>
                      <a:pt x="1424" y="770"/>
                    </a:lnTo>
                    <a:lnTo>
                      <a:pt x="1424" y="770"/>
                    </a:lnTo>
                    <a:lnTo>
                      <a:pt x="1422" y="766"/>
                    </a:lnTo>
                    <a:lnTo>
                      <a:pt x="1422" y="766"/>
                    </a:lnTo>
                    <a:lnTo>
                      <a:pt x="1422" y="766"/>
                    </a:lnTo>
                    <a:lnTo>
                      <a:pt x="1420" y="764"/>
                    </a:lnTo>
                    <a:lnTo>
                      <a:pt x="1420" y="764"/>
                    </a:lnTo>
                    <a:lnTo>
                      <a:pt x="1420" y="764"/>
                    </a:lnTo>
                    <a:lnTo>
                      <a:pt x="1418" y="762"/>
                    </a:lnTo>
                    <a:lnTo>
                      <a:pt x="1418" y="762"/>
                    </a:lnTo>
                    <a:lnTo>
                      <a:pt x="1418" y="762"/>
                    </a:lnTo>
                    <a:lnTo>
                      <a:pt x="1416" y="760"/>
                    </a:lnTo>
                    <a:lnTo>
                      <a:pt x="1416" y="760"/>
                    </a:lnTo>
                    <a:lnTo>
                      <a:pt x="1416" y="760"/>
                    </a:lnTo>
                    <a:lnTo>
                      <a:pt x="1414" y="760"/>
                    </a:lnTo>
                    <a:lnTo>
                      <a:pt x="1414" y="760"/>
                    </a:lnTo>
                    <a:lnTo>
                      <a:pt x="1414" y="760"/>
                    </a:lnTo>
                    <a:lnTo>
                      <a:pt x="1410" y="758"/>
                    </a:lnTo>
                    <a:lnTo>
                      <a:pt x="1410" y="758"/>
                    </a:lnTo>
                    <a:lnTo>
                      <a:pt x="1408" y="758"/>
                    </a:lnTo>
                    <a:lnTo>
                      <a:pt x="1404" y="758"/>
                    </a:lnTo>
                    <a:lnTo>
                      <a:pt x="1404" y="758"/>
                    </a:lnTo>
                    <a:lnTo>
                      <a:pt x="1404" y="758"/>
                    </a:lnTo>
                    <a:lnTo>
                      <a:pt x="1400" y="758"/>
                    </a:lnTo>
                    <a:lnTo>
                      <a:pt x="1400" y="758"/>
                    </a:lnTo>
                    <a:lnTo>
                      <a:pt x="1400" y="758"/>
                    </a:lnTo>
                    <a:lnTo>
                      <a:pt x="1398" y="758"/>
                    </a:lnTo>
                    <a:lnTo>
                      <a:pt x="1398" y="758"/>
                    </a:lnTo>
                    <a:lnTo>
                      <a:pt x="1398" y="758"/>
                    </a:lnTo>
                    <a:lnTo>
                      <a:pt x="1394" y="760"/>
                    </a:lnTo>
                    <a:lnTo>
                      <a:pt x="1394" y="760"/>
                    </a:lnTo>
                    <a:lnTo>
                      <a:pt x="1394" y="762"/>
                    </a:lnTo>
                    <a:lnTo>
                      <a:pt x="1390" y="764"/>
                    </a:lnTo>
                    <a:lnTo>
                      <a:pt x="1390" y="764"/>
                    </a:lnTo>
                    <a:lnTo>
                      <a:pt x="1390" y="764"/>
                    </a:lnTo>
                    <a:lnTo>
                      <a:pt x="1388" y="768"/>
                    </a:lnTo>
                    <a:lnTo>
                      <a:pt x="1384" y="772"/>
                    </a:lnTo>
                    <a:lnTo>
                      <a:pt x="1382" y="776"/>
                    </a:lnTo>
                    <a:lnTo>
                      <a:pt x="1382" y="780"/>
                    </a:lnTo>
                    <a:lnTo>
                      <a:pt x="1378" y="786"/>
                    </a:lnTo>
                    <a:lnTo>
                      <a:pt x="1376" y="794"/>
                    </a:lnTo>
                    <a:lnTo>
                      <a:pt x="1374" y="798"/>
                    </a:lnTo>
                    <a:lnTo>
                      <a:pt x="1374" y="802"/>
                    </a:lnTo>
                    <a:lnTo>
                      <a:pt x="1374" y="808"/>
                    </a:lnTo>
                    <a:lnTo>
                      <a:pt x="1374" y="812"/>
                    </a:lnTo>
                    <a:lnTo>
                      <a:pt x="1376" y="820"/>
                    </a:lnTo>
                    <a:lnTo>
                      <a:pt x="1376" y="826"/>
                    </a:lnTo>
                    <a:lnTo>
                      <a:pt x="1378" y="828"/>
                    </a:lnTo>
                    <a:lnTo>
                      <a:pt x="1376" y="832"/>
                    </a:lnTo>
                    <a:lnTo>
                      <a:pt x="1376" y="834"/>
                    </a:lnTo>
                    <a:lnTo>
                      <a:pt x="1376" y="836"/>
                    </a:lnTo>
                    <a:lnTo>
                      <a:pt x="1374" y="838"/>
                    </a:lnTo>
                    <a:lnTo>
                      <a:pt x="1372" y="838"/>
                    </a:lnTo>
                    <a:lnTo>
                      <a:pt x="1370" y="840"/>
                    </a:lnTo>
                    <a:lnTo>
                      <a:pt x="1366" y="840"/>
                    </a:lnTo>
                    <a:lnTo>
                      <a:pt x="1366" y="842"/>
                    </a:lnTo>
                    <a:lnTo>
                      <a:pt x="1364" y="840"/>
                    </a:lnTo>
                    <a:lnTo>
                      <a:pt x="1364" y="840"/>
                    </a:lnTo>
                    <a:lnTo>
                      <a:pt x="1362" y="838"/>
                    </a:lnTo>
                    <a:lnTo>
                      <a:pt x="1362" y="836"/>
                    </a:lnTo>
                    <a:lnTo>
                      <a:pt x="1360" y="832"/>
                    </a:lnTo>
                    <a:lnTo>
                      <a:pt x="1360" y="828"/>
                    </a:lnTo>
                    <a:lnTo>
                      <a:pt x="1358" y="822"/>
                    </a:lnTo>
                    <a:lnTo>
                      <a:pt x="1358" y="816"/>
                    </a:lnTo>
                    <a:lnTo>
                      <a:pt x="1358" y="812"/>
                    </a:lnTo>
                    <a:lnTo>
                      <a:pt x="1358" y="808"/>
                    </a:lnTo>
                    <a:lnTo>
                      <a:pt x="1358" y="798"/>
                    </a:lnTo>
                    <a:lnTo>
                      <a:pt x="1360" y="790"/>
                    </a:lnTo>
                    <a:lnTo>
                      <a:pt x="1360" y="790"/>
                    </a:lnTo>
                    <a:lnTo>
                      <a:pt x="1362" y="782"/>
                    </a:lnTo>
                    <a:lnTo>
                      <a:pt x="1364" y="780"/>
                    </a:lnTo>
                    <a:lnTo>
                      <a:pt x="1366" y="776"/>
                    </a:lnTo>
                    <a:lnTo>
                      <a:pt x="1368" y="774"/>
                    </a:lnTo>
                    <a:lnTo>
                      <a:pt x="1372" y="770"/>
                    </a:lnTo>
                    <a:lnTo>
                      <a:pt x="1376" y="768"/>
                    </a:lnTo>
                    <a:lnTo>
                      <a:pt x="1380" y="766"/>
                    </a:lnTo>
                    <a:lnTo>
                      <a:pt x="1384" y="764"/>
                    </a:lnTo>
                    <a:lnTo>
                      <a:pt x="1388" y="762"/>
                    </a:lnTo>
                    <a:lnTo>
                      <a:pt x="1392" y="760"/>
                    </a:lnTo>
                    <a:lnTo>
                      <a:pt x="1392" y="760"/>
                    </a:lnTo>
                    <a:lnTo>
                      <a:pt x="1392" y="758"/>
                    </a:lnTo>
                    <a:lnTo>
                      <a:pt x="1394" y="756"/>
                    </a:lnTo>
                    <a:lnTo>
                      <a:pt x="1394" y="756"/>
                    </a:lnTo>
                    <a:lnTo>
                      <a:pt x="1396" y="756"/>
                    </a:lnTo>
                    <a:lnTo>
                      <a:pt x="1398" y="754"/>
                    </a:lnTo>
                    <a:lnTo>
                      <a:pt x="1398" y="752"/>
                    </a:lnTo>
                    <a:lnTo>
                      <a:pt x="1398" y="752"/>
                    </a:lnTo>
                    <a:lnTo>
                      <a:pt x="1398" y="750"/>
                    </a:lnTo>
                    <a:lnTo>
                      <a:pt x="1400" y="748"/>
                    </a:lnTo>
                    <a:lnTo>
                      <a:pt x="1400" y="748"/>
                    </a:lnTo>
                    <a:lnTo>
                      <a:pt x="1400" y="748"/>
                    </a:lnTo>
                    <a:lnTo>
                      <a:pt x="1400" y="746"/>
                    </a:lnTo>
                    <a:lnTo>
                      <a:pt x="1400" y="746"/>
                    </a:lnTo>
                    <a:lnTo>
                      <a:pt x="1400" y="744"/>
                    </a:lnTo>
                    <a:lnTo>
                      <a:pt x="1400" y="742"/>
                    </a:lnTo>
                    <a:lnTo>
                      <a:pt x="1400" y="742"/>
                    </a:lnTo>
                    <a:lnTo>
                      <a:pt x="1400" y="742"/>
                    </a:lnTo>
                    <a:lnTo>
                      <a:pt x="1400" y="740"/>
                    </a:lnTo>
                    <a:lnTo>
                      <a:pt x="1400" y="740"/>
                    </a:lnTo>
                    <a:lnTo>
                      <a:pt x="1400" y="738"/>
                    </a:lnTo>
                    <a:lnTo>
                      <a:pt x="1398" y="736"/>
                    </a:lnTo>
                    <a:lnTo>
                      <a:pt x="1398" y="736"/>
                    </a:lnTo>
                    <a:lnTo>
                      <a:pt x="1398" y="736"/>
                    </a:lnTo>
                    <a:lnTo>
                      <a:pt x="1396" y="736"/>
                    </a:lnTo>
                    <a:lnTo>
                      <a:pt x="1396" y="736"/>
                    </a:lnTo>
                    <a:lnTo>
                      <a:pt x="1394" y="734"/>
                    </a:lnTo>
                    <a:lnTo>
                      <a:pt x="1392" y="734"/>
                    </a:lnTo>
                    <a:lnTo>
                      <a:pt x="1386" y="732"/>
                    </a:lnTo>
                    <a:lnTo>
                      <a:pt x="1382" y="732"/>
                    </a:lnTo>
                    <a:lnTo>
                      <a:pt x="1376" y="732"/>
                    </a:lnTo>
                    <a:lnTo>
                      <a:pt x="1368" y="732"/>
                    </a:lnTo>
                    <a:lnTo>
                      <a:pt x="1362" y="732"/>
                    </a:lnTo>
                    <a:lnTo>
                      <a:pt x="1356" y="732"/>
                    </a:lnTo>
                    <a:lnTo>
                      <a:pt x="1348" y="732"/>
                    </a:lnTo>
                    <a:lnTo>
                      <a:pt x="1342" y="732"/>
                    </a:lnTo>
                    <a:lnTo>
                      <a:pt x="1334" y="732"/>
                    </a:lnTo>
                    <a:lnTo>
                      <a:pt x="1326" y="734"/>
                    </a:lnTo>
                    <a:lnTo>
                      <a:pt x="1320" y="736"/>
                    </a:lnTo>
                    <a:lnTo>
                      <a:pt x="1312" y="736"/>
                    </a:lnTo>
                    <a:lnTo>
                      <a:pt x="1308" y="736"/>
                    </a:lnTo>
                    <a:lnTo>
                      <a:pt x="1306" y="736"/>
                    </a:lnTo>
                    <a:lnTo>
                      <a:pt x="1304" y="736"/>
                    </a:lnTo>
                    <a:lnTo>
                      <a:pt x="1302" y="736"/>
                    </a:lnTo>
                    <a:lnTo>
                      <a:pt x="1304" y="736"/>
                    </a:lnTo>
                    <a:lnTo>
                      <a:pt x="1306" y="734"/>
                    </a:lnTo>
                    <a:lnTo>
                      <a:pt x="1308" y="732"/>
                    </a:lnTo>
                    <a:lnTo>
                      <a:pt x="1314" y="728"/>
                    </a:lnTo>
                    <a:lnTo>
                      <a:pt x="1318" y="724"/>
                    </a:lnTo>
                    <a:lnTo>
                      <a:pt x="1324" y="722"/>
                    </a:lnTo>
                    <a:lnTo>
                      <a:pt x="1326" y="720"/>
                    </a:lnTo>
                    <a:lnTo>
                      <a:pt x="1328" y="718"/>
                    </a:lnTo>
                    <a:lnTo>
                      <a:pt x="1328" y="716"/>
                    </a:lnTo>
                    <a:lnTo>
                      <a:pt x="1328" y="716"/>
                    </a:lnTo>
                    <a:lnTo>
                      <a:pt x="1330" y="716"/>
                    </a:lnTo>
                    <a:lnTo>
                      <a:pt x="1330" y="714"/>
                    </a:lnTo>
                    <a:lnTo>
                      <a:pt x="1330" y="714"/>
                    </a:lnTo>
                    <a:lnTo>
                      <a:pt x="1330" y="712"/>
                    </a:lnTo>
                    <a:lnTo>
                      <a:pt x="1330" y="710"/>
                    </a:lnTo>
                    <a:lnTo>
                      <a:pt x="1330" y="710"/>
                    </a:lnTo>
                    <a:lnTo>
                      <a:pt x="1328" y="710"/>
                    </a:lnTo>
                    <a:lnTo>
                      <a:pt x="1326" y="708"/>
                    </a:lnTo>
                    <a:lnTo>
                      <a:pt x="1326" y="708"/>
                    </a:lnTo>
                    <a:lnTo>
                      <a:pt x="1326" y="708"/>
                    </a:lnTo>
                    <a:lnTo>
                      <a:pt x="1322" y="706"/>
                    </a:lnTo>
                    <a:lnTo>
                      <a:pt x="1318" y="706"/>
                    </a:lnTo>
                    <a:lnTo>
                      <a:pt x="1314" y="706"/>
                    </a:lnTo>
                    <a:lnTo>
                      <a:pt x="1310" y="706"/>
                    </a:lnTo>
                    <a:lnTo>
                      <a:pt x="1306" y="704"/>
                    </a:lnTo>
                    <a:lnTo>
                      <a:pt x="1302" y="704"/>
                    </a:lnTo>
                    <a:lnTo>
                      <a:pt x="1296" y="704"/>
                    </a:lnTo>
                    <a:lnTo>
                      <a:pt x="1292" y="704"/>
                    </a:lnTo>
                    <a:lnTo>
                      <a:pt x="1282" y="704"/>
                    </a:lnTo>
                    <a:lnTo>
                      <a:pt x="1272" y="704"/>
                    </a:lnTo>
                    <a:lnTo>
                      <a:pt x="1260" y="704"/>
                    </a:lnTo>
                    <a:lnTo>
                      <a:pt x="1258" y="704"/>
                    </a:lnTo>
                    <a:lnTo>
                      <a:pt x="1256" y="704"/>
                    </a:lnTo>
                    <a:lnTo>
                      <a:pt x="1256" y="704"/>
                    </a:lnTo>
                    <a:lnTo>
                      <a:pt x="1256" y="704"/>
                    </a:lnTo>
                    <a:lnTo>
                      <a:pt x="1256" y="704"/>
                    </a:lnTo>
                    <a:lnTo>
                      <a:pt x="1254" y="704"/>
                    </a:lnTo>
                    <a:lnTo>
                      <a:pt x="1254" y="704"/>
                    </a:lnTo>
                    <a:lnTo>
                      <a:pt x="1252" y="704"/>
                    </a:lnTo>
                    <a:lnTo>
                      <a:pt x="1250" y="704"/>
                    </a:lnTo>
                    <a:lnTo>
                      <a:pt x="1248" y="702"/>
                    </a:lnTo>
                    <a:lnTo>
                      <a:pt x="1244" y="702"/>
                    </a:lnTo>
                    <a:lnTo>
                      <a:pt x="1238" y="702"/>
                    </a:lnTo>
                    <a:lnTo>
                      <a:pt x="1232" y="702"/>
                    </a:lnTo>
                    <a:lnTo>
                      <a:pt x="1210" y="702"/>
                    </a:lnTo>
                    <a:lnTo>
                      <a:pt x="1206" y="702"/>
                    </a:lnTo>
                    <a:lnTo>
                      <a:pt x="1192" y="702"/>
                    </a:lnTo>
                    <a:lnTo>
                      <a:pt x="1180" y="702"/>
                    </a:lnTo>
                    <a:lnTo>
                      <a:pt x="1164" y="702"/>
                    </a:lnTo>
                    <a:lnTo>
                      <a:pt x="1148" y="702"/>
                    </a:lnTo>
                    <a:lnTo>
                      <a:pt x="1132" y="702"/>
                    </a:lnTo>
                    <a:lnTo>
                      <a:pt x="1116" y="702"/>
                    </a:lnTo>
                    <a:lnTo>
                      <a:pt x="1100" y="702"/>
                    </a:lnTo>
                    <a:lnTo>
                      <a:pt x="1084" y="702"/>
                    </a:lnTo>
                    <a:lnTo>
                      <a:pt x="1068" y="702"/>
                    </a:lnTo>
                    <a:lnTo>
                      <a:pt x="1052" y="702"/>
                    </a:lnTo>
                    <a:lnTo>
                      <a:pt x="1038" y="702"/>
                    </a:lnTo>
                    <a:lnTo>
                      <a:pt x="1026" y="702"/>
                    </a:lnTo>
                    <a:lnTo>
                      <a:pt x="1020" y="702"/>
                    </a:lnTo>
                    <a:lnTo>
                      <a:pt x="932" y="702"/>
                    </a:lnTo>
                    <a:lnTo>
                      <a:pt x="916" y="702"/>
                    </a:lnTo>
                    <a:lnTo>
                      <a:pt x="910" y="702"/>
                    </a:lnTo>
                    <a:lnTo>
                      <a:pt x="902" y="702"/>
                    </a:lnTo>
                    <a:lnTo>
                      <a:pt x="896" y="704"/>
                    </a:lnTo>
                    <a:lnTo>
                      <a:pt x="890" y="704"/>
                    </a:lnTo>
                    <a:lnTo>
                      <a:pt x="886" y="704"/>
                    </a:lnTo>
                    <a:lnTo>
                      <a:pt x="880" y="704"/>
                    </a:lnTo>
                    <a:lnTo>
                      <a:pt x="876" y="704"/>
                    </a:lnTo>
                    <a:lnTo>
                      <a:pt x="872" y="704"/>
                    </a:lnTo>
                    <a:lnTo>
                      <a:pt x="870" y="704"/>
                    </a:lnTo>
                    <a:lnTo>
                      <a:pt x="868" y="704"/>
                    </a:lnTo>
                    <a:lnTo>
                      <a:pt x="866" y="702"/>
                    </a:lnTo>
                    <a:lnTo>
                      <a:pt x="866" y="702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4" y="702"/>
                    </a:lnTo>
                    <a:lnTo>
                      <a:pt x="862" y="704"/>
                    </a:lnTo>
                    <a:lnTo>
                      <a:pt x="860" y="704"/>
                    </a:lnTo>
                    <a:lnTo>
                      <a:pt x="860" y="704"/>
                    </a:lnTo>
                    <a:lnTo>
                      <a:pt x="860" y="704"/>
                    </a:lnTo>
                    <a:lnTo>
                      <a:pt x="858" y="706"/>
                    </a:lnTo>
                    <a:lnTo>
                      <a:pt x="858" y="706"/>
                    </a:lnTo>
                    <a:lnTo>
                      <a:pt x="858" y="708"/>
                    </a:lnTo>
                    <a:lnTo>
                      <a:pt x="858" y="710"/>
                    </a:lnTo>
                    <a:lnTo>
                      <a:pt x="858" y="710"/>
                    </a:lnTo>
                    <a:lnTo>
                      <a:pt x="860" y="710"/>
                    </a:lnTo>
                    <a:lnTo>
                      <a:pt x="860" y="714"/>
                    </a:lnTo>
                    <a:lnTo>
                      <a:pt x="862" y="718"/>
                    </a:lnTo>
                    <a:lnTo>
                      <a:pt x="864" y="722"/>
                    </a:lnTo>
                    <a:lnTo>
                      <a:pt x="866" y="728"/>
                    </a:lnTo>
                    <a:lnTo>
                      <a:pt x="868" y="732"/>
                    </a:lnTo>
                    <a:lnTo>
                      <a:pt x="868" y="734"/>
                    </a:lnTo>
                    <a:lnTo>
                      <a:pt x="868" y="736"/>
                    </a:lnTo>
                    <a:lnTo>
                      <a:pt x="868" y="738"/>
                    </a:lnTo>
                    <a:lnTo>
                      <a:pt x="868" y="738"/>
                    </a:lnTo>
                    <a:lnTo>
                      <a:pt x="866" y="740"/>
                    </a:lnTo>
                    <a:lnTo>
                      <a:pt x="866" y="740"/>
                    </a:lnTo>
                    <a:lnTo>
                      <a:pt x="862" y="742"/>
                    </a:lnTo>
                    <a:lnTo>
                      <a:pt x="856" y="742"/>
                    </a:lnTo>
                    <a:lnTo>
                      <a:pt x="854" y="742"/>
                    </a:lnTo>
                    <a:lnTo>
                      <a:pt x="850" y="740"/>
                    </a:lnTo>
                    <a:lnTo>
                      <a:pt x="844" y="740"/>
                    </a:lnTo>
                    <a:lnTo>
                      <a:pt x="840" y="738"/>
                    </a:lnTo>
                    <a:lnTo>
                      <a:pt x="834" y="736"/>
                    </a:lnTo>
                    <a:lnTo>
                      <a:pt x="828" y="734"/>
                    </a:lnTo>
                    <a:lnTo>
                      <a:pt x="824" y="734"/>
                    </a:lnTo>
                    <a:lnTo>
                      <a:pt x="824" y="734"/>
                    </a:lnTo>
                    <a:lnTo>
                      <a:pt x="824" y="734"/>
                    </a:lnTo>
                    <a:lnTo>
                      <a:pt x="820" y="734"/>
                    </a:lnTo>
                    <a:lnTo>
                      <a:pt x="820" y="734"/>
                    </a:lnTo>
                    <a:lnTo>
                      <a:pt x="820" y="734"/>
                    </a:lnTo>
                    <a:lnTo>
                      <a:pt x="818" y="734"/>
                    </a:lnTo>
                    <a:lnTo>
                      <a:pt x="818" y="734"/>
                    </a:lnTo>
                    <a:lnTo>
                      <a:pt x="816" y="736"/>
                    </a:lnTo>
                    <a:lnTo>
                      <a:pt x="814" y="736"/>
                    </a:lnTo>
                    <a:lnTo>
                      <a:pt x="814" y="736"/>
                    </a:lnTo>
                    <a:lnTo>
                      <a:pt x="814" y="738"/>
                    </a:lnTo>
                    <a:lnTo>
                      <a:pt x="814" y="740"/>
                    </a:lnTo>
                    <a:lnTo>
                      <a:pt x="814" y="740"/>
                    </a:lnTo>
                    <a:lnTo>
                      <a:pt x="814" y="740"/>
                    </a:lnTo>
                    <a:lnTo>
                      <a:pt x="812" y="742"/>
                    </a:lnTo>
                    <a:lnTo>
                      <a:pt x="812" y="746"/>
                    </a:lnTo>
                    <a:lnTo>
                      <a:pt x="812" y="750"/>
                    </a:lnTo>
                    <a:lnTo>
                      <a:pt x="814" y="754"/>
                    </a:lnTo>
                    <a:lnTo>
                      <a:pt x="814" y="758"/>
                    </a:lnTo>
                    <a:lnTo>
                      <a:pt x="814" y="764"/>
                    </a:lnTo>
                    <a:lnTo>
                      <a:pt x="816" y="770"/>
                    </a:lnTo>
                    <a:lnTo>
                      <a:pt x="816" y="778"/>
                    </a:lnTo>
                    <a:lnTo>
                      <a:pt x="818" y="786"/>
                    </a:lnTo>
                    <a:lnTo>
                      <a:pt x="820" y="802"/>
                    </a:lnTo>
                    <a:lnTo>
                      <a:pt x="820" y="810"/>
                    </a:lnTo>
                    <a:lnTo>
                      <a:pt x="822" y="818"/>
                    </a:lnTo>
                    <a:lnTo>
                      <a:pt x="822" y="824"/>
                    </a:lnTo>
                    <a:lnTo>
                      <a:pt x="822" y="832"/>
                    </a:lnTo>
                    <a:lnTo>
                      <a:pt x="822" y="844"/>
                    </a:lnTo>
                    <a:lnTo>
                      <a:pt x="822" y="852"/>
                    </a:lnTo>
                    <a:lnTo>
                      <a:pt x="822" y="858"/>
                    </a:lnTo>
                    <a:lnTo>
                      <a:pt x="822" y="866"/>
                    </a:lnTo>
                    <a:lnTo>
                      <a:pt x="824" y="872"/>
                    </a:lnTo>
                    <a:lnTo>
                      <a:pt x="828" y="886"/>
                    </a:lnTo>
                    <a:lnTo>
                      <a:pt x="832" y="902"/>
                    </a:lnTo>
                    <a:lnTo>
                      <a:pt x="838" y="916"/>
                    </a:lnTo>
                    <a:lnTo>
                      <a:pt x="840" y="922"/>
                    </a:lnTo>
                    <a:lnTo>
                      <a:pt x="844" y="930"/>
                    </a:lnTo>
                    <a:lnTo>
                      <a:pt x="848" y="938"/>
                    </a:lnTo>
                    <a:lnTo>
                      <a:pt x="854" y="946"/>
                    </a:lnTo>
                    <a:lnTo>
                      <a:pt x="858" y="956"/>
                    </a:lnTo>
                    <a:lnTo>
                      <a:pt x="864" y="964"/>
                    </a:lnTo>
                    <a:lnTo>
                      <a:pt x="870" y="972"/>
                    </a:lnTo>
                    <a:lnTo>
                      <a:pt x="876" y="980"/>
                    </a:lnTo>
                    <a:lnTo>
                      <a:pt x="882" y="986"/>
                    </a:lnTo>
                    <a:lnTo>
                      <a:pt x="884" y="990"/>
                    </a:lnTo>
                    <a:lnTo>
                      <a:pt x="886" y="992"/>
                    </a:lnTo>
                    <a:lnTo>
                      <a:pt x="886" y="992"/>
                    </a:lnTo>
                    <a:lnTo>
                      <a:pt x="886" y="992"/>
                    </a:lnTo>
                    <a:lnTo>
                      <a:pt x="892" y="996"/>
                    </a:lnTo>
                    <a:lnTo>
                      <a:pt x="892" y="996"/>
                    </a:lnTo>
                    <a:lnTo>
                      <a:pt x="892" y="996"/>
                    </a:lnTo>
                    <a:lnTo>
                      <a:pt x="896" y="998"/>
                    </a:lnTo>
                    <a:lnTo>
                      <a:pt x="896" y="998"/>
                    </a:lnTo>
                    <a:lnTo>
                      <a:pt x="898" y="998"/>
                    </a:lnTo>
                    <a:lnTo>
                      <a:pt x="902" y="1000"/>
                    </a:lnTo>
                    <a:lnTo>
                      <a:pt x="906" y="1002"/>
                    </a:lnTo>
                    <a:lnTo>
                      <a:pt x="912" y="1002"/>
                    </a:lnTo>
                    <a:lnTo>
                      <a:pt x="916" y="1002"/>
                    </a:lnTo>
                    <a:lnTo>
                      <a:pt x="918" y="1002"/>
                    </a:lnTo>
                    <a:lnTo>
                      <a:pt x="922" y="1004"/>
                    </a:lnTo>
                    <a:lnTo>
                      <a:pt x="924" y="1004"/>
                    </a:lnTo>
                    <a:lnTo>
                      <a:pt x="926" y="1006"/>
                    </a:lnTo>
                    <a:lnTo>
                      <a:pt x="926" y="1008"/>
                    </a:lnTo>
                    <a:lnTo>
                      <a:pt x="928" y="1010"/>
                    </a:lnTo>
                    <a:lnTo>
                      <a:pt x="930" y="1010"/>
                    </a:lnTo>
                    <a:lnTo>
                      <a:pt x="930" y="1010"/>
                    </a:lnTo>
                    <a:lnTo>
                      <a:pt x="930" y="1012"/>
                    </a:lnTo>
                    <a:lnTo>
                      <a:pt x="932" y="1012"/>
                    </a:lnTo>
                    <a:lnTo>
                      <a:pt x="932" y="1012"/>
                    </a:lnTo>
                    <a:lnTo>
                      <a:pt x="932" y="1012"/>
                    </a:lnTo>
                    <a:lnTo>
                      <a:pt x="934" y="1014"/>
                    </a:lnTo>
                    <a:lnTo>
                      <a:pt x="934" y="1014"/>
                    </a:lnTo>
                    <a:lnTo>
                      <a:pt x="934" y="1014"/>
                    </a:lnTo>
                    <a:lnTo>
                      <a:pt x="936" y="1014"/>
                    </a:lnTo>
                    <a:lnTo>
                      <a:pt x="936" y="1014"/>
                    </a:lnTo>
                    <a:lnTo>
                      <a:pt x="938" y="1014"/>
                    </a:lnTo>
                    <a:lnTo>
                      <a:pt x="940" y="1014"/>
                    </a:lnTo>
                    <a:lnTo>
                      <a:pt x="940" y="1014"/>
                    </a:lnTo>
                    <a:lnTo>
                      <a:pt x="940" y="1014"/>
                    </a:lnTo>
                    <a:lnTo>
                      <a:pt x="942" y="1012"/>
                    </a:lnTo>
                    <a:lnTo>
                      <a:pt x="946" y="1010"/>
                    </a:lnTo>
                    <a:lnTo>
                      <a:pt x="948" y="1008"/>
                    </a:lnTo>
                    <a:lnTo>
                      <a:pt x="952" y="1006"/>
                    </a:lnTo>
                    <a:lnTo>
                      <a:pt x="954" y="1004"/>
                    </a:lnTo>
                    <a:lnTo>
                      <a:pt x="956" y="1004"/>
                    </a:lnTo>
                    <a:lnTo>
                      <a:pt x="956" y="1004"/>
                    </a:lnTo>
                    <a:lnTo>
                      <a:pt x="958" y="1004"/>
                    </a:lnTo>
                    <a:lnTo>
                      <a:pt x="958" y="1004"/>
                    </a:lnTo>
                    <a:lnTo>
                      <a:pt x="958" y="1006"/>
                    </a:lnTo>
                    <a:lnTo>
                      <a:pt x="960" y="1006"/>
                    </a:lnTo>
                    <a:lnTo>
                      <a:pt x="960" y="1008"/>
                    </a:lnTo>
                    <a:lnTo>
                      <a:pt x="962" y="1010"/>
                    </a:lnTo>
                    <a:lnTo>
                      <a:pt x="964" y="1012"/>
                    </a:lnTo>
                    <a:lnTo>
                      <a:pt x="964" y="1012"/>
                    </a:lnTo>
                    <a:lnTo>
                      <a:pt x="964" y="1014"/>
                    </a:lnTo>
                    <a:lnTo>
                      <a:pt x="966" y="1016"/>
                    </a:lnTo>
                    <a:lnTo>
                      <a:pt x="970" y="1018"/>
                    </a:lnTo>
                    <a:lnTo>
                      <a:pt x="974" y="1020"/>
                    </a:lnTo>
                    <a:lnTo>
                      <a:pt x="980" y="1022"/>
                    </a:lnTo>
                    <a:lnTo>
                      <a:pt x="984" y="1024"/>
                    </a:lnTo>
                    <a:lnTo>
                      <a:pt x="994" y="1028"/>
                    </a:lnTo>
                    <a:lnTo>
                      <a:pt x="998" y="1030"/>
                    </a:lnTo>
                    <a:lnTo>
                      <a:pt x="1002" y="1032"/>
                    </a:lnTo>
                    <a:lnTo>
                      <a:pt x="1004" y="1032"/>
                    </a:lnTo>
                    <a:lnTo>
                      <a:pt x="1008" y="1034"/>
                    </a:lnTo>
                    <a:lnTo>
                      <a:pt x="1010" y="1034"/>
                    </a:lnTo>
                    <a:lnTo>
                      <a:pt x="1012" y="1034"/>
                    </a:lnTo>
                    <a:lnTo>
                      <a:pt x="1016" y="1036"/>
                    </a:lnTo>
                    <a:lnTo>
                      <a:pt x="1018" y="1036"/>
                    </a:lnTo>
                    <a:lnTo>
                      <a:pt x="1020" y="1036"/>
                    </a:lnTo>
                    <a:lnTo>
                      <a:pt x="1024" y="1036"/>
                    </a:lnTo>
                    <a:lnTo>
                      <a:pt x="1028" y="1036"/>
                    </a:lnTo>
                    <a:lnTo>
                      <a:pt x="1036" y="1036"/>
                    </a:lnTo>
                    <a:lnTo>
                      <a:pt x="1040" y="1036"/>
                    </a:lnTo>
                    <a:lnTo>
                      <a:pt x="1044" y="1036"/>
                    </a:lnTo>
                    <a:lnTo>
                      <a:pt x="1048" y="1034"/>
                    </a:lnTo>
                    <a:lnTo>
                      <a:pt x="1048" y="1034"/>
                    </a:lnTo>
                    <a:lnTo>
                      <a:pt x="1050" y="1034"/>
                    </a:lnTo>
                    <a:lnTo>
                      <a:pt x="1052" y="1034"/>
                    </a:lnTo>
                    <a:lnTo>
                      <a:pt x="1052" y="1034"/>
                    </a:lnTo>
                    <a:lnTo>
                      <a:pt x="1052" y="1034"/>
                    </a:lnTo>
                    <a:lnTo>
                      <a:pt x="1054" y="1032"/>
                    </a:lnTo>
                    <a:lnTo>
                      <a:pt x="1054" y="1032"/>
                    </a:lnTo>
                    <a:lnTo>
                      <a:pt x="1056" y="1030"/>
                    </a:lnTo>
                    <a:lnTo>
                      <a:pt x="1056" y="1028"/>
                    </a:lnTo>
                    <a:lnTo>
                      <a:pt x="1056" y="1028"/>
                    </a:lnTo>
                    <a:lnTo>
                      <a:pt x="1056" y="1028"/>
                    </a:lnTo>
                    <a:lnTo>
                      <a:pt x="1056" y="1026"/>
                    </a:lnTo>
                    <a:lnTo>
                      <a:pt x="1056" y="1026"/>
                    </a:lnTo>
                    <a:lnTo>
                      <a:pt x="1056" y="1026"/>
                    </a:lnTo>
                    <a:lnTo>
                      <a:pt x="1056" y="1022"/>
                    </a:lnTo>
                    <a:lnTo>
                      <a:pt x="1058" y="1020"/>
                    </a:lnTo>
                    <a:lnTo>
                      <a:pt x="1058" y="1020"/>
                    </a:lnTo>
                    <a:lnTo>
                      <a:pt x="1058" y="1020"/>
                    </a:lnTo>
                    <a:lnTo>
                      <a:pt x="1060" y="1020"/>
                    </a:lnTo>
                    <a:lnTo>
                      <a:pt x="1062" y="1022"/>
                    </a:lnTo>
                    <a:lnTo>
                      <a:pt x="1066" y="1024"/>
                    </a:lnTo>
                    <a:lnTo>
                      <a:pt x="1068" y="1026"/>
                    </a:lnTo>
                    <a:lnTo>
                      <a:pt x="1072" y="1028"/>
                    </a:lnTo>
                    <a:lnTo>
                      <a:pt x="1080" y="1034"/>
                    </a:lnTo>
                    <a:lnTo>
                      <a:pt x="1084" y="1036"/>
                    </a:lnTo>
                    <a:lnTo>
                      <a:pt x="1088" y="1040"/>
                    </a:lnTo>
                    <a:lnTo>
                      <a:pt x="1094" y="1046"/>
                    </a:lnTo>
                    <a:lnTo>
                      <a:pt x="1100" y="1050"/>
                    </a:lnTo>
                    <a:lnTo>
                      <a:pt x="1106" y="1056"/>
                    </a:lnTo>
                    <a:lnTo>
                      <a:pt x="1112" y="1060"/>
                    </a:lnTo>
                    <a:lnTo>
                      <a:pt x="1116" y="1064"/>
                    </a:lnTo>
                    <a:lnTo>
                      <a:pt x="1122" y="1066"/>
                    </a:lnTo>
                    <a:lnTo>
                      <a:pt x="1122" y="1066"/>
                    </a:lnTo>
                    <a:lnTo>
                      <a:pt x="1122" y="1066"/>
                    </a:lnTo>
                    <a:lnTo>
                      <a:pt x="1124" y="1068"/>
                    </a:lnTo>
                    <a:lnTo>
                      <a:pt x="1124" y="1068"/>
                    </a:lnTo>
                    <a:lnTo>
                      <a:pt x="1124" y="1068"/>
                    </a:lnTo>
                    <a:lnTo>
                      <a:pt x="1126" y="1068"/>
                    </a:lnTo>
                    <a:lnTo>
                      <a:pt x="1126" y="1068"/>
                    </a:lnTo>
                    <a:lnTo>
                      <a:pt x="1126" y="1068"/>
                    </a:lnTo>
                    <a:lnTo>
                      <a:pt x="1130" y="1068"/>
                    </a:lnTo>
                    <a:lnTo>
                      <a:pt x="1130" y="1068"/>
                    </a:lnTo>
                    <a:lnTo>
                      <a:pt x="1130" y="1068"/>
                    </a:lnTo>
                    <a:lnTo>
                      <a:pt x="1132" y="1066"/>
                    </a:lnTo>
                    <a:lnTo>
                      <a:pt x="1132" y="1066"/>
                    </a:lnTo>
                    <a:lnTo>
                      <a:pt x="1134" y="1066"/>
                    </a:lnTo>
                    <a:lnTo>
                      <a:pt x="1136" y="1064"/>
                    </a:lnTo>
                    <a:lnTo>
                      <a:pt x="1138" y="1062"/>
                    </a:lnTo>
                    <a:lnTo>
                      <a:pt x="1140" y="1062"/>
                    </a:lnTo>
                    <a:lnTo>
                      <a:pt x="1140" y="1060"/>
                    </a:lnTo>
                    <a:lnTo>
                      <a:pt x="1142" y="1060"/>
                    </a:lnTo>
                    <a:lnTo>
                      <a:pt x="1146" y="1062"/>
                    </a:lnTo>
                    <a:lnTo>
                      <a:pt x="1148" y="1064"/>
                    </a:lnTo>
                    <a:lnTo>
                      <a:pt x="1152" y="1066"/>
                    </a:lnTo>
                    <a:lnTo>
                      <a:pt x="1156" y="1068"/>
                    </a:lnTo>
                    <a:lnTo>
                      <a:pt x="1160" y="1070"/>
                    </a:lnTo>
                    <a:lnTo>
                      <a:pt x="1164" y="1072"/>
                    </a:lnTo>
                    <a:lnTo>
                      <a:pt x="1166" y="1076"/>
                    </a:lnTo>
                    <a:lnTo>
                      <a:pt x="1168" y="1078"/>
                    </a:lnTo>
                    <a:lnTo>
                      <a:pt x="1170" y="1080"/>
                    </a:lnTo>
                    <a:lnTo>
                      <a:pt x="1172" y="1082"/>
                    </a:lnTo>
                    <a:lnTo>
                      <a:pt x="1172" y="1082"/>
                    </a:lnTo>
                    <a:lnTo>
                      <a:pt x="1172" y="1086"/>
                    </a:lnTo>
                    <a:lnTo>
                      <a:pt x="1172" y="1090"/>
                    </a:lnTo>
                    <a:lnTo>
                      <a:pt x="1172" y="1096"/>
                    </a:lnTo>
                    <a:lnTo>
                      <a:pt x="1174" y="1100"/>
                    </a:lnTo>
                    <a:lnTo>
                      <a:pt x="1174" y="1100"/>
                    </a:lnTo>
                    <a:lnTo>
                      <a:pt x="1174" y="1100"/>
                    </a:lnTo>
                    <a:lnTo>
                      <a:pt x="1174" y="1102"/>
                    </a:lnTo>
                    <a:lnTo>
                      <a:pt x="1174" y="1102"/>
                    </a:lnTo>
                    <a:lnTo>
                      <a:pt x="1174" y="1104"/>
                    </a:lnTo>
                    <a:lnTo>
                      <a:pt x="1176" y="1108"/>
                    </a:lnTo>
                    <a:lnTo>
                      <a:pt x="1176" y="1108"/>
                    </a:lnTo>
                    <a:lnTo>
                      <a:pt x="1178" y="1108"/>
                    </a:lnTo>
                    <a:lnTo>
                      <a:pt x="1180" y="1112"/>
                    </a:lnTo>
                    <a:lnTo>
                      <a:pt x="1180" y="1112"/>
                    </a:lnTo>
                    <a:lnTo>
                      <a:pt x="1180" y="1114"/>
                    </a:lnTo>
                    <a:lnTo>
                      <a:pt x="1184" y="1116"/>
                    </a:lnTo>
                    <a:lnTo>
                      <a:pt x="1184" y="1116"/>
                    </a:lnTo>
                    <a:lnTo>
                      <a:pt x="1186" y="1118"/>
                    </a:lnTo>
                    <a:lnTo>
                      <a:pt x="1188" y="1118"/>
                    </a:lnTo>
                    <a:lnTo>
                      <a:pt x="1190" y="1120"/>
                    </a:lnTo>
                    <a:lnTo>
                      <a:pt x="1190" y="1120"/>
                    </a:lnTo>
                    <a:lnTo>
                      <a:pt x="1190" y="1120"/>
                    </a:lnTo>
                    <a:lnTo>
                      <a:pt x="1192" y="1120"/>
                    </a:lnTo>
                    <a:lnTo>
                      <a:pt x="1196" y="1120"/>
                    </a:lnTo>
                    <a:lnTo>
                      <a:pt x="1204" y="1120"/>
                    </a:lnTo>
                    <a:lnTo>
                      <a:pt x="1206" y="1120"/>
                    </a:lnTo>
                    <a:lnTo>
                      <a:pt x="1210" y="1118"/>
                    </a:lnTo>
                    <a:lnTo>
                      <a:pt x="1214" y="1118"/>
                    </a:lnTo>
                    <a:lnTo>
                      <a:pt x="1214" y="1118"/>
                    </a:lnTo>
                    <a:lnTo>
                      <a:pt x="1214" y="1118"/>
                    </a:lnTo>
                    <a:lnTo>
                      <a:pt x="1216" y="1116"/>
                    </a:lnTo>
                    <a:lnTo>
                      <a:pt x="1216" y="1116"/>
                    </a:lnTo>
                    <a:lnTo>
                      <a:pt x="1216" y="1116"/>
                    </a:lnTo>
                    <a:lnTo>
                      <a:pt x="1218" y="1114"/>
                    </a:lnTo>
                    <a:lnTo>
                      <a:pt x="1218" y="1114"/>
                    </a:lnTo>
                    <a:lnTo>
                      <a:pt x="1218" y="1112"/>
                    </a:lnTo>
                    <a:lnTo>
                      <a:pt x="1218" y="1112"/>
                    </a:lnTo>
                    <a:lnTo>
                      <a:pt x="1218" y="1112"/>
                    </a:lnTo>
                    <a:lnTo>
                      <a:pt x="1218" y="1110"/>
                    </a:lnTo>
                    <a:lnTo>
                      <a:pt x="1218" y="1108"/>
                    </a:lnTo>
                    <a:lnTo>
                      <a:pt x="1218" y="1106"/>
                    </a:lnTo>
                    <a:lnTo>
                      <a:pt x="1218" y="1104"/>
                    </a:lnTo>
                    <a:lnTo>
                      <a:pt x="1216" y="1102"/>
                    </a:lnTo>
                    <a:lnTo>
                      <a:pt x="1216" y="1100"/>
                    </a:lnTo>
                    <a:lnTo>
                      <a:pt x="1218" y="1098"/>
                    </a:lnTo>
                    <a:lnTo>
                      <a:pt x="1218" y="1096"/>
                    </a:lnTo>
                    <a:lnTo>
                      <a:pt x="1220" y="1094"/>
                    </a:lnTo>
                    <a:lnTo>
                      <a:pt x="1224" y="1088"/>
                    </a:lnTo>
                    <a:lnTo>
                      <a:pt x="1228" y="1082"/>
                    </a:lnTo>
                    <a:lnTo>
                      <a:pt x="1232" y="1080"/>
                    </a:lnTo>
                    <a:lnTo>
                      <a:pt x="1234" y="1078"/>
                    </a:lnTo>
                    <a:lnTo>
                      <a:pt x="1238" y="1076"/>
                    </a:lnTo>
                    <a:lnTo>
                      <a:pt x="1242" y="1074"/>
                    </a:lnTo>
                    <a:lnTo>
                      <a:pt x="1246" y="1072"/>
                    </a:lnTo>
                    <a:lnTo>
                      <a:pt x="1252" y="1068"/>
                    </a:lnTo>
                    <a:lnTo>
                      <a:pt x="1256" y="1066"/>
                    </a:lnTo>
                    <a:lnTo>
                      <a:pt x="1262" y="1066"/>
                    </a:lnTo>
                    <a:lnTo>
                      <a:pt x="1266" y="1064"/>
                    </a:lnTo>
                    <a:lnTo>
                      <a:pt x="1272" y="1062"/>
                    </a:lnTo>
                    <a:lnTo>
                      <a:pt x="1276" y="1062"/>
                    </a:lnTo>
                    <a:lnTo>
                      <a:pt x="1282" y="1062"/>
                    </a:lnTo>
                    <a:lnTo>
                      <a:pt x="1286" y="1064"/>
                    </a:lnTo>
                    <a:lnTo>
                      <a:pt x="1292" y="1064"/>
                    </a:lnTo>
                    <a:lnTo>
                      <a:pt x="1298" y="1066"/>
                    </a:lnTo>
                    <a:lnTo>
                      <a:pt x="1302" y="1066"/>
                    </a:lnTo>
                    <a:lnTo>
                      <a:pt x="1308" y="1068"/>
                    </a:lnTo>
                    <a:lnTo>
                      <a:pt x="1312" y="1068"/>
                    </a:lnTo>
                    <a:lnTo>
                      <a:pt x="1316" y="1070"/>
                    </a:lnTo>
                    <a:lnTo>
                      <a:pt x="1320" y="1070"/>
                    </a:lnTo>
                    <a:lnTo>
                      <a:pt x="1322" y="1072"/>
                    </a:lnTo>
                    <a:lnTo>
                      <a:pt x="1324" y="1072"/>
                    </a:lnTo>
                    <a:lnTo>
                      <a:pt x="1328" y="1072"/>
                    </a:lnTo>
                    <a:lnTo>
                      <a:pt x="1330" y="1074"/>
                    </a:lnTo>
                    <a:lnTo>
                      <a:pt x="1332" y="1074"/>
                    </a:lnTo>
                    <a:lnTo>
                      <a:pt x="1332" y="1074"/>
                    </a:lnTo>
                    <a:lnTo>
                      <a:pt x="1334" y="1074"/>
                    </a:lnTo>
                    <a:lnTo>
                      <a:pt x="1336" y="1072"/>
                    </a:lnTo>
                    <a:lnTo>
                      <a:pt x="1336" y="1072"/>
                    </a:lnTo>
                    <a:lnTo>
                      <a:pt x="1336" y="1072"/>
                    </a:lnTo>
                    <a:lnTo>
                      <a:pt x="1338" y="1072"/>
                    </a:lnTo>
                    <a:lnTo>
                      <a:pt x="1338" y="1072"/>
                    </a:lnTo>
                    <a:lnTo>
                      <a:pt x="1340" y="1070"/>
                    </a:lnTo>
                    <a:lnTo>
                      <a:pt x="1340" y="1068"/>
                    </a:lnTo>
                    <a:lnTo>
                      <a:pt x="1340" y="1068"/>
                    </a:lnTo>
                    <a:lnTo>
                      <a:pt x="1342" y="1068"/>
                    </a:lnTo>
                    <a:lnTo>
                      <a:pt x="1342" y="1066"/>
                    </a:lnTo>
                    <a:lnTo>
                      <a:pt x="1344" y="1064"/>
                    </a:lnTo>
                    <a:lnTo>
                      <a:pt x="1346" y="1060"/>
                    </a:lnTo>
                    <a:lnTo>
                      <a:pt x="1348" y="1058"/>
                    </a:lnTo>
                    <a:lnTo>
                      <a:pt x="1348" y="1056"/>
                    </a:lnTo>
                    <a:lnTo>
                      <a:pt x="1350" y="1056"/>
                    </a:lnTo>
                    <a:lnTo>
                      <a:pt x="1352" y="1054"/>
                    </a:lnTo>
                    <a:lnTo>
                      <a:pt x="1356" y="1054"/>
                    </a:lnTo>
                    <a:lnTo>
                      <a:pt x="1360" y="1054"/>
                    </a:lnTo>
                    <a:lnTo>
                      <a:pt x="1364" y="1054"/>
                    </a:lnTo>
                    <a:lnTo>
                      <a:pt x="1368" y="1054"/>
                    </a:lnTo>
                    <a:lnTo>
                      <a:pt x="1372" y="1054"/>
                    </a:lnTo>
                    <a:lnTo>
                      <a:pt x="1376" y="1054"/>
                    </a:lnTo>
                    <a:lnTo>
                      <a:pt x="1378" y="1054"/>
                    </a:lnTo>
                    <a:lnTo>
                      <a:pt x="1380" y="1054"/>
                    </a:lnTo>
                    <a:lnTo>
                      <a:pt x="1382" y="1054"/>
                    </a:lnTo>
                    <a:lnTo>
                      <a:pt x="1382" y="1056"/>
                    </a:lnTo>
                    <a:lnTo>
                      <a:pt x="1384" y="1056"/>
                    </a:lnTo>
                    <a:lnTo>
                      <a:pt x="1384" y="1058"/>
                    </a:lnTo>
                    <a:lnTo>
                      <a:pt x="1384" y="1058"/>
                    </a:lnTo>
                    <a:lnTo>
                      <a:pt x="1386" y="1058"/>
                    </a:lnTo>
                    <a:lnTo>
                      <a:pt x="1386" y="1058"/>
                    </a:lnTo>
                    <a:lnTo>
                      <a:pt x="1386" y="1058"/>
                    </a:lnTo>
                    <a:lnTo>
                      <a:pt x="1388" y="1058"/>
                    </a:lnTo>
                    <a:lnTo>
                      <a:pt x="1388" y="1058"/>
                    </a:lnTo>
                    <a:lnTo>
                      <a:pt x="1392" y="1060"/>
                    </a:lnTo>
                    <a:lnTo>
                      <a:pt x="1394" y="1060"/>
                    </a:lnTo>
                    <a:lnTo>
                      <a:pt x="1398" y="1060"/>
                    </a:lnTo>
                    <a:lnTo>
                      <a:pt x="1398" y="1060"/>
                    </a:lnTo>
                    <a:lnTo>
                      <a:pt x="1398" y="1060"/>
                    </a:lnTo>
                    <a:lnTo>
                      <a:pt x="1402" y="1060"/>
                    </a:lnTo>
                    <a:lnTo>
                      <a:pt x="1402" y="1060"/>
                    </a:lnTo>
                    <a:lnTo>
                      <a:pt x="1402" y="1060"/>
                    </a:lnTo>
                    <a:lnTo>
                      <a:pt x="1404" y="1060"/>
                    </a:lnTo>
                    <a:lnTo>
                      <a:pt x="1404" y="1060"/>
                    </a:lnTo>
                    <a:lnTo>
                      <a:pt x="1404" y="1060"/>
                    </a:lnTo>
                    <a:lnTo>
                      <a:pt x="1406" y="1058"/>
                    </a:lnTo>
                    <a:lnTo>
                      <a:pt x="1408" y="1056"/>
                    </a:lnTo>
                    <a:lnTo>
                      <a:pt x="1410" y="1054"/>
                    </a:lnTo>
                    <a:lnTo>
                      <a:pt x="1410" y="1054"/>
                    </a:lnTo>
                    <a:lnTo>
                      <a:pt x="1410" y="1054"/>
                    </a:lnTo>
                    <a:lnTo>
                      <a:pt x="1412" y="1056"/>
                    </a:lnTo>
                    <a:lnTo>
                      <a:pt x="1412" y="1056"/>
                    </a:lnTo>
                    <a:lnTo>
                      <a:pt x="1414" y="1058"/>
                    </a:lnTo>
                    <a:lnTo>
                      <a:pt x="1416" y="1060"/>
                    </a:lnTo>
                    <a:lnTo>
                      <a:pt x="1420" y="1064"/>
                    </a:lnTo>
                    <a:lnTo>
                      <a:pt x="1424" y="1070"/>
                    </a:lnTo>
                    <a:lnTo>
                      <a:pt x="1428" y="1076"/>
                    </a:lnTo>
                    <a:lnTo>
                      <a:pt x="1432" y="1080"/>
                    </a:lnTo>
                    <a:lnTo>
                      <a:pt x="1434" y="1086"/>
                    </a:lnTo>
                    <a:lnTo>
                      <a:pt x="1436" y="1088"/>
                    </a:lnTo>
                    <a:lnTo>
                      <a:pt x="1438" y="1092"/>
                    </a:lnTo>
                    <a:lnTo>
                      <a:pt x="1438" y="1094"/>
                    </a:lnTo>
                    <a:lnTo>
                      <a:pt x="1438" y="1098"/>
                    </a:lnTo>
                    <a:lnTo>
                      <a:pt x="1436" y="1100"/>
                    </a:lnTo>
                    <a:lnTo>
                      <a:pt x="1436" y="1102"/>
                    </a:lnTo>
                    <a:lnTo>
                      <a:pt x="1436" y="1106"/>
                    </a:lnTo>
                    <a:lnTo>
                      <a:pt x="1436" y="1106"/>
                    </a:lnTo>
                    <a:lnTo>
                      <a:pt x="1436" y="1106"/>
                    </a:lnTo>
                    <a:lnTo>
                      <a:pt x="1436" y="1108"/>
                    </a:lnTo>
                    <a:lnTo>
                      <a:pt x="1436" y="1108"/>
                    </a:lnTo>
                    <a:lnTo>
                      <a:pt x="1436" y="1108"/>
                    </a:lnTo>
                    <a:lnTo>
                      <a:pt x="1436" y="1112"/>
                    </a:lnTo>
                    <a:lnTo>
                      <a:pt x="1436" y="1112"/>
                    </a:lnTo>
                    <a:lnTo>
                      <a:pt x="1436" y="1112"/>
                    </a:lnTo>
                    <a:lnTo>
                      <a:pt x="1438" y="1116"/>
                    </a:lnTo>
                    <a:lnTo>
                      <a:pt x="1440" y="1118"/>
                    </a:lnTo>
                    <a:lnTo>
                      <a:pt x="1444" y="1126"/>
                    </a:lnTo>
                    <a:lnTo>
                      <a:pt x="1448" y="1128"/>
                    </a:lnTo>
                    <a:lnTo>
                      <a:pt x="1450" y="1132"/>
                    </a:lnTo>
                    <a:lnTo>
                      <a:pt x="1452" y="1134"/>
                    </a:lnTo>
                    <a:lnTo>
                      <a:pt x="1456" y="1136"/>
                    </a:lnTo>
                    <a:lnTo>
                      <a:pt x="1456" y="1136"/>
                    </a:lnTo>
                    <a:lnTo>
                      <a:pt x="1456" y="1136"/>
                    </a:lnTo>
                    <a:lnTo>
                      <a:pt x="1460" y="1138"/>
                    </a:lnTo>
                    <a:lnTo>
                      <a:pt x="1460" y="1138"/>
                    </a:lnTo>
                    <a:lnTo>
                      <a:pt x="1462" y="1138"/>
                    </a:lnTo>
                    <a:lnTo>
                      <a:pt x="1464" y="1138"/>
                    </a:lnTo>
                    <a:lnTo>
                      <a:pt x="1466" y="1138"/>
                    </a:lnTo>
                    <a:lnTo>
                      <a:pt x="1466" y="1138"/>
                    </a:lnTo>
                    <a:lnTo>
                      <a:pt x="1468" y="1138"/>
                    </a:lnTo>
                    <a:lnTo>
                      <a:pt x="1470" y="1138"/>
                    </a:lnTo>
                    <a:lnTo>
                      <a:pt x="1470" y="1138"/>
                    </a:lnTo>
                    <a:lnTo>
                      <a:pt x="1470" y="1138"/>
                    </a:lnTo>
                    <a:lnTo>
                      <a:pt x="1472" y="1136"/>
                    </a:lnTo>
                    <a:lnTo>
                      <a:pt x="1472" y="1136"/>
                    </a:lnTo>
                    <a:lnTo>
                      <a:pt x="1472" y="1136"/>
                    </a:lnTo>
                    <a:lnTo>
                      <a:pt x="1474" y="1134"/>
                    </a:lnTo>
                    <a:lnTo>
                      <a:pt x="1474" y="1134"/>
                    </a:lnTo>
                    <a:lnTo>
                      <a:pt x="1474" y="1132"/>
                    </a:lnTo>
                    <a:lnTo>
                      <a:pt x="1476" y="1130"/>
                    </a:lnTo>
                    <a:lnTo>
                      <a:pt x="1476" y="1130"/>
                    </a:lnTo>
                    <a:lnTo>
                      <a:pt x="1476" y="1130"/>
                    </a:lnTo>
                    <a:lnTo>
                      <a:pt x="1476" y="1128"/>
                    </a:lnTo>
                    <a:lnTo>
                      <a:pt x="1476" y="1126"/>
                    </a:lnTo>
                    <a:lnTo>
                      <a:pt x="1478" y="1120"/>
                    </a:lnTo>
                    <a:lnTo>
                      <a:pt x="1478" y="1114"/>
                    </a:lnTo>
                    <a:lnTo>
                      <a:pt x="1478" y="1106"/>
                    </a:lnTo>
                    <a:lnTo>
                      <a:pt x="1476" y="1100"/>
                    </a:lnTo>
                    <a:lnTo>
                      <a:pt x="1476" y="1094"/>
                    </a:lnTo>
                    <a:lnTo>
                      <a:pt x="1476" y="1086"/>
                    </a:lnTo>
                    <a:lnTo>
                      <a:pt x="1474" y="1082"/>
                    </a:lnTo>
                    <a:lnTo>
                      <a:pt x="1474" y="1082"/>
                    </a:lnTo>
                    <a:lnTo>
                      <a:pt x="1474" y="1080"/>
                    </a:lnTo>
                    <a:lnTo>
                      <a:pt x="1472" y="1076"/>
                    </a:lnTo>
                    <a:lnTo>
                      <a:pt x="1470" y="1072"/>
                    </a:lnTo>
                    <a:lnTo>
                      <a:pt x="1466" y="1066"/>
                    </a:lnTo>
                    <a:lnTo>
                      <a:pt x="1462" y="1064"/>
                    </a:lnTo>
                    <a:lnTo>
                      <a:pt x="1460" y="1060"/>
                    </a:lnTo>
                    <a:lnTo>
                      <a:pt x="1458" y="1056"/>
                    </a:lnTo>
                    <a:lnTo>
                      <a:pt x="1456" y="1052"/>
                    </a:lnTo>
                    <a:lnTo>
                      <a:pt x="1454" y="1050"/>
                    </a:lnTo>
                    <a:lnTo>
                      <a:pt x="1452" y="1046"/>
                    </a:lnTo>
                    <a:lnTo>
                      <a:pt x="1452" y="1044"/>
                    </a:lnTo>
                    <a:lnTo>
                      <a:pt x="1452" y="1040"/>
                    </a:lnTo>
                    <a:lnTo>
                      <a:pt x="1452" y="1038"/>
                    </a:lnTo>
                    <a:lnTo>
                      <a:pt x="1452" y="1036"/>
                    </a:lnTo>
                    <a:lnTo>
                      <a:pt x="1452" y="1034"/>
                    </a:lnTo>
                    <a:lnTo>
                      <a:pt x="1454" y="1030"/>
                    </a:lnTo>
                    <a:lnTo>
                      <a:pt x="1458" y="1026"/>
                    </a:lnTo>
                    <a:lnTo>
                      <a:pt x="1460" y="1024"/>
                    </a:lnTo>
                    <a:lnTo>
                      <a:pt x="1462" y="1022"/>
                    </a:lnTo>
                    <a:lnTo>
                      <a:pt x="1464" y="1020"/>
                    </a:lnTo>
                    <a:lnTo>
                      <a:pt x="1468" y="1018"/>
                    </a:lnTo>
                    <a:lnTo>
                      <a:pt x="1474" y="1014"/>
                    </a:lnTo>
                    <a:lnTo>
                      <a:pt x="1482" y="1008"/>
                    </a:lnTo>
                    <a:lnTo>
                      <a:pt x="1490" y="1002"/>
                    </a:lnTo>
                    <a:lnTo>
                      <a:pt x="1498" y="998"/>
                    </a:lnTo>
                    <a:lnTo>
                      <a:pt x="1504" y="992"/>
                    </a:lnTo>
                    <a:lnTo>
                      <a:pt x="1508" y="990"/>
                    </a:lnTo>
                    <a:lnTo>
                      <a:pt x="1510" y="988"/>
                    </a:lnTo>
                    <a:lnTo>
                      <a:pt x="1516" y="984"/>
                    </a:lnTo>
                    <a:lnTo>
                      <a:pt x="1520" y="982"/>
                    </a:lnTo>
                    <a:lnTo>
                      <a:pt x="1526" y="978"/>
                    </a:lnTo>
                    <a:lnTo>
                      <a:pt x="1530" y="976"/>
                    </a:lnTo>
                    <a:lnTo>
                      <a:pt x="1534" y="972"/>
                    </a:lnTo>
                    <a:lnTo>
                      <a:pt x="1538" y="968"/>
                    </a:lnTo>
                    <a:lnTo>
                      <a:pt x="1540" y="964"/>
                    </a:lnTo>
                    <a:lnTo>
                      <a:pt x="1540" y="964"/>
                    </a:lnTo>
                    <a:lnTo>
                      <a:pt x="1542" y="964"/>
                    </a:lnTo>
                    <a:lnTo>
                      <a:pt x="1544" y="960"/>
                    </a:lnTo>
                    <a:lnTo>
                      <a:pt x="1544" y="960"/>
                    </a:lnTo>
                    <a:lnTo>
                      <a:pt x="1544" y="958"/>
                    </a:lnTo>
                    <a:lnTo>
                      <a:pt x="1546" y="954"/>
                    </a:lnTo>
                    <a:lnTo>
                      <a:pt x="1546" y="954"/>
                    </a:lnTo>
                    <a:lnTo>
                      <a:pt x="1546" y="954"/>
                    </a:lnTo>
                    <a:lnTo>
                      <a:pt x="1546" y="948"/>
                    </a:lnTo>
                    <a:lnTo>
                      <a:pt x="1546" y="942"/>
                    </a:lnTo>
                    <a:lnTo>
                      <a:pt x="1546" y="936"/>
                    </a:lnTo>
                    <a:lnTo>
                      <a:pt x="1546" y="928"/>
                    </a:lnTo>
                    <a:lnTo>
                      <a:pt x="1544" y="922"/>
                    </a:lnTo>
                    <a:lnTo>
                      <a:pt x="1544" y="916"/>
                    </a:lnTo>
                    <a:lnTo>
                      <a:pt x="1544" y="918"/>
                    </a:lnTo>
                    <a:lnTo>
                      <a:pt x="1546" y="912"/>
                    </a:lnTo>
                    <a:lnTo>
                      <a:pt x="1548" y="906"/>
                    </a:lnTo>
                    <a:lnTo>
                      <a:pt x="1550" y="902"/>
                    </a:lnTo>
                    <a:lnTo>
                      <a:pt x="1552" y="896"/>
                    </a:lnTo>
                    <a:lnTo>
                      <a:pt x="1556" y="892"/>
                    </a:lnTo>
                    <a:lnTo>
                      <a:pt x="1560" y="888"/>
                    </a:lnTo>
                    <a:lnTo>
                      <a:pt x="1562" y="884"/>
                    </a:lnTo>
                    <a:lnTo>
                      <a:pt x="1566" y="880"/>
                    </a:lnTo>
                    <a:lnTo>
                      <a:pt x="1570" y="876"/>
                    </a:lnTo>
                    <a:lnTo>
                      <a:pt x="1572" y="874"/>
                    </a:lnTo>
                    <a:lnTo>
                      <a:pt x="1574" y="872"/>
                    </a:lnTo>
                    <a:lnTo>
                      <a:pt x="1578" y="872"/>
                    </a:lnTo>
                    <a:lnTo>
                      <a:pt x="1580" y="870"/>
                    </a:lnTo>
                    <a:lnTo>
                      <a:pt x="1586" y="870"/>
                    </a:lnTo>
                    <a:lnTo>
                      <a:pt x="1590" y="868"/>
                    </a:lnTo>
                    <a:lnTo>
                      <a:pt x="1594" y="866"/>
                    </a:lnTo>
                    <a:lnTo>
                      <a:pt x="1598" y="866"/>
                    </a:lnTo>
                    <a:lnTo>
                      <a:pt x="1604" y="864"/>
                    </a:lnTo>
                    <a:lnTo>
                      <a:pt x="1608" y="862"/>
                    </a:lnTo>
                    <a:lnTo>
                      <a:pt x="1614" y="862"/>
                    </a:lnTo>
                    <a:lnTo>
                      <a:pt x="1620" y="860"/>
                    </a:lnTo>
                    <a:lnTo>
                      <a:pt x="1624" y="858"/>
                    </a:lnTo>
                    <a:lnTo>
                      <a:pt x="1628" y="856"/>
                    </a:lnTo>
                    <a:lnTo>
                      <a:pt x="1628" y="856"/>
                    </a:lnTo>
                    <a:lnTo>
                      <a:pt x="1628" y="856"/>
                    </a:lnTo>
                    <a:lnTo>
                      <a:pt x="1630" y="856"/>
                    </a:lnTo>
                    <a:lnTo>
                      <a:pt x="1630" y="856"/>
                    </a:lnTo>
                    <a:lnTo>
                      <a:pt x="1630" y="856"/>
                    </a:lnTo>
                    <a:lnTo>
                      <a:pt x="1632" y="854"/>
                    </a:lnTo>
                    <a:lnTo>
                      <a:pt x="1632" y="854"/>
                    </a:lnTo>
                    <a:lnTo>
                      <a:pt x="1632" y="854"/>
                    </a:lnTo>
                    <a:lnTo>
                      <a:pt x="1632" y="852"/>
                    </a:lnTo>
                    <a:lnTo>
                      <a:pt x="1632" y="852"/>
                    </a:lnTo>
                    <a:lnTo>
                      <a:pt x="1632" y="852"/>
                    </a:lnTo>
                    <a:lnTo>
                      <a:pt x="1632" y="852"/>
                    </a:lnTo>
                    <a:lnTo>
                      <a:pt x="1632" y="852"/>
                    </a:lnTo>
                    <a:lnTo>
                      <a:pt x="1632" y="850"/>
                    </a:lnTo>
                    <a:lnTo>
                      <a:pt x="1632" y="848"/>
                    </a:lnTo>
                    <a:lnTo>
                      <a:pt x="1632" y="848"/>
                    </a:lnTo>
                    <a:lnTo>
                      <a:pt x="1632" y="846"/>
                    </a:lnTo>
                    <a:lnTo>
                      <a:pt x="1630" y="844"/>
                    </a:lnTo>
                    <a:lnTo>
                      <a:pt x="1630" y="844"/>
                    </a:lnTo>
                    <a:lnTo>
                      <a:pt x="1630" y="844"/>
                    </a:lnTo>
                    <a:lnTo>
                      <a:pt x="1628" y="842"/>
                    </a:lnTo>
                    <a:lnTo>
                      <a:pt x="1626" y="840"/>
                    </a:lnTo>
                    <a:lnTo>
                      <a:pt x="1624" y="838"/>
                    </a:lnTo>
                    <a:lnTo>
                      <a:pt x="1622" y="836"/>
                    </a:lnTo>
                    <a:lnTo>
                      <a:pt x="1622" y="836"/>
                    </a:lnTo>
                    <a:lnTo>
                      <a:pt x="1622" y="834"/>
                    </a:lnTo>
                    <a:lnTo>
                      <a:pt x="1622" y="830"/>
                    </a:lnTo>
                    <a:lnTo>
                      <a:pt x="1622" y="824"/>
                    </a:lnTo>
                    <a:lnTo>
                      <a:pt x="1622" y="822"/>
                    </a:lnTo>
                    <a:lnTo>
                      <a:pt x="1622" y="820"/>
                    </a:lnTo>
                    <a:lnTo>
                      <a:pt x="1624" y="816"/>
                    </a:lnTo>
                    <a:lnTo>
                      <a:pt x="1624" y="816"/>
                    </a:lnTo>
                    <a:lnTo>
                      <a:pt x="1624" y="816"/>
                    </a:lnTo>
                    <a:lnTo>
                      <a:pt x="1624" y="814"/>
                    </a:lnTo>
                    <a:lnTo>
                      <a:pt x="1626" y="814"/>
                    </a:lnTo>
                    <a:lnTo>
                      <a:pt x="1630" y="814"/>
                    </a:lnTo>
                    <a:lnTo>
                      <a:pt x="1630" y="814"/>
                    </a:lnTo>
                    <a:lnTo>
                      <a:pt x="1630" y="814"/>
                    </a:lnTo>
                    <a:lnTo>
                      <a:pt x="1632" y="812"/>
                    </a:lnTo>
                    <a:lnTo>
                      <a:pt x="1632" y="812"/>
                    </a:lnTo>
                    <a:lnTo>
                      <a:pt x="1632" y="812"/>
                    </a:lnTo>
                    <a:lnTo>
                      <a:pt x="1632" y="812"/>
                    </a:lnTo>
                    <a:lnTo>
                      <a:pt x="1632" y="812"/>
                    </a:lnTo>
                    <a:lnTo>
                      <a:pt x="1634" y="810"/>
                    </a:lnTo>
                    <a:lnTo>
                      <a:pt x="1634" y="810"/>
                    </a:lnTo>
                    <a:lnTo>
                      <a:pt x="1634" y="810"/>
                    </a:lnTo>
                    <a:lnTo>
                      <a:pt x="1634" y="808"/>
                    </a:lnTo>
                    <a:lnTo>
                      <a:pt x="1636" y="808"/>
                    </a:lnTo>
                    <a:lnTo>
                      <a:pt x="1636" y="802"/>
                    </a:lnTo>
                    <a:lnTo>
                      <a:pt x="1638" y="798"/>
                    </a:lnTo>
                    <a:lnTo>
                      <a:pt x="1638" y="798"/>
                    </a:lnTo>
                    <a:lnTo>
                      <a:pt x="1640" y="796"/>
                    </a:lnTo>
                    <a:lnTo>
                      <a:pt x="1640" y="796"/>
                    </a:lnTo>
                    <a:lnTo>
                      <a:pt x="1640" y="796"/>
                    </a:lnTo>
                    <a:lnTo>
                      <a:pt x="1644" y="796"/>
                    </a:lnTo>
                    <a:lnTo>
                      <a:pt x="1648" y="796"/>
                    </a:lnTo>
                    <a:lnTo>
                      <a:pt x="1652" y="796"/>
                    </a:lnTo>
                    <a:lnTo>
                      <a:pt x="1652" y="796"/>
                    </a:lnTo>
                    <a:lnTo>
                      <a:pt x="1652" y="796"/>
                    </a:lnTo>
                    <a:lnTo>
                      <a:pt x="1654" y="796"/>
                    </a:lnTo>
                    <a:lnTo>
                      <a:pt x="1654" y="796"/>
                    </a:lnTo>
                    <a:lnTo>
                      <a:pt x="1654" y="796"/>
                    </a:lnTo>
                    <a:lnTo>
                      <a:pt x="1656" y="794"/>
                    </a:lnTo>
                    <a:lnTo>
                      <a:pt x="1660" y="794"/>
                    </a:lnTo>
                    <a:lnTo>
                      <a:pt x="1664" y="790"/>
                    </a:lnTo>
                    <a:lnTo>
                      <a:pt x="1666" y="788"/>
                    </a:lnTo>
                    <a:lnTo>
                      <a:pt x="1670" y="784"/>
                    </a:lnTo>
                    <a:lnTo>
                      <a:pt x="1670" y="782"/>
                    </a:lnTo>
                    <a:lnTo>
                      <a:pt x="1670" y="782"/>
                    </a:lnTo>
                    <a:lnTo>
                      <a:pt x="1672" y="782"/>
                    </a:lnTo>
                    <a:lnTo>
                      <a:pt x="1672" y="780"/>
                    </a:lnTo>
                    <a:lnTo>
                      <a:pt x="1672" y="780"/>
                    </a:lnTo>
                    <a:lnTo>
                      <a:pt x="1672" y="780"/>
                    </a:lnTo>
                    <a:lnTo>
                      <a:pt x="1672" y="778"/>
                    </a:lnTo>
                    <a:close/>
                    <a:moveTo>
                      <a:pt x="688" y="518"/>
                    </a:moveTo>
                    <a:lnTo>
                      <a:pt x="688" y="516"/>
                    </a:lnTo>
                    <a:lnTo>
                      <a:pt x="688" y="516"/>
                    </a:lnTo>
                    <a:lnTo>
                      <a:pt x="688" y="516"/>
                    </a:lnTo>
                    <a:lnTo>
                      <a:pt x="686" y="514"/>
                    </a:lnTo>
                    <a:lnTo>
                      <a:pt x="686" y="514"/>
                    </a:lnTo>
                    <a:lnTo>
                      <a:pt x="686" y="514"/>
                    </a:lnTo>
                    <a:lnTo>
                      <a:pt x="684" y="512"/>
                    </a:lnTo>
                    <a:lnTo>
                      <a:pt x="684" y="512"/>
                    </a:lnTo>
                    <a:lnTo>
                      <a:pt x="682" y="512"/>
                    </a:lnTo>
                    <a:lnTo>
                      <a:pt x="682" y="512"/>
                    </a:lnTo>
                    <a:lnTo>
                      <a:pt x="682" y="512"/>
                    </a:lnTo>
                    <a:lnTo>
                      <a:pt x="680" y="510"/>
                    </a:lnTo>
                    <a:lnTo>
                      <a:pt x="678" y="508"/>
                    </a:lnTo>
                    <a:lnTo>
                      <a:pt x="678" y="506"/>
                    </a:lnTo>
                    <a:lnTo>
                      <a:pt x="678" y="506"/>
                    </a:lnTo>
                    <a:lnTo>
                      <a:pt x="676" y="506"/>
                    </a:lnTo>
                    <a:lnTo>
                      <a:pt x="672" y="504"/>
                    </a:lnTo>
                    <a:lnTo>
                      <a:pt x="670" y="504"/>
                    </a:lnTo>
                    <a:lnTo>
                      <a:pt x="668" y="504"/>
                    </a:lnTo>
                    <a:lnTo>
                      <a:pt x="668" y="504"/>
                    </a:lnTo>
                    <a:lnTo>
                      <a:pt x="666" y="502"/>
                    </a:lnTo>
                    <a:lnTo>
                      <a:pt x="666" y="502"/>
                    </a:lnTo>
                    <a:lnTo>
                      <a:pt x="664" y="502"/>
                    </a:lnTo>
                    <a:lnTo>
                      <a:pt x="664" y="500"/>
                    </a:lnTo>
                    <a:lnTo>
                      <a:pt x="664" y="498"/>
                    </a:lnTo>
                    <a:lnTo>
                      <a:pt x="662" y="494"/>
                    </a:lnTo>
                    <a:lnTo>
                      <a:pt x="662" y="494"/>
                    </a:lnTo>
                    <a:lnTo>
                      <a:pt x="662" y="492"/>
                    </a:lnTo>
                    <a:lnTo>
                      <a:pt x="660" y="490"/>
                    </a:lnTo>
                    <a:lnTo>
                      <a:pt x="658" y="490"/>
                    </a:lnTo>
                    <a:lnTo>
                      <a:pt x="656" y="484"/>
                    </a:lnTo>
                    <a:lnTo>
                      <a:pt x="656" y="484"/>
                    </a:lnTo>
                    <a:lnTo>
                      <a:pt x="656" y="484"/>
                    </a:lnTo>
                    <a:lnTo>
                      <a:pt x="652" y="482"/>
                    </a:lnTo>
                    <a:lnTo>
                      <a:pt x="650" y="478"/>
                    </a:lnTo>
                    <a:lnTo>
                      <a:pt x="648" y="476"/>
                    </a:lnTo>
                    <a:lnTo>
                      <a:pt x="646" y="472"/>
                    </a:lnTo>
                    <a:lnTo>
                      <a:pt x="646" y="472"/>
                    </a:lnTo>
                    <a:lnTo>
                      <a:pt x="646" y="470"/>
                    </a:lnTo>
                    <a:lnTo>
                      <a:pt x="644" y="466"/>
                    </a:lnTo>
                    <a:lnTo>
                      <a:pt x="642" y="462"/>
                    </a:lnTo>
                    <a:lnTo>
                      <a:pt x="640" y="456"/>
                    </a:lnTo>
                    <a:lnTo>
                      <a:pt x="638" y="452"/>
                    </a:lnTo>
                    <a:lnTo>
                      <a:pt x="638" y="452"/>
                    </a:lnTo>
                    <a:lnTo>
                      <a:pt x="638" y="452"/>
                    </a:lnTo>
                    <a:lnTo>
                      <a:pt x="632" y="446"/>
                    </a:lnTo>
                    <a:lnTo>
                      <a:pt x="628" y="440"/>
                    </a:lnTo>
                    <a:lnTo>
                      <a:pt x="628" y="440"/>
                    </a:lnTo>
                    <a:lnTo>
                      <a:pt x="628" y="440"/>
                    </a:lnTo>
                    <a:lnTo>
                      <a:pt x="624" y="438"/>
                    </a:lnTo>
                    <a:lnTo>
                      <a:pt x="622" y="436"/>
                    </a:lnTo>
                    <a:lnTo>
                      <a:pt x="620" y="436"/>
                    </a:lnTo>
                    <a:lnTo>
                      <a:pt x="620" y="434"/>
                    </a:lnTo>
                    <a:lnTo>
                      <a:pt x="620" y="434"/>
                    </a:lnTo>
                    <a:lnTo>
                      <a:pt x="620" y="434"/>
                    </a:lnTo>
                    <a:lnTo>
                      <a:pt x="618" y="432"/>
                    </a:lnTo>
                    <a:lnTo>
                      <a:pt x="616" y="430"/>
                    </a:lnTo>
                    <a:lnTo>
                      <a:pt x="614" y="428"/>
                    </a:lnTo>
                    <a:lnTo>
                      <a:pt x="614" y="428"/>
                    </a:lnTo>
                    <a:lnTo>
                      <a:pt x="614" y="428"/>
                    </a:lnTo>
                    <a:lnTo>
                      <a:pt x="610" y="428"/>
                    </a:lnTo>
                    <a:lnTo>
                      <a:pt x="610" y="428"/>
                    </a:lnTo>
                    <a:lnTo>
                      <a:pt x="610" y="428"/>
                    </a:lnTo>
                    <a:lnTo>
                      <a:pt x="606" y="428"/>
                    </a:lnTo>
                    <a:lnTo>
                      <a:pt x="604" y="428"/>
                    </a:lnTo>
                    <a:lnTo>
                      <a:pt x="604" y="428"/>
                    </a:lnTo>
                    <a:lnTo>
                      <a:pt x="604" y="428"/>
                    </a:lnTo>
                    <a:lnTo>
                      <a:pt x="602" y="430"/>
                    </a:lnTo>
                    <a:lnTo>
                      <a:pt x="602" y="430"/>
                    </a:lnTo>
                    <a:lnTo>
                      <a:pt x="602" y="430"/>
                    </a:lnTo>
                    <a:lnTo>
                      <a:pt x="600" y="432"/>
                    </a:lnTo>
                    <a:lnTo>
                      <a:pt x="600" y="432"/>
                    </a:lnTo>
                    <a:lnTo>
                      <a:pt x="600" y="432"/>
                    </a:lnTo>
                    <a:lnTo>
                      <a:pt x="600" y="434"/>
                    </a:lnTo>
                    <a:lnTo>
                      <a:pt x="600" y="434"/>
                    </a:lnTo>
                    <a:lnTo>
                      <a:pt x="600" y="436"/>
                    </a:lnTo>
                    <a:lnTo>
                      <a:pt x="600" y="440"/>
                    </a:lnTo>
                    <a:lnTo>
                      <a:pt x="600" y="440"/>
                    </a:lnTo>
                    <a:lnTo>
                      <a:pt x="598" y="440"/>
                    </a:lnTo>
                    <a:lnTo>
                      <a:pt x="594" y="440"/>
                    </a:lnTo>
                    <a:lnTo>
                      <a:pt x="594" y="440"/>
                    </a:lnTo>
                    <a:lnTo>
                      <a:pt x="592" y="440"/>
                    </a:lnTo>
                    <a:lnTo>
                      <a:pt x="592" y="438"/>
                    </a:lnTo>
                    <a:lnTo>
                      <a:pt x="590" y="436"/>
                    </a:lnTo>
                    <a:lnTo>
                      <a:pt x="590" y="436"/>
                    </a:lnTo>
                    <a:lnTo>
                      <a:pt x="590" y="436"/>
                    </a:lnTo>
                    <a:lnTo>
                      <a:pt x="586" y="434"/>
                    </a:lnTo>
                    <a:lnTo>
                      <a:pt x="582" y="430"/>
                    </a:lnTo>
                    <a:lnTo>
                      <a:pt x="580" y="428"/>
                    </a:lnTo>
                    <a:lnTo>
                      <a:pt x="578" y="422"/>
                    </a:lnTo>
                    <a:lnTo>
                      <a:pt x="578" y="422"/>
                    </a:lnTo>
                    <a:lnTo>
                      <a:pt x="578" y="420"/>
                    </a:lnTo>
                    <a:lnTo>
                      <a:pt x="578" y="418"/>
                    </a:lnTo>
                    <a:lnTo>
                      <a:pt x="578" y="418"/>
                    </a:lnTo>
                    <a:lnTo>
                      <a:pt x="576" y="416"/>
                    </a:lnTo>
                    <a:lnTo>
                      <a:pt x="576" y="416"/>
                    </a:lnTo>
                    <a:lnTo>
                      <a:pt x="576" y="416"/>
                    </a:lnTo>
                    <a:lnTo>
                      <a:pt x="576" y="414"/>
                    </a:lnTo>
                    <a:lnTo>
                      <a:pt x="574" y="414"/>
                    </a:lnTo>
                    <a:lnTo>
                      <a:pt x="574" y="414"/>
                    </a:lnTo>
                    <a:lnTo>
                      <a:pt x="574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2" y="412"/>
                    </a:lnTo>
                    <a:lnTo>
                      <a:pt x="574" y="408"/>
                    </a:lnTo>
                    <a:lnTo>
                      <a:pt x="574" y="406"/>
                    </a:lnTo>
                    <a:lnTo>
                      <a:pt x="574" y="404"/>
                    </a:lnTo>
                    <a:lnTo>
                      <a:pt x="574" y="400"/>
                    </a:lnTo>
                    <a:lnTo>
                      <a:pt x="574" y="396"/>
                    </a:lnTo>
                    <a:lnTo>
                      <a:pt x="574" y="394"/>
                    </a:lnTo>
                    <a:lnTo>
                      <a:pt x="572" y="392"/>
                    </a:lnTo>
                    <a:lnTo>
                      <a:pt x="572" y="390"/>
                    </a:lnTo>
                    <a:lnTo>
                      <a:pt x="572" y="386"/>
                    </a:lnTo>
                    <a:lnTo>
                      <a:pt x="572" y="382"/>
                    </a:lnTo>
                    <a:lnTo>
                      <a:pt x="572" y="378"/>
                    </a:lnTo>
                    <a:lnTo>
                      <a:pt x="572" y="372"/>
                    </a:lnTo>
                    <a:lnTo>
                      <a:pt x="572" y="364"/>
                    </a:lnTo>
                    <a:lnTo>
                      <a:pt x="572" y="358"/>
                    </a:lnTo>
                    <a:lnTo>
                      <a:pt x="572" y="348"/>
                    </a:lnTo>
                    <a:lnTo>
                      <a:pt x="572" y="338"/>
                    </a:lnTo>
                    <a:lnTo>
                      <a:pt x="572" y="330"/>
                    </a:lnTo>
                    <a:lnTo>
                      <a:pt x="572" y="324"/>
                    </a:lnTo>
                    <a:lnTo>
                      <a:pt x="572" y="316"/>
                    </a:lnTo>
                    <a:lnTo>
                      <a:pt x="572" y="310"/>
                    </a:lnTo>
                    <a:lnTo>
                      <a:pt x="572" y="302"/>
                    </a:lnTo>
                    <a:lnTo>
                      <a:pt x="572" y="292"/>
                    </a:lnTo>
                    <a:lnTo>
                      <a:pt x="572" y="276"/>
                    </a:lnTo>
                    <a:lnTo>
                      <a:pt x="572" y="256"/>
                    </a:lnTo>
                    <a:lnTo>
                      <a:pt x="572" y="238"/>
                    </a:lnTo>
                    <a:lnTo>
                      <a:pt x="572" y="218"/>
                    </a:lnTo>
                    <a:lnTo>
                      <a:pt x="572" y="200"/>
                    </a:lnTo>
                    <a:lnTo>
                      <a:pt x="572" y="180"/>
                    </a:lnTo>
                    <a:lnTo>
                      <a:pt x="572" y="162"/>
                    </a:lnTo>
                    <a:lnTo>
                      <a:pt x="572" y="144"/>
                    </a:lnTo>
                    <a:lnTo>
                      <a:pt x="572" y="136"/>
                    </a:lnTo>
                    <a:lnTo>
                      <a:pt x="572" y="130"/>
                    </a:lnTo>
                    <a:lnTo>
                      <a:pt x="572" y="122"/>
                    </a:lnTo>
                    <a:lnTo>
                      <a:pt x="572" y="114"/>
                    </a:lnTo>
                    <a:lnTo>
                      <a:pt x="572" y="108"/>
                    </a:lnTo>
                    <a:lnTo>
                      <a:pt x="574" y="102"/>
                    </a:lnTo>
                    <a:lnTo>
                      <a:pt x="574" y="88"/>
                    </a:lnTo>
                    <a:lnTo>
                      <a:pt x="574" y="86"/>
                    </a:lnTo>
                    <a:lnTo>
                      <a:pt x="574" y="82"/>
                    </a:lnTo>
                    <a:lnTo>
                      <a:pt x="574" y="80"/>
                    </a:lnTo>
                    <a:lnTo>
                      <a:pt x="574" y="74"/>
                    </a:lnTo>
                    <a:lnTo>
                      <a:pt x="574" y="74"/>
                    </a:lnTo>
                    <a:lnTo>
                      <a:pt x="574" y="74"/>
                    </a:lnTo>
                    <a:lnTo>
                      <a:pt x="574" y="74"/>
                    </a:lnTo>
                    <a:lnTo>
                      <a:pt x="576" y="74"/>
                    </a:lnTo>
                    <a:lnTo>
                      <a:pt x="576" y="74"/>
                    </a:lnTo>
                    <a:lnTo>
                      <a:pt x="576" y="72"/>
                    </a:lnTo>
                    <a:lnTo>
                      <a:pt x="576" y="72"/>
                    </a:lnTo>
                    <a:lnTo>
                      <a:pt x="576" y="72"/>
                    </a:lnTo>
                    <a:lnTo>
                      <a:pt x="576" y="70"/>
                    </a:lnTo>
                    <a:lnTo>
                      <a:pt x="576" y="68"/>
                    </a:lnTo>
                    <a:lnTo>
                      <a:pt x="576" y="68"/>
                    </a:lnTo>
                    <a:lnTo>
                      <a:pt x="576" y="68"/>
                    </a:lnTo>
                    <a:lnTo>
                      <a:pt x="576" y="66"/>
                    </a:lnTo>
                    <a:lnTo>
                      <a:pt x="576" y="66"/>
                    </a:lnTo>
                    <a:lnTo>
                      <a:pt x="576" y="66"/>
                    </a:lnTo>
                    <a:lnTo>
                      <a:pt x="576" y="64"/>
                    </a:lnTo>
                    <a:lnTo>
                      <a:pt x="576" y="64"/>
                    </a:lnTo>
                    <a:lnTo>
                      <a:pt x="574" y="64"/>
                    </a:lnTo>
                    <a:lnTo>
                      <a:pt x="574" y="64"/>
                    </a:lnTo>
                    <a:lnTo>
                      <a:pt x="574" y="64"/>
                    </a:lnTo>
                    <a:lnTo>
                      <a:pt x="570" y="64"/>
                    </a:lnTo>
                    <a:lnTo>
                      <a:pt x="570" y="66"/>
                    </a:lnTo>
                    <a:lnTo>
                      <a:pt x="570" y="66"/>
                    </a:lnTo>
                    <a:lnTo>
                      <a:pt x="570" y="66"/>
                    </a:lnTo>
                    <a:lnTo>
                      <a:pt x="570" y="68"/>
                    </a:lnTo>
                    <a:lnTo>
                      <a:pt x="570" y="68"/>
                    </a:lnTo>
                    <a:lnTo>
                      <a:pt x="570" y="68"/>
                    </a:lnTo>
                    <a:lnTo>
                      <a:pt x="570" y="68"/>
                    </a:lnTo>
                    <a:lnTo>
                      <a:pt x="568" y="68"/>
                    </a:lnTo>
                    <a:lnTo>
                      <a:pt x="566" y="68"/>
                    </a:lnTo>
                    <a:lnTo>
                      <a:pt x="560" y="66"/>
                    </a:lnTo>
                    <a:lnTo>
                      <a:pt x="554" y="66"/>
                    </a:lnTo>
                    <a:lnTo>
                      <a:pt x="546" y="66"/>
                    </a:lnTo>
                    <a:lnTo>
                      <a:pt x="538" y="66"/>
                    </a:lnTo>
                    <a:lnTo>
                      <a:pt x="532" y="68"/>
                    </a:lnTo>
                    <a:lnTo>
                      <a:pt x="524" y="68"/>
                    </a:lnTo>
                    <a:lnTo>
                      <a:pt x="518" y="66"/>
                    </a:lnTo>
                    <a:lnTo>
                      <a:pt x="508" y="66"/>
                    </a:lnTo>
                    <a:lnTo>
                      <a:pt x="498" y="64"/>
                    </a:lnTo>
                    <a:lnTo>
                      <a:pt x="490" y="62"/>
                    </a:lnTo>
                    <a:lnTo>
                      <a:pt x="486" y="60"/>
                    </a:lnTo>
                    <a:lnTo>
                      <a:pt x="482" y="60"/>
                    </a:lnTo>
                    <a:lnTo>
                      <a:pt x="478" y="56"/>
                    </a:lnTo>
                    <a:lnTo>
                      <a:pt x="478" y="58"/>
                    </a:lnTo>
                    <a:lnTo>
                      <a:pt x="474" y="54"/>
                    </a:lnTo>
                    <a:lnTo>
                      <a:pt x="470" y="50"/>
                    </a:lnTo>
                    <a:lnTo>
                      <a:pt x="464" y="44"/>
                    </a:lnTo>
                    <a:lnTo>
                      <a:pt x="460" y="40"/>
                    </a:lnTo>
                    <a:lnTo>
                      <a:pt x="460" y="40"/>
                    </a:lnTo>
                    <a:lnTo>
                      <a:pt x="460" y="40"/>
                    </a:lnTo>
                    <a:lnTo>
                      <a:pt x="458" y="38"/>
                    </a:lnTo>
                    <a:lnTo>
                      <a:pt x="458" y="38"/>
                    </a:lnTo>
                    <a:lnTo>
                      <a:pt x="456" y="38"/>
                    </a:lnTo>
                    <a:lnTo>
                      <a:pt x="452" y="38"/>
                    </a:lnTo>
                    <a:lnTo>
                      <a:pt x="452" y="38"/>
                    </a:lnTo>
                    <a:lnTo>
                      <a:pt x="452" y="38"/>
                    </a:lnTo>
                    <a:lnTo>
                      <a:pt x="448" y="38"/>
                    </a:lnTo>
                    <a:lnTo>
                      <a:pt x="448" y="38"/>
                    </a:lnTo>
                    <a:lnTo>
                      <a:pt x="448" y="38"/>
                    </a:lnTo>
                    <a:lnTo>
                      <a:pt x="444" y="38"/>
                    </a:lnTo>
                    <a:lnTo>
                      <a:pt x="444" y="38"/>
                    </a:lnTo>
                    <a:lnTo>
                      <a:pt x="444" y="40"/>
                    </a:lnTo>
                    <a:lnTo>
                      <a:pt x="440" y="42"/>
                    </a:lnTo>
                    <a:lnTo>
                      <a:pt x="436" y="44"/>
                    </a:lnTo>
                    <a:lnTo>
                      <a:pt x="434" y="46"/>
                    </a:lnTo>
                    <a:lnTo>
                      <a:pt x="430" y="48"/>
                    </a:lnTo>
                    <a:lnTo>
                      <a:pt x="428" y="50"/>
                    </a:lnTo>
                    <a:lnTo>
                      <a:pt x="426" y="50"/>
                    </a:lnTo>
                    <a:lnTo>
                      <a:pt x="424" y="50"/>
                    </a:lnTo>
                    <a:lnTo>
                      <a:pt x="422" y="50"/>
                    </a:lnTo>
                    <a:lnTo>
                      <a:pt x="420" y="50"/>
                    </a:lnTo>
                    <a:lnTo>
                      <a:pt x="420" y="50"/>
                    </a:lnTo>
                    <a:lnTo>
                      <a:pt x="418" y="46"/>
                    </a:lnTo>
                    <a:lnTo>
                      <a:pt x="414" y="44"/>
                    </a:lnTo>
                    <a:lnTo>
                      <a:pt x="412" y="42"/>
                    </a:lnTo>
                    <a:lnTo>
                      <a:pt x="412" y="40"/>
                    </a:lnTo>
                    <a:lnTo>
                      <a:pt x="408" y="36"/>
                    </a:lnTo>
                    <a:lnTo>
                      <a:pt x="406" y="32"/>
                    </a:lnTo>
                    <a:lnTo>
                      <a:pt x="404" y="30"/>
                    </a:lnTo>
                    <a:lnTo>
                      <a:pt x="402" y="28"/>
                    </a:lnTo>
                    <a:lnTo>
                      <a:pt x="400" y="26"/>
                    </a:lnTo>
                    <a:lnTo>
                      <a:pt x="400" y="26"/>
                    </a:lnTo>
                    <a:lnTo>
                      <a:pt x="398" y="26"/>
                    </a:lnTo>
                    <a:lnTo>
                      <a:pt x="396" y="24"/>
                    </a:lnTo>
                    <a:lnTo>
                      <a:pt x="396" y="24"/>
                    </a:lnTo>
                    <a:lnTo>
                      <a:pt x="396" y="24"/>
                    </a:lnTo>
                    <a:lnTo>
                      <a:pt x="392" y="22"/>
                    </a:lnTo>
                    <a:lnTo>
                      <a:pt x="388" y="22"/>
                    </a:lnTo>
                    <a:lnTo>
                      <a:pt x="384" y="20"/>
                    </a:lnTo>
                    <a:lnTo>
                      <a:pt x="382" y="20"/>
                    </a:lnTo>
                    <a:lnTo>
                      <a:pt x="382" y="20"/>
                    </a:lnTo>
                    <a:lnTo>
                      <a:pt x="380" y="20"/>
                    </a:lnTo>
                    <a:lnTo>
                      <a:pt x="376" y="20"/>
                    </a:lnTo>
                    <a:lnTo>
                      <a:pt x="376" y="20"/>
                    </a:lnTo>
                    <a:lnTo>
                      <a:pt x="376" y="20"/>
                    </a:lnTo>
                    <a:lnTo>
                      <a:pt x="374" y="20"/>
                    </a:lnTo>
                    <a:lnTo>
                      <a:pt x="370" y="22"/>
                    </a:lnTo>
                    <a:lnTo>
                      <a:pt x="368" y="24"/>
                    </a:lnTo>
                    <a:lnTo>
                      <a:pt x="364" y="26"/>
                    </a:lnTo>
                    <a:lnTo>
                      <a:pt x="360" y="28"/>
                    </a:lnTo>
                    <a:lnTo>
                      <a:pt x="358" y="30"/>
                    </a:lnTo>
                    <a:lnTo>
                      <a:pt x="354" y="34"/>
                    </a:lnTo>
                    <a:lnTo>
                      <a:pt x="352" y="36"/>
                    </a:lnTo>
                    <a:lnTo>
                      <a:pt x="350" y="36"/>
                    </a:lnTo>
                    <a:lnTo>
                      <a:pt x="350" y="36"/>
                    </a:lnTo>
                    <a:lnTo>
                      <a:pt x="352" y="30"/>
                    </a:lnTo>
                    <a:lnTo>
                      <a:pt x="352" y="26"/>
                    </a:lnTo>
                    <a:lnTo>
                      <a:pt x="354" y="24"/>
                    </a:lnTo>
                    <a:lnTo>
                      <a:pt x="354" y="22"/>
                    </a:lnTo>
                    <a:lnTo>
                      <a:pt x="358" y="16"/>
                    </a:lnTo>
                    <a:lnTo>
                      <a:pt x="360" y="14"/>
                    </a:lnTo>
                    <a:lnTo>
                      <a:pt x="360" y="12"/>
                    </a:lnTo>
                    <a:lnTo>
                      <a:pt x="360" y="12"/>
                    </a:lnTo>
                    <a:lnTo>
                      <a:pt x="360" y="10"/>
                    </a:lnTo>
                    <a:lnTo>
                      <a:pt x="362" y="8"/>
                    </a:lnTo>
                    <a:lnTo>
                      <a:pt x="362" y="8"/>
                    </a:lnTo>
                    <a:lnTo>
                      <a:pt x="362" y="8"/>
                    </a:lnTo>
                    <a:lnTo>
                      <a:pt x="360" y="6"/>
                    </a:lnTo>
                    <a:lnTo>
                      <a:pt x="360" y="6"/>
                    </a:lnTo>
                    <a:lnTo>
                      <a:pt x="360" y="4"/>
                    </a:lnTo>
                    <a:lnTo>
                      <a:pt x="358" y="4"/>
                    </a:lnTo>
                    <a:lnTo>
                      <a:pt x="358" y="4"/>
                    </a:lnTo>
                    <a:lnTo>
                      <a:pt x="358" y="4"/>
                    </a:lnTo>
                    <a:lnTo>
                      <a:pt x="356" y="2"/>
                    </a:lnTo>
                    <a:lnTo>
                      <a:pt x="356" y="2"/>
                    </a:lnTo>
                    <a:lnTo>
                      <a:pt x="356" y="2"/>
                    </a:lnTo>
                    <a:lnTo>
                      <a:pt x="354" y="0"/>
                    </a:lnTo>
                    <a:lnTo>
                      <a:pt x="350" y="0"/>
                    </a:lnTo>
                    <a:lnTo>
                      <a:pt x="350" y="0"/>
                    </a:lnTo>
                    <a:lnTo>
                      <a:pt x="350" y="0"/>
                    </a:lnTo>
                    <a:lnTo>
                      <a:pt x="346" y="0"/>
                    </a:lnTo>
                    <a:lnTo>
                      <a:pt x="344" y="0"/>
                    </a:lnTo>
                    <a:lnTo>
                      <a:pt x="344" y="0"/>
                    </a:lnTo>
                    <a:lnTo>
                      <a:pt x="344" y="0"/>
                    </a:lnTo>
                    <a:lnTo>
                      <a:pt x="342" y="0"/>
                    </a:lnTo>
                    <a:lnTo>
                      <a:pt x="342" y="0"/>
                    </a:lnTo>
                    <a:lnTo>
                      <a:pt x="340" y="2"/>
                    </a:lnTo>
                    <a:lnTo>
                      <a:pt x="338" y="2"/>
                    </a:lnTo>
                    <a:lnTo>
                      <a:pt x="338" y="2"/>
                    </a:lnTo>
                    <a:lnTo>
                      <a:pt x="338" y="4"/>
                    </a:lnTo>
                    <a:lnTo>
                      <a:pt x="336" y="6"/>
                    </a:lnTo>
                    <a:lnTo>
                      <a:pt x="336" y="6"/>
                    </a:lnTo>
                    <a:lnTo>
                      <a:pt x="336" y="6"/>
                    </a:lnTo>
                    <a:lnTo>
                      <a:pt x="336" y="8"/>
                    </a:lnTo>
                    <a:lnTo>
                      <a:pt x="334" y="12"/>
                    </a:lnTo>
                    <a:lnTo>
                      <a:pt x="334" y="16"/>
                    </a:lnTo>
                    <a:lnTo>
                      <a:pt x="334" y="20"/>
                    </a:lnTo>
                    <a:lnTo>
                      <a:pt x="332" y="22"/>
                    </a:lnTo>
                    <a:lnTo>
                      <a:pt x="332" y="24"/>
                    </a:lnTo>
                    <a:lnTo>
                      <a:pt x="330" y="26"/>
                    </a:lnTo>
                    <a:lnTo>
                      <a:pt x="328" y="26"/>
                    </a:lnTo>
                    <a:lnTo>
                      <a:pt x="326" y="26"/>
                    </a:lnTo>
                    <a:lnTo>
                      <a:pt x="322" y="26"/>
                    </a:lnTo>
                    <a:lnTo>
                      <a:pt x="318" y="26"/>
                    </a:lnTo>
                    <a:lnTo>
                      <a:pt x="312" y="26"/>
                    </a:lnTo>
                    <a:lnTo>
                      <a:pt x="308" y="26"/>
                    </a:lnTo>
                    <a:lnTo>
                      <a:pt x="304" y="24"/>
                    </a:lnTo>
                    <a:lnTo>
                      <a:pt x="304" y="24"/>
                    </a:lnTo>
                    <a:lnTo>
                      <a:pt x="304" y="24"/>
                    </a:lnTo>
                    <a:lnTo>
                      <a:pt x="302" y="26"/>
                    </a:lnTo>
                    <a:lnTo>
                      <a:pt x="302" y="26"/>
                    </a:lnTo>
                    <a:lnTo>
                      <a:pt x="300" y="26"/>
                    </a:lnTo>
                    <a:lnTo>
                      <a:pt x="298" y="26"/>
                    </a:lnTo>
                    <a:lnTo>
                      <a:pt x="298" y="26"/>
                    </a:lnTo>
                    <a:lnTo>
                      <a:pt x="298" y="28"/>
                    </a:lnTo>
                    <a:lnTo>
                      <a:pt x="296" y="28"/>
                    </a:lnTo>
                    <a:lnTo>
                      <a:pt x="296" y="28"/>
                    </a:lnTo>
                    <a:lnTo>
                      <a:pt x="296" y="30"/>
                    </a:lnTo>
                    <a:lnTo>
                      <a:pt x="296" y="30"/>
                    </a:lnTo>
                    <a:lnTo>
                      <a:pt x="296" y="30"/>
                    </a:lnTo>
                    <a:lnTo>
                      <a:pt x="296" y="32"/>
                    </a:lnTo>
                    <a:lnTo>
                      <a:pt x="294" y="34"/>
                    </a:lnTo>
                    <a:lnTo>
                      <a:pt x="294" y="34"/>
                    </a:lnTo>
                    <a:lnTo>
                      <a:pt x="294" y="34"/>
                    </a:lnTo>
                    <a:lnTo>
                      <a:pt x="294" y="38"/>
                    </a:lnTo>
                    <a:lnTo>
                      <a:pt x="294" y="42"/>
                    </a:lnTo>
                    <a:lnTo>
                      <a:pt x="292" y="44"/>
                    </a:lnTo>
                    <a:lnTo>
                      <a:pt x="294" y="46"/>
                    </a:lnTo>
                    <a:lnTo>
                      <a:pt x="294" y="52"/>
                    </a:lnTo>
                    <a:lnTo>
                      <a:pt x="294" y="54"/>
                    </a:lnTo>
                    <a:lnTo>
                      <a:pt x="294" y="54"/>
                    </a:lnTo>
                    <a:lnTo>
                      <a:pt x="292" y="54"/>
                    </a:lnTo>
                    <a:lnTo>
                      <a:pt x="290" y="52"/>
                    </a:lnTo>
                    <a:lnTo>
                      <a:pt x="286" y="52"/>
                    </a:lnTo>
                    <a:lnTo>
                      <a:pt x="284" y="50"/>
                    </a:lnTo>
                    <a:lnTo>
                      <a:pt x="282" y="50"/>
                    </a:lnTo>
                    <a:lnTo>
                      <a:pt x="280" y="50"/>
                    </a:lnTo>
                    <a:lnTo>
                      <a:pt x="272" y="50"/>
                    </a:lnTo>
                    <a:lnTo>
                      <a:pt x="270" y="48"/>
                    </a:lnTo>
                    <a:lnTo>
                      <a:pt x="266" y="50"/>
                    </a:lnTo>
                    <a:lnTo>
                      <a:pt x="266" y="50"/>
                    </a:lnTo>
                    <a:lnTo>
                      <a:pt x="266" y="50"/>
                    </a:lnTo>
                    <a:lnTo>
                      <a:pt x="262" y="50"/>
                    </a:lnTo>
                    <a:lnTo>
                      <a:pt x="262" y="50"/>
                    </a:lnTo>
                    <a:lnTo>
                      <a:pt x="262" y="50"/>
                    </a:lnTo>
                    <a:lnTo>
                      <a:pt x="260" y="52"/>
                    </a:lnTo>
                    <a:lnTo>
                      <a:pt x="260" y="52"/>
                    </a:lnTo>
                    <a:lnTo>
                      <a:pt x="258" y="52"/>
                    </a:lnTo>
                    <a:lnTo>
                      <a:pt x="256" y="54"/>
                    </a:lnTo>
                    <a:lnTo>
                      <a:pt x="252" y="56"/>
                    </a:lnTo>
                    <a:lnTo>
                      <a:pt x="250" y="58"/>
                    </a:lnTo>
                    <a:lnTo>
                      <a:pt x="248" y="62"/>
                    </a:lnTo>
                    <a:lnTo>
                      <a:pt x="244" y="68"/>
                    </a:lnTo>
                    <a:lnTo>
                      <a:pt x="242" y="72"/>
                    </a:lnTo>
                    <a:lnTo>
                      <a:pt x="242" y="74"/>
                    </a:lnTo>
                    <a:lnTo>
                      <a:pt x="240" y="78"/>
                    </a:lnTo>
                    <a:lnTo>
                      <a:pt x="240" y="80"/>
                    </a:lnTo>
                    <a:lnTo>
                      <a:pt x="240" y="80"/>
                    </a:lnTo>
                    <a:lnTo>
                      <a:pt x="240" y="80"/>
                    </a:lnTo>
                    <a:lnTo>
                      <a:pt x="240" y="86"/>
                    </a:lnTo>
                    <a:lnTo>
                      <a:pt x="240" y="90"/>
                    </a:lnTo>
                    <a:lnTo>
                      <a:pt x="240" y="92"/>
                    </a:lnTo>
                    <a:lnTo>
                      <a:pt x="240" y="94"/>
                    </a:lnTo>
                    <a:lnTo>
                      <a:pt x="240" y="94"/>
                    </a:lnTo>
                    <a:lnTo>
                      <a:pt x="238" y="94"/>
                    </a:lnTo>
                    <a:lnTo>
                      <a:pt x="236" y="96"/>
                    </a:lnTo>
                    <a:lnTo>
                      <a:pt x="232" y="96"/>
                    </a:lnTo>
                    <a:lnTo>
                      <a:pt x="230" y="98"/>
                    </a:lnTo>
                    <a:lnTo>
                      <a:pt x="230" y="98"/>
                    </a:lnTo>
                    <a:lnTo>
                      <a:pt x="230" y="98"/>
                    </a:lnTo>
                    <a:lnTo>
                      <a:pt x="228" y="98"/>
                    </a:lnTo>
                    <a:lnTo>
                      <a:pt x="228" y="98"/>
                    </a:lnTo>
                    <a:lnTo>
                      <a:pt x="228" y="98"/>
                    </a:lnTo>
                    <a:lnTo>
                      <a:pt x="224" y="102"/>
                    </a:lnTo>
                    <a:lnTo>
                      <a:pt x="222" y="104"/>
                    </a:lnTo>
                    <a:lnTo>
                      <a:pt x="218" y="108"/>
                    </a:lnTo>
                    <a:lnTo>
                      <a:pt x="214" y="110"/>
                    </a:lnTo>
                    <a:lnTo>
                      <a:pt x="214" y="110"/>
                    </a:lnTo>
                    <a:lnTo>
                      <a:pt x="212" y="112"/>
                    </a:lnTo>
                    <a:lnTo>
                      <a:pt x="206" y="112"/>
                    </a:lnTo>
                    <a:lnTo>
                      <a:pt x="200" y="114"/>
                    </a:lnTo>
                    <a:lnTo>
                      <a:pt x="198" y="114"/>
                    </a:lnTo>
                    <a:lnTo>
                      <a:pt x="196" y="116"/>
                    </a:lnTo>
                    <a:lnTo>
                      <a:pt x="196" y="116"/>
                    </a:lnTo>
                    <a:lnTo>
                      <a:pt x="196" y="116"/>
                    </a:lnTo>
                    <a:lnTo>
                      <a:pt x="194" y="118"/>
                    </a:lnTo>
                    <a:lnTo>
                      <a:pt x="194" y="118"/>
                    </a:lnTo>
                    <a:lnTo>
                      <a:pt x="194" y="120"/>
                    </a:lnTo>
                    <a:lnTo>
                      <a:pt x="192" y="122"/>
                    </a:lnTo>
                    <a:lnTo>
                      <a:pt x="192" y="122"/>
                    </a:lnTo>
                    <a:lnTo>
                      <a:pt x="190" y="122"/>
                    </a:lnTo>
                    <a:lnTo>
                      <a:pt x="190" y="126"/>
                    </a:lnTo>
                    <a:lnTo>
                      <a:pt x="190" y="126"/>
                    </a:lnTo>
                    <a:lnTo>
                      <a:pt x="190" y="126"/>
                    </a:lnTo>
                    <a:lnTo>
                      <a:pt x="190" y="130"/>
                    </a:lnTo>
                    <a:lnTo>
                      <a:pt x="190" y="130"/>
                    </a:lnTo>
                    <a:lnTo>
                      <a:pt x="190" y="130"/>
                    </a:lnTo>
                    <a:lnTo>
                      <a:pt x="190" y="134"/>
                    </a:lnTo>
                    <a:lnTo>
                      <a:pt x="190" y="134"/>
                    </a:lnTo>
                    <a:lnTo>
                      <a:pt x="190" y="134"/>
                    </a:lnTo>
                    <a:lnTo>
                      <a:pt x="190" y="138"/>
                    </a:lnTo>
                    <a:lnTo>
                      <a:pt x="190" y="138"/>
                    </a:lnTo>
                    <a:lnTo>
                      <a:pt x="190" y="138"/>
                    </a:lnTo>
                    <a:lnTo>
                      <a:pt x="192" y="140"/>
                    </a:lnTo>
                    <a:lnTo>
                      <a:pt x="192" y="140"/>
                    </a:lnTo>
                    <a:lnTo>
                      <a:pt x="192" y="140"/>
                    </a:lnTo>
                    <a:lnTo>
                      <a:pt x="194" y="142"/>
                    </a:lnTo>
                    <a:lnTo>
                      <a:pt x="196" y="144"/>
                    </a:lnTo>
                    <a:lnTo>
                      <a:pt x="198" y="146"/>
                    </a:lnTo>
                    <a:lnTo>
                      <a:pt x="202" y="148"/>
                    </a:lnTo>
                    <a:lnTo>
                      <a:pt x="206" y="150"/>
                    </a:lnTo>
                    <a:lnTo>
                      <a:pt x="212" y="156"/>
                    </a:lnTo>
                    <a:lnTo>
                      <a:pt x="216" y="158"/>
                    </a:lnTo>
                    <a:lnTo>
                      <a:pt x="220" y="160"/>
                    </a:lnTo>
                    <a:lnTo>
                      <a:pt x="224" y="162"/>
                    </a:lnTo>
                    <a:lnTo>
                      <a:pt x="226" y="166"/>
                    </a:lnTo>
                    <a:lnTo>
                      <a:pt x="228" y="168"/>
                    </a:lnTo>
                    <a:lnTo>
                      <a:pt x="228" y="170"/>
                    </a:lnTo>
                    <a:lnTo>
                      <a:pt x="228" y="172"/>
                    </a:lnTo>
                    <a:lnTo>
                      <a:pt x="228" y="174"/>
                    </a:lnTo>
                    <a:lnTo>
                      <a:pt x="228" y="178"/>
                    </a:lnTo>
                    <a:lnTo>
                      <a:pt x="228" y="180"/>
                    </a:lnTo>
                    <a:lnTo>
                      <a:pt x="228" y="180"/>
                    </a:lnTo>
                    <a:lnTo>
                      <a:pt x="230" y="180"/>
                    </a:lnTo>
                    <a:lnTo>
                      <a:pt x="230" y="182"/>
                    </a:lnTo>
                    <a:lnTo>
                      <a:pt x="230" y="182"/>
                    </a:lnTo>
                    <a:lnTo>
                      <a:pt x="230" y="184"/>
                    </a:lnTo>
                    <a:lnTo>
                      <a:pt x="232" y="186"/>
                    </a:lnTo>
                    <a:lnTo>
                      <a:pt x="232" y="186"/>
                    </a:lnTo>
                    <a:lnTo>
                      <a:pt x="232" y="186"/>
                    </a:lnTo>
                    <a:lnTo>
                      <a:pt x="234" y="186"/>
                    </a:lnTo>
                    <a:lnTo>
                      <a:pt x="234" y="186"/>
                    </a:lnTo>
                    <a:lnTo>
                      <a:pt x="236" y="188"/>
                    </a:lnTo>
                    <a:lnTo>
                      <a:pt x="238" y="188"/>
                    </a:lnTo>
                    <a:lnTo>
                      <a:pt x="242" y="188"/>
                    </a:lnTo>
                    <a:lnTo>
                      <a:pt x="246" y="188"/>
                    </a:lnTo>
                    <a:lnTo>
                      <a:pt x="252" y="188"/>
                    </a:lnTo>
                    <a:lnTo>
                      <a:pt x="254" y="188"/>
                    </a:lnTo>
                    <a:lnTo>
                      <a:pt x="258" y="188"/>
                    </a:lnTo>
                    <a:lnTo>
                      <a:pt x="262" y="190"/>
                    </a:lnTo>
                    <a:lnTo>
                      <a:pt x="266" y="192"/>
                    </a:lnTo>
                    <a:lnTo>
                      <a:pt x="270" y="196"/>
                    </a:lnTo>
                    <a:lnTo>
                      <a:pt x="272" y="198"/>
                    </a:lnTo>
                    <a:lnTo>
                      <a:pt x="272" y="200"/>
                    </a:lnTo>
                    <a:lnTo>
                      <a:pt x="274" y="202"/>
                    </a:lnTo>
                    <a:lnTo>
                      <a:pt x="274" y="204"/>
                    </a:lnTo>
                    <a:lnTo>
                      <a:pt x="274" y="208"/>
                    </a:lnTo>
                    <a:lnTo>
                      <a:pt x="274" y="206"/>
                    </a:lnTo>
                    <a:lnTo>
                      <a:pt x="276" y="210"/>
                    </a:lnTo>
                    <a:lnTo>
                      <a:pt x="274" y="212"/>
                    </a:lnTo>
                    <a:lnTo>
                      <a:pt x="274" y="212"/>
                    </a:lnTo>
                    <a:lnTo>
                      <a:pt x="272" y="214"/>
                    </a:lnTo>
                    <a:lnTo>
                      <a:pt x="272" y="214"/>
                    </a:lnTo>
                    <a:lnTo>
                      <a:pt x="270" y="216"/>
                    </a:lnTo>
                    <a:lnTo>
                      <a:pt x="266" y="218"/>
                    </a:lnTo>
                    <a:lnTo>
                      <a:pt x="260" y="218"/>
                    </a:lnTo>
                    <a:lnTo>
                      <a:pt x="254" y="220"/>
                    </a:lnTo>
                    <a:lnTo>
                      <a:pt x="248" y="222"/>
                    </a:lnTo>
                    <a:lnTo>
                      <a:pt x="242" y="222"/>
                    </a:lnTo>
                    <a:lnTo>
                      <a:pt x="238" y="222"/>
                    </a:lnTo>
                    <a:lnTo>
                      <a:pt x="236" y="222"/>
                    </a:lnTo>
                    <a:lnTo>
                      <a:pt x="236" y="222"/>
                    </a:lnTo>
                    <a:lnTo>
                      <a:pt x="234" y="220"/>
                    </a:lnTo>
                    <a:lnTo>
                      <a:pt x="236" y="218"/>
                    </a:lnTo>
                    <a:lnTo>
                      <a:pt x="236" y="214"/>
                    </a:lnTo>
                    <a:lnTo>
                      <a:pt x="238" y="210"/>
                    </a:lnTo>
                    <a:lnTo>
                      <a:pt x="238" y="210"/>
                    </a:lnTo>
                    <a:lnTo>
                      <a:pt x="238" y="210"/>
                    </a:lnTo>
                    <a:lnTo>
                      <a:pt x="238" y="206"/>
                    </a:lnTo>
                    <a:lnTo>
                      <a:pt x="238" y="206"/>
                    </a:lnTo>
                    <a:lnTo>
                      <a:pt x="238" y="206"/>
                    </a:lnTo>
                    <a:lnTo>
                      <a:pt x="236" y="204"/>
                    </a:lnTo>
                    <a:lnTo>
                      <a:pt x="236" y="204"/>
                    </a:lnTo>
                    <a:lnTo>
                      <a:pt x="236" y="204"/>
                    </a:lnTo>
                    <a:lnTo>
                      <a:pt x="236" y="202"/>
                    </a:lnTo>
                    <a:lnTo>
                      <a:pt x="236" y="202"/>
                    </a:lnTo>
                    <a:lnTo>
                      <a:pt x="234" y="202"/>
                    </a:lnTo>
                    <a:lnTo>
                      <a:pt x="232" y="202"/>
                    </a:lnTo>
                    <a:lnTo>
                      <a:pt x="232" y="202"/>
                    </a:lnTo>
                    <a:lnTo>
                      <a:pt x="232" y="202"/>
                    </a:lnTo>
                    <a:lnTo>
                      <a:pt x="230" y="202"/>
                    </a:lnTo>
                    <a:lnTo>
                      <a:pt x="230" y="202"/>
                    </a:lnTo>
                    <a:lnTo>
                      <a:pt x="230" y="202"/>
                    </a:lnTo>
                    <a:lnTo>
                      <a:pt x="226" y="202"/>
                    </a:lnTo>
                    <a:lnTo>
                      <a:pt x="224" y="204"/>
                    </a:lnTo>
                    <a:lnTo>
                      <a:pt x="220" y="206"/>
                    </a:lnTo>
                    <a:lnTo>
                      <a:pt x="216" y="208"/>
                    </a:lnTo>
                    <a:lnTo>
                      <a:pt x="208" y="212"/>
                    </a:lnTo>
                    <a:lnTo>
                      <a:pt x="198" y="216"/>
                    </a:lnTo>
                    <a:lnTo>
                      <a:pt x="188" y="222"/>
                    </a:lnTo>
                    <a:lnTo>
                      <a:pt x="184" y="224"/>
                    </a:lnTo>
                    <a:lnTo>
                      <a:pt x="180" y="226"/>
                    </a:lnTo>
                    <a:lnTo>
                      <a:pt x="176" y="228"/>
                    </a:lnTo>
                    <a:lnTo>
                      <a:pt x="172" y="230"/>
                    </a:lnTo>
                    <a:lnTo>
                      <a:pt x="170" y="232"/>
                    </a:lnTo>
                    <a:lnTo>
                      <a:pt x="168" y="234"/>
                    </a:lnTo>
                    <a:lnTo>
                      <a:pt x="166" y="236"/>
                    </a:lnTo>
                    <a:lnTo>
                      <a:pt x="166" y="236"/>
                    </a:lnTo>
                    <a:lnTo>
                      <a:pt x="166" y="236"/>
                    </a:lnTo>
                    <a:lnTo>
                      <a:pt x="166" y="238"/>
                    </a:lnTo>
                    <a:lnTo>
                      <a:pt x="166" y="238"/>
                    </a:lnTo>
                    <a:lnTo>
                      <a:pt x="166" y="238"/>
                    </a:lnTo>
                    <a:lnTo>
                      <a:pt x="166" y="240"/>
                    </a:lnTo>
                    <a:lnTo>
                      <a:pt x="166" y="240"/>
                    </a:lnTo>
                    <a:lnTo>
                      <a:pt x="166" y="240"/>
                    </a:lnTo>
                    <a:lnTo>
                      <a:pt x="168" y="242"/>
                    </a:lnTo>
                    <a:lnTo>
                      <a:pt x="168" y="242"/>
                    </a:lnTo>
                    <a:lnTo>
                      <a:pt x="168" y="242"/>
                    </a:lnTo>
                    <a:lnTo>
                      <a:pt x="168" y="242"/>
                    </a:lnTo>
                    <a:lnTo>
                      <a:pt x="170" y="242"/>
                    </a:lnTo>
                    <a:lnTo>
                      <a:pt x="172" y="242"/>
                    </a:lnTo>
                    <a:lnTo>
                      <a:pt x="176" y="242"/>
                    </a:lnTo>
                    <a:lnTo>
                      <a:pt x="178" y="242"/>
                    </a:lnTo>
                    <a:lnTo>
                      <a:pt x="180" y="244"/>
                    </a:lnTo>
                    <a:lnTo>
                      <a:pt x="182" y="244"/>
                    </a:lnTo>
                    <a:lnTo>
                      <a:pt x="182" y="246"/>
                    </a:lnTo>
                    <a:lnTo>
                      <a:pt x="184" y="248"/>
                    </a:lnTo>
                    <a:lnTo>
                      <a:pt x="186" y="252"/>
                    </a:lnTo>
                    <a:lnTo>
                      <a:pt x="188" y="256"/>
                    </a:lnTo>
                    <a:lnTo>
                      <a:pt x="188" y="260"/>
                    </a:lnTo>
                    <a:lnTo>
                      <a:pt x="190" y="264"/>
                    </a:lnTo>
                    <a:lnTo>
                      <a:pt x="192" y="266"/>
                    </a:lnTo>
                    <a:lnTo>
                      <a:pt x="194" y="270"/>
                    </a:lnTo>
                    <a:lnTo>
                      <a:pt x="194" y="270"/>
                    </a:lnTo>
                    <a:lnTo>
                      <a:pt x="194" y="270"/>
                    </a:lnTo>
                    <a:lnTo>
                      <a:pt x="196" y="272"/>
                    </a:lnTo>
                    <a:lnTo>
                      <a:pt x="196" y="272"/>
                    </a:lnTo>
                    <a:lnTo>
                      <a:pt x="196" y="272"/>
                    </a:lnTo>
                    <a:lnTo>
                      <a:pt x="198" y="272"/>
                    </a:lnTo>
                    <a:lnTo>
                      <a:pt x="200" y="274"/>
                    </a:lnTo>
                    <a:lnTo>
                      <a:pt x="200" y="274"/>
                    </a:lnTo>
                    <a:lnTo>
                      <a:pt x="200" y="274"/>
                    </a:lnTo>
                    <a:lnTo>
                      <a:pt x="202" y="276"/>
                    </a:lnTo>
                    <a:lnTo>
                      <a:pt x="204" y="276"/>
                    </a:lnTo>
                    <a:lnTo>
                      <a:pt x="206" y="276"/>
                    </a:lnTo>
                    <a:lnTo>
                      <a:pt x="210" y="276"/>
                    </a:lnTo>
                    <a:lnTo>
                      <a:pt x="214" y="276"/>
                    </a:lnTo>
                    <a:lnTo>
                      <a:pt x="218" y="276"/>
                    </a:lnTo>
                    <a:lnTo>
                      <a:pt x="222" y="276"/>
                    </a:lnTo>
                    <a:lnTo>
                      <a:pt x="226" y="278"/>
                    </a:lnTo>
                    <a:lnTo>
                      <a:pt x="232" y="276"/>
                    </a:lnTo>
                    <a:lnTo>
                      <a:pt x="236" y="276"/>
                    </a:lnTo>
                    <a:lnTo>
                      <a:pt x="240" y="276"/>
                    </a:lnTo>
                    <a:lnTo>
                      <a:pt x="242" y="276"/>
                    </a:lnTo>
                    <a:lnTo>
                      <a:pt x="246" y="276"/>
                    </a:lnTo>
                    <a:lnTo>
                      <a:pt x="246" y="276"/>
                    </a:lnTo>
                    <a:lnTo>
                      <a:pt x="246" y="276"/>
                    </a:lnTo>
                    <a:lnTo>
                      <a:pt x="248" y="274"/>
                    </a:lnTo>
                    <a:lnTo>
                      <a:pt x="248" y="274"/>
                    </a:lnTo>
                    <a:lnTo>
                      <a:pt x="248" y="274"/>
                    </a:lnTo>
                    <a:lnTo>
                      <a:pt x="250" y="274"/>
                    </a:lnTo>
                    <a:lnTo>
                      <a:pt x="250" y="272"/>
                    </a:lnTo>
                    <a:lnTo>
                      <a:pt x="252" y="270"/>
                    </a:lnTo>
                    <a:lnTo>
                      <a:pt x="252" y="270"/>
                    </a:lnTo>
                    <a:lnTo>
                      <a:pt x="254" y="270"/>
                    </a:lnTo>
                    <a:lnTo>
                      <a:pt x="256" y="270"/>
                    </a:lnTo>
                    <a:lnTo>
                      <a:pt x="260" y="270"/>
                    </a:lnTo>
                    <a:lnTo>
                      <a:pt x="266" y="272"/>
                    </a:lnTo>
                    <a:lnTo>
                      <a:pt x="268" y="272"/>
                    </a:lnTo>
                    <a:lnTo>
                      <a:pt x="270" y="272"/>
                    </a:lnTo>
                    <a:lnTo>
                      <a:pt x="272" y="274"/>
                    </a:lnTo>
                    <a:lnTo>
                      <a:pt x="274" y="276"/>
                    </a:lnTo>
                    <a:lnTo>
                      <a:pt x="274" y="278"/>
                    </a:lnTo>
                    <a:lnTo>
                      <a:pt x="276" y="280"/>
                    </a:lnTo>
                    <a:lnTo>
                      <a:pt x="276" y="284"/>
                    </a:lnTo>
                    <a:lnTo>
                      <a:pt x="278" y="288"/>
                    </a:lnTo>
                    <a:lnTo>
                      <a:pt x="278" y="294"/>
                    </a:lnTo>
                    <a:lnTo>
                      <a:pt x="278" y="298"/>
                    </a:lnTo>
                    <a:lnTo>
                      <a:pt x="276" y="300"/>
                    </a:lnTo>
                    <a:lnTo>
                      <a:pt x="276" y="304"/>
                    </a:lnTo>
                    <a:lnTo>
                      <a:pt x="274" y="306"/>
                    </a:lnTo>
                    <a:lnTo>
                      <a:pt x="272" y="306"/>
                    </a:lnTo>
                    <a:lnTo>
                      <a:pt x="270" y="308"/>
                    </a:lnTo>
                    <a:lnTo>
                      <a:pt x="266" y="310"/>
                    </a:lnTo>
                    <a:lnTo>
                      <a:pt x="258" y="312"/>
                    </a:lnTo>
                    <a:lnTo>
                      <a:pt x="254" y="312"/>
                    </a:lnTo>
                    <a:lnTo>
                      <a:pt x="252" y="314"/>
                    </a:lnTo>
                    <a:lnTo>
                      <a:pt x="248" y="316"/>
                    </a:lnTo>
                    <a:lnTo>
                      <a:pt x="244" y="316"/>
                    </a:lnTo>
                    <a:lnTo>
                      <a:pt x="236" y="318"/>
                    </a:lnTo>
                    <a:lnTo>
                      <a:pt x="228" y="320"/>
                    </a:lnTo>
                    <a:lnTo>
                      <a:pt x="224" y="322"/>
                    </a:lnTo>
                    <a:lnTo>
                      <a:pt x="220" y="324"/>
                    </a:lnTo>
                    <a:lnTo>
                      <a:pt x="218" y="326"/>
                    </a:lnTo>
                    <a:lnTo>
                      <a:pt x="214" y="328"/>
                    </a:lnTo>
                    <a:lnTo>
                      <a:pt x="214" y="328"/>
                    </a:lnTo>
                    <a:lnTo>
                      <a:pt x="214" y="328"/>
                    </a:lnTo>
                    <a:lnTo>
                      <a:pt x="210" y="334"/>
                    </a:lnTo>
                    <a:lnTo>
                      <a:pt x="210" y="334"/>
                    </a:lnTo>
                    <a:lnTo>
                      <a:pt x="210" y="334"/>
                    </a:lnTo>
                    <a:lnTo>
                      <a:pt x="206" y="340"/>
                    </a:lnTo>
                    <a:lnTo>
                      <a:pt x="204" y="348"/>
                    </a:lnTo>
                    <a:lnTo>
                      <a:pt x="202" y="354"/>
                    </a:lnTo>
                    <a:lnTo>
                      <a:pt x="200" y="360"/>
                    </a:lnTo>
                    <a:lnTo>
                      <a:pt x="200" y="364"/>
                    </a:lnTo>
                    <a:lnTo>
                      <a:pt x="200" y="366"/>
                    </a:lnTo>
                    <a:lnTo>
                      <a:pt x="200" y="366"/>
                    </a:lnTo>
                    <a:lnTo>
                      <a:pt x="200" y="366"/>
                    </a:lnTo>
                    <a:lnTo>
                      <a:pt x="200" y="370"/>
                    </a:lnTo>
                    <a:lnTo>
                      <a:pt x="200" y="370"/>
                    </a:lnTo>
                    <a:lnTo>
                      <a:pt x="200" y="370"/>
                    </a:lnTo>
                    <a:lnTo>
                      <a:pt x="202" y="372"/>
                    </a:lnTo>
                    <a:lnTo>
                      <a:pt x="202" y="372"/>
                    </a:lnTo>
                    <a:lnTo>
                      <a:pt x="202" y="374"/>
                    </a:lnTo>
                    <a:lnTo>
                      <a:pt x="204" y="376"/>
                    </a:lnTo>
                    <a:lnTo>
                      <a:pt x="204" y="376"/>
                    </a:lnTo>
                    <a:lnTo>
                      <a:pt x="204" y="376"/>
                    </a:lnTo>
                    <a:lnTo>
                      <a:pt x="206" y="378"/>
                    </a:lnTo>
                    <a:lnTo>
                      <a:pt x="206" y="378"/>
                    </a:lnTo>
                    <a:lnTo>
                      <a:pt x="206" y="378"/>
                    </a:lnTo>
                    <a:lnTo>
                      <a:pt x="208" y="380"/>
                    </a:lnTo>
                    <a:lnTo>
                      <a:pt x="212" y="382"/>
                    </a:lnTo>
                    <a:lnTo>
                      <a:pt x="218" y="384"/>
                    </a:lnTo>
                    <a:lnTo>
                      <a:pt x="220" y="386"/>
                    </a:lnTo>
                    <a:lnTo>
                      <a:pt x="222" y="388"/>
                    </a:lnTo>
                    <a:lnTo>
                      <a:pt x="224" y="390"/>
                    </a:lnTo>
                    <a:lnTo>
                      <a:pt x="228" y="392"/>
                    </a:lnTo>
                    <a:lnTo>
                      <a:pt x="230" y="394"/>
                    </a:lnTo>
                    <a:lnTo>
                      <a:pt x="234" y="396"/>
                    </a:lnTo>
                    <a:lnTo>
                      <a:pt x="234" y="396"/>
                    </a:lnTo>
                    <a:lnTo>
                      <a:pt x="234" y="396"/>
                    </a:lnTo>
                    <a:lnTo>
                      <a:pt x="230" y="396"/>
                    </a:lnTo>
                    <a:lnTo>
                      <a:pt x="224" y="394"/>
                    </a:lnTo>
                    <a:lnTo>
                      <a:pt x="218" y="394"/>
                    </a:lnTo>
                    <a:lnTo>
                      <a:pt x="214" y="394"/>
                    </a:lnTo>
                    <a:lnTo>
                      <a:pt x="212" y="394"/>
                    </a:lnTo>
                    <a:lnTo>
                      <a:pt x="210" y="394"/>
                    </a:lnTo>
                    <a:lnTo>
                      <a:pt x="210" y="394"/>
                    </a:lnTo>
                    <a:lnTo>
                      <a:pt x="210" y="394"/>
                    </a:lnTo>
                    <a:lnTo>
                      <a:pt x="208" y="394"/>
                    </a:lnTo>
                    <a:lnTo>
                      <a:pt x="208" y="394"/>
                    </a:lnTo>
                    <a:lnTo>
                      <a:pt x="206" y="394"/>
                    </a:lnTo>
                    <a:lnTo>
                      <a:pt x="206" y="394"/>
                    </a:lnTo>
                    <a:lnTo>
                      <a:pt x="206" y="394"/>
                    </a:lnTo>
                    <a:lnTo>
                      <a:pt x="206" y="396"/>
                    </a:lnTo>
                    <a:lnTo>
                      <a:pt x="206" y="398"/>
                    </a:lnTo>
                    <a:lnTo>
                      <a:pt x="206" y="398"/>
                    </a:lnTo>
                    <a:lnTo>
                      <a:pt x="206" y="398"/>
                    </a:lnTo>
                    <a:lnTo>
                      <a:pt x="206" y="400"/>
                    </a:lnTo>
                    <a:lnTo>
                      <a:pt x="206" y="400"/>
                    </a:lnTo>
                    <a:lnTo>
                      <a:pt x="206" y="400"/>
                    </a:lnTo>
                    <a:lnTo>
                      <a:pt x="206" y="402"/>
                    </a:lnTo>
                    <a:lnTo>
                      <a:pt x="206" y="402"/>
                    </a:lnTo>
                    <a:lnTo>
                      <a:pt x="206" y="404"/>
                    </a:lnTo>
                    <a:lnTo>
                      <a:pt x="210" y="406"/>
                    </a:lnTo>
                    <a:lnTo>
                      <a:pt x="212" y="410"/>
                    </a:lnTo>
                    <a:lnTo>
                      <a:pt x="216" y="414"/>
                    </a:lnTo>
                    <a:lnTo>
                      <a:pt x="218" y="418"/>
                    </a:lnTo>
                    <a:lnTo>
                      <a:pt x="222" y="420"/>
                    </a:lnTo>
                    <a:lnTo>
                      <a:pt x="224" y="422"/>
                    </a:lnTo>
                    <a:lnTo>
                      <a:pt x="224" y="422"/>
                    </a:lnTo>
                    <a:lnTo>
                      <a:pt x="224" y="424"/>
                    </a:lnTo>
                    <a:lnTo>
                      <a:pt x="228" y="424"/>
                    </a:lnTo>
                    <a:lnTo>
                      <a:pt x="228" y="424"/>
                    </a:lnTo>
                    <a:lnTo>
                      <a:pt x="228" y="424"/>
                    </a:lnTo>
                    <a:lnTo>
                      <a:pt x="230" y="424"/>
                    </a:lnTo>
                    <a:lnTo>
                      <a:pt x="230" y="424"/>
                    </a:lnTo>
                    <a:lnTo>
                      <a:pt x="230" y="426"/>
                    </a:lnTo>
                    <a:lnTo>
                      <a:pt x="232" y="426"/>
                    </a:lnTo>
                    <a:lnTo>
                      <a:pt x="234" y="424"/>
                    </a:lnTo>
                    <a:lnTo>
                      <a:pt x="234" y="424"/>
                    </a:lnTo>
                    <a:lnTo>
                      <a:pt x="236" y="424"/>
                    </a:lnTo>
                    <a:lnTo>
                      <a:pt x="240" y="422"/>
                    </a:lnTo>
                    <a:lnTo>
                      <a:pt x="244" y="422"/>
                    </a:lnTo>
                    <a:lnTo>
                      <a:pt x="246" y="420"/>
                    </a:lnTo>
                    <a:lnTo>
                      <a:pt x="248" y="418"/>
                    </a:lnTo>
                    <a:lnTo>
                      <a:pt x="254" y="414"/>
                    </a:lnTo>
                    <a:lnTo>
                      <a:pt x="256" y="412"/>
                    </a:lnTo>
                    <a:lnTo>
                      <a:pt x="256" y="412"/>
                    </a:lnTo>
                    <a:lnTo>
                      <a:pt x="256" y="412"/>
                    </a:lnTo>
                    <a:lnTo>
                      <a:pt x="256" y="416"/>
                    </a:lnTo>
                    <a:lnTo>
                      <a:pt x="254" y="420"/>
                    </a:lnTo>
                    <a:lnTo>
                      <a:pt x="254" y="426"/>
                    </a:lnTo>
                    <a:lnTo>
                      <a:pt x="252" y="432"/>
                    </a:lnTo>
                    <a:lnTo>
                      <a:pt x="252" y="438"/>
                    </a:lnTo>
                    <a:lnTo>
                      <a:pt x="250" y="442"/>
                    </a:lnTo>
                    <a:lnTo>
                      <a:pt x="250" y="442"/>
                    </a:lnTo>
                    <a:lnTo>
                      <a:pt x="250" y="442"/>
                    </a:lnTo>
                    <a:lnTo>
                      <a:pt x="252" y="444"/>
                    </a:lnTo>
                    <a:lnTo>
                      <a:pt x="252" y="446"/>
                    </a:lnTo>
                    <a:lnTo>
                      <a:pt x="252" y="446"/>
                    </a:lnTo>
                    <a:lnTo>
                      <a:pt x="252" y="448"/>
                    </a:lnTo>
                    <a:lnTo>
                      <a:pt x="252" y="450"/>
                    </a:lnTo>
                    <a:lnTo>
                      <a:pt x="252" y="450"/>
                    </a:lnTo>
                    <a:lnTo>
                      <a:pt x="254" y="450"/>
                    </a:lnTo>
                    <a:lnTo>
                      <a:pt x="254" y="452"/>
                    </a:lnTo>
                    <a:lnTo>
                      <a:pt x="254" y="452"/>
                    </a:lnTo>
                    <a:lnTo>
                      <a:pt x="256" y="454"/>
                    </a:lnTo>
                    <a:lnTo>
                      <a:pt x="258" y="454"/>
                    </a:lnTo>
                    <a:lnTo>
                      <a:pt x="258" y="454"/>
                    </a:lnTo>
                    <a:lnTo>
                      <a:pt x="258" y="454"/>
                    </a:lnTo>
                    <a:lnTo>
                      <a:pt x="260" y="456"/>
                    </a:lnTo>
                    <a:lnTo>
                      <a:pt x="260" y="456"/>
                    </a:lnTo>
                    <a:lnTo>
                      <a:pt x="260" y="456"/>
                    </a:lnTo>
                    <a:lnTo>
                      <a:pt x="266" y="458"/>
                    </a:lnTo>
                    <a:lnTo>
                      <a:pt x="270" y="458"/>
                    </a:lnTo>
                    <a:lnTo>
                      <a:pt x="272" y="458"/>
                    </a:lnTo>
                    <a:lnTo>
                      <a:pt x="272" y="458"/>
                    </a:lnTo>
                    <a:lnTo>
                      <a:pt x="274" y="458"/>
                    </a:lnTo>
                    <a:lnTo>
                      <a:pt x="274" y="458"/>
                    </a:lnTo>
                    <a:lnTo>
                      <a:pt x="274" y="458"/>
                    </a:lnTo>
                    <a:lnTo>
                      <a:pt x="278" y="458"/>
                    </a:lnTo>
                    <a:lnTo>
                      <a:pt x="284" y="456"/>
                    </a:lnTo>
                    <a:lnTo>
                      <a:pt x="288" y="456"/>
                    </a:lnTo>
                    <a:lnTo>
                      <a:pt x="290" y="454"/>
                    </a:lnTo>
                    <a:lnTo>
                      <a:pt x="292" y="454"/>
                    </a:lnTo>
                    <a:lnTo>
                      <a:pt x="292" y="456"/>
                    </a:lnTo>
                    <a:lnTo>
                      <a:pt x="294" y="456"/>
                    </a:lnTo>
                    <a:lnTo>
                      <a:pt x="294" y="458"/>
                    </a:lnTo>
                    <a:lnTo>
                      <a:pt x="296" y="460"/>
                    </a:lnTo>
                    <a:lnTo>
                      <a:pt x="298" y="462"/>
                    </a:lnTo>
                    <a:lnTo>
                      <a:pt x="300" y="462"/>
                    </a:lnTo>
                    <a:lnTo>
                      <a:pt x="300" y="462"/>
                    </a:lnTo>
                    <a:lnTo>
                      <a:pt x="300" y="464"/>
                    </a:lnTo>
                    <a:lnTo>
                      <a:pt x="302" y="464"/>
                    </a:lnTo>
                    <a:lnTo>
                      <a:pt x="302" y="464"/>
                    </a:lnTo>
                    <a:lnTo>
                      <a:pt x="302" y="464"/>
                    </a:lnTo>
                    <a:lnTo>
                      <a:pt x="304" y="464"/>
                    </a:lnTo>
                    <a:lnTo>
                      <a:pt x="304" y="464"/>
                    </a:lnTo>
                    <a:lnTo>
                      <a:pt x="306" y="464"/>
                    </a:lnTo>
                    <a:lnTo>
                      <a:pt x="306" y="464"/>
                    </a:lnTo>
                    <a:lnTo>
                      <a:pt x="306" y="464"/>
                    </a:lnTo>
                    <a:lnTo>
                      <a:pt x="308" y="462"/>
                    </a:lnTo>
                    <a:lnTo>
                      <a:pt x="310" y="462"/>
                    </a:lnTo>
                    <a:lnTo>
                      <a:pt x="310" y="462"/>
                    </a:lnTo>
                    <a:lnTo>
                      <a:pt x="310" y="460"/>
                    </a:lnTo>
                    <a:lnTo>
                      <a:pt x="310" y="458"/>
                    </a:lnTo>
                    <a:lnTo>
                      <a:pt x="312" y="456"/>
                    </a:lnTo>
                    <a:lnTo>
                      <a:pt x="312" y="454"/>
                    </a:lnTo>
                    <a:lnTo>
                      <a:pt x="314" y="452"/>
                    </a:lnTo>
                    <a:lnTo>
                      <a:pt x="314" y="450"/>
                    </a:lnTo>
                    <a:lnTo>
                      <a:pt x="316" y="448"/>
                    </a:lnTo>
                    <a:lnTo>
                      <a:pt x="318" y="448"/>
                    </a:lnTo>
                    <a:lnTo>
                      <a:pt x="316" y="448"/>
                    </a:lnTo>
                    <a:lnTo>
                      <a:pt x="318" y="448"/>
                    </a:lnTo>
                    <a:lnTo>
                      <a:pt x="322" y="446"/>
                    </a:lnTo>
                    <a:lnTo>
                      <a:pt x="324" y="446"/>
                    </a:lnTo>
                    <a:lnTo>
                      <a:pt x="324" y="446"/>
                    </a:lnTo>
                    <a:lnTo>
                      <a:pt x="326" y="448"/>
                    </a:lnTo>
                    <a:lnTo>
                      <a:pt x="326" y="448"/>
                    </a:lnTo>
                    <a:lnTo>
                      <a:pt x="326" y="448"/>
                    </a:lnTo>
                    <a:lnTo>
                      <a:pt x="326" y="450"/>
                    </a:lnTo>
                    <a:lnTo>
                      <a:pt x="326" y="454"/>
                    </a:lnTo>
                    <a:lnTo>
                      <a:pt x="326" y="456"/>
                    </a:lnTo>
                    <a:lnTo>
                      <a:pt x="324" y="464"/>
                    </a:lnTo>
                    <a:lnTo>
                      <a:pt x="322" y="468"/>
                    </a:lnTo>
                    <a:lnTo>
                      <a:pt x="322" y="470"/>
                    </a:lnTo>
                    <a:lnTo>
                      <a:pt x="318" y="476"/>
                    </a:lnTo>
                    <a:lnTo>
                      <a:pt x="316" y="482"/>
                    </a:lnTo>
                    <a:lnTo>
                      <a:pt x="310" y="488"/>
                    </a:lnTo>
                    <a:lnTo>
                      <a:pt x="306" y="492"/>
                    </a:lnTo>
                    <a:lnTo>
                      <a:pt x="300" y="498"/>
                    </a:lnTo>
                    <a:lnTo>
                      <a:pt x="294" y="502"/>
                    </a:lnTo>
                    <a:lnTo>
                      <a:pt x="288" y="508"/>
                    </a:lnTo>
                    <a:lnTo>
                      <a:pt x="280" y="512"/>
                    </a:lnTo>
                    <a:lnTo>
                      <a:pt x="274" y="516"/>
                    </a:lnTo>
                    <a:lnTo>
                      <a:pt x="266" y="520"/>
                    </a:lnTo>
                    <a:lnTo>
                      <a:pt x="260" y="522"/>
                    </a:lnTo>
                    <a:lnTo>
                      <a:pt x="252" y="526"/>
                    </a:lnTo>
                    <a:lnTo>
                      <a:pt x="246" y="530"/>
                    </a:lnTo>
                    <a:lnTo>
                      <a:pt x="240" y="532"/>
                    </a:lnTo>
                    <a:lnTo>
                      <a:pt x="232" y="536"/>
                    </a:lnTo>
                    <a:lnTo>
                      <a:pt x="232" y="536"/>
                    </a:lnTo>
                    <a:lnTo>
                      <a:pt x="232" y="536"/>
                    </a:lnTo>
                    <a:lnTo>
                      <a:pt x="226" y="540"/>
                    </a:lnTo>
                    <a:lnTo>
                      <a:pt x="226" y="540"/>
                    </a:lnTo>
                    <a:lnTo>
                      <a:pt x="226" y="540"/>
                    </a:lnTo>
                    <a:lnTo>
                      <a:pt x="224" y="542"/>
                    </a:lnTo>
                    <a:lnTo>
                      <a:pt x="224" y="542"/>
                    </a:lnTo>
                    <a:lnTo>
                      <a:pt x="224" y="544"/>
                    </a:lnTo>
                    <a:lnTo>
                      <a:pt x="222" y="546"/>
                    </a:lnTo>
                    <a:lnTo>
                      <a:pt x="222" y="546"/>
                    </a:lnTo>
                    <a:lnTo>
                      <a:pt x="222" y="546"/>
                    </a:lnTo>
                    <a:lnTo>
                      <a:pt x="218" y="552"/>
                    </a:lnTo>
                    <a:lnTo>
                      <a:pt x="218" y="556"/>
                    </a:lnTo>
                    <a:lnTo>
                      <a:pt x="216" y="558"/>
                    </a:lnTo>
                    <a:lnTo>
                      <a:pt x="214" y="560"/>
                    </a:lnTo>
                    <a:lnTo>
                      <a:pt x="212" y="562"/>
                    </a:lnTo>
                    <a:lnTo>
                      <a:pt x="210" y="562"/>
                    </a:lnTo>
                    <a:lnTo>
                      <a:pt x="208" y="562"/>
                    </a:lnTo>
                    <a:lnTo>
                      <a:pt x="200" y="564"/>
                    </a:lnTo>
                    <a:lnTo>
                      <a:pt x="192" y="564"/>
                    </a:lnTo>
                    <a:lnTo>
                      <a:pt x="188" y="564"/>
                    </a:lnTo>
                    <a:lnTo>
                      <a:pt x="186" y="564"/>
                    </a:lnTo>
                    <a:lnTo>
                      <a:pt x="182" y="566"/>
                    </a:lnTo>
                    <a:lnTo>
                      <a:pt x="180" y="566"/>
                    </a:lnTo>
                    <a:lnTo>
                      <a:pt x="176" y="568"/>
                    </a:lnTo>
                    <a:lnTo>
                      <a:pt x="174" y="570"/>
                    </a:lnTo>
                    <a:lnTo>
                      <a:pt x="170" y="574"/>
                    </a:lnTo>
                    <a:lnTo>
                      <a:pt x="166" y="576"/>
                    </a:lnTo>
                    <a:lnTo>
                      <a:pt x="162" y="578"/>
                    </a:lnTo>
                    <a:lnTo>
                      <a:pt x="160" y="580"/>
                    </a:lnTo>
                    <a:lnTo>
                      <a:pt x="160" y="580"/>
                    </a:lnTo>
                    <a:lnTo>
                      <a:pt x="160" y="580"/>
                    </a:lnTo>
                    <a:lnTo>
                      <a:pt x="156" y="584"/>
                    </a:lnTo>
                    <a:lnTo>
                      <a:pt x="156" y="584"/>
                    </a:lnTo>
                    <a:lnTo>
                      <a:pt x="156" y="584"/>
                    </a:lnTo>
                    <a:lnTo>
                      <a:pt x="154" y="586"/>
                    </a:lnTo>
                    <a:lnTo>
                      <a:pt x="154" y="586"/>
                    </a:lnTo>
                    <a:lnTo>
                      <a:pt x="154" y="586"/>
                    </a:lnTo>
                    <a:lnTo>
                      <a:pt x="154" y="588"/>
                    </a:lnTo>
                    <a:lnTo>
                      <a:pt x="152" y="594"/>
                    </a:lnTo>
                    <a:lnTo>
                      <a:pt x="152" y="596"/>
                    </a:lnTo>
                    <a:lnTo>
                      <a:pt x="150" y="598"/>
                    </a:lnTo>
                    <a:lnTo>
                      <a:pt x="150" y="600"/>
                    </a:lnTo>
                    <a:lnTo>
                      <a:pt x="146" y="600"/>
                    </a:lnTo>
                    <a:lnTo>
                      <a:pt x="144" y="602"/>
                    </a:lnTo>
                    <a:lnTo>
                      <a:pt x="140" y="602"/>
                    </a:lnTo>
                    <a:lnTo>
                      <a:pt x="134" y="602"/>
                    </a:lnTo>
                    <a:lnTo>
                      <a:pt x="128" y="602"/>
                    </a:lnTo>
                    <a:lnTo>
                      <a:pt x="116" y="602"/>
                    </a:lnTo>
                    <a:lnTo>
                      <a:pt x="110" y="604"/>
                    </a:lnTo>
                    <a:lnTo>
                      <a:pt x="106" y="604"/>
                    </a:lnTo>
                    <a:lnTo>
                      <a:pt x="100" y="606"/>
                    </a:lnTo>
                    <a:lnTo>
                      <a:pt x="96" y="608"/>
                    </a:lnTo>
                    <a:lnTo>
                      <a:pt x="94" y="608"/>
                    </a:lnTo>
                    <a:lnTo>
                      <a:pt x="90" y="610"/>
                    </a:lnTo>
                    <a:lnTo>
                      <a:pt x="88" y="612"/>
                    </a:lnTo>
                    <a:lnTo>
                      <a:pt x="86" y="612"/>
                    </a:lnTo>
                    <a:lnTo>
                      <a:pt x="76" y="616"/>
                    </a:lnTo>
                    <a:lnTo>
                      <a:pt x="72" y="616"/>
                    </a:lnTo>
                    <a:lnTo>
                      <a:pt x="66" y="616"/>
                    </a:lnTo>
                    <a:lnTo>
                      <a:pt x="60" y="616"/>
                    </a:lnTo>
                    <a:lnTo>
                      <a:pt x="54" y="616"/>
                    </a:lnTo>
                    <a:lnTo>
                      <a:pt x="46" y="614"/>
                    </a:lnTo>
                    <a:lnTo>
                      <a:pt x="40" y="614"/>
                    </a:lnTo>
                    <a:lnTo>
                      <a:pt x="32" y="616"/>
                    </a:lnTo>
                    <a:lnTo>
                      <a:pt x="28" y="616"/>
                    </a:lnTo>
                    <a:lnTo>
                      <a:pt x="28" y="616"/>
                    </a:lnTo>
                    <a:lnTo>
                      <a:pt x="28" y="616"/>
                    </a:lnTo>
                    <a:lnTo>
                      <a:pt x="22" y="618"/>
                    </a:lnTo>
                    <a:lnTo>
                      <a:pt x="16" y="620"/>
                    </a:lnTo>
                    <a:lnTo>
                      <a:pt x="12" y="622"/>
                    </a:lnTo>
                    <a:lnTo>
                      <a:pt x="8" y="624"/>
                    </a:lnTo>
                    <a:lnTo>
                      <a:pt x="4" y="628"/>
                    </a:lnTo>
                    <a:lnTo>
                      <a:pt x="2" y="630"/>
                    </a:lnTo>
                    <a:lnTo>
                      <a:pt x="0" y="632"/>
                    </a:lnTo>
                    <a:lnTo>
                      <a:pt x="0" y="632"/>
                    </a:lnTo>
                    <a:lnTo>
                      <a:pt x="0" y="632"/>
                    </a:lnTo>
                    <a:lnTo>
                      <a:pt x="0" y="634"/>
                    </a:lnTo>
                    <a:lnTo>
                      <a:pt x="0" y="634"/>
                    </a:lnTo>
                    <a:lnTo>
                      <a:pt x="0" y="636"/>
                    </a:lnTo>
                    <a:lnTo>
                      <a:pt x="0" y="636"/>
                    </a:lnTo>
                    <a:lnTo>
                      <a:pt x="2" y="638"/>
                    </a:lnTo>
                    <a:lnTo>
                      <a:pt x="2" y="638"/>
                    </a:lnTo>
                    <a:lnTo>
                      <a:pt x="2" y="638"/>
                    </a:lnTo>
                    <a:lnTo>
                      <a:pt x="2" y="638"/>
                    </a:lnTo>
                    <a:lnTo>
                      <a:pt x="4" y="638"/>
                    </a:lnTo>
                    <a:lnTo>
                      <a:pt x="6" y="636"/>
                    </a:lnTo>
                    <a:lnTo>
                      <a:pt x="10" y="636"/>
                    </a:lnTo>
                    <a:lnTo>
                      <a:pt x="14" y="634"/>
                    </a:lnTo>
                    <a:lnTo>
                      <a:pt x="18" y="632"/>
                    </a:lnTo>
                    <a:lnTo>
                      <a:pt x="24" y="632"/>
                    </a:lnTo>
                    <a:lnTo>
                      <a:pt x="28" y="630"/>
                    </a:lnTo>
                    <a:lnTo>
                      <a:pt x="32" y="630"/>
                    </a:lnTo>
                    <a:lnTo>
                      <a:pt x="40" y="628"/>
                    </a:lnTo>
                    <a:lnTo>
                      <a:pt x="48" y="626"/>
                    </a:lnTo>
                    <a:lnTo>
                      <a:pt x="58" y="626"/>
                    </a:lnTo>
                    <a:lnTo>
                      <a:pt x="66" y="624"/>
                    </a:lnTo>
                    <a:lnTo>
                      <a:pt x="72" y="622"/>
                    </a:lnTo>
                    <a:lnTo>
                      <a:pt x="78" y="622"/>
                    </a:lnTo>
                    <a:lnTo>
                      <a:pt x="84" y="620"/>
                    </a:lnTo>
                    <a:lnTo>
                      <a:pt x="88" y="620"/>
                    </a:lnTo>
                    <a:lnTo>
                      <a:pt x="90" y="618"/>
                    </a:lnTo>
                    <a:lnTo>
                      <a:pt x="100" y="616"/>
                    </a:lnTo>
                    <a:lnTo>
                      <a:pt x="110" y="614"/>
                    </a:lnTo>
                    <a:lnTo>
                      <a:pt x="116" y="614"/>
                    </a:lnTo>
                    <a:lnTo>
                      <a:pt x="122" y="612"/>
                    </a:lnTo>
                    <a:lnTo>
                      <a:pt x="134" y="612"/>
                    </a:lnTo>
                    <a:lnTo>
                      <a:pt x="140" y="612"/>
                    </a:lnTo>
                    <a:lnTo>
                      <a:pt x="146" y="612"/>
                    </a:lnTo>
                    <a:lnTo>
                      <a:pt x="152" y="612"/>
                    </a:lnTo>
                    <a:lnTo>
                      <a:pt x="156" y="612"/>
                    </a:lnTo>
                    <a:lnTo>
                      <a:pt x="160" y="610"/>
                    </a:lnTo>
                    <a:lnTo>
                      <a:pt x="160" y="610"/>
                    </a:lnTo>
                    <a:lnTo>
                      <a:pt x="160" y="610"/>
                    </a:lnTo>
                    <a:lnTo>
                      <a:pt x="164" y="610"/>
                    </a:lnTo>
                    <a:lnTo>
                      <a:pt x="164" y="610"/>
                    </a:lnTo>
                    <a:lnTo>
                      <a:pt x="164" y="608"/>
                    </a:lnTo>
                    <a:lnTo>
                      <a:pt x="168" y="608"/>
                    </a:lnTo>
                    <a:lnTo>
                      <a:pt x="170" y="606"/>
                    </a:lnTo>
                    <a:lnTo>
                      <a:pt x="174" y="602"/>
                    </a:lnTo>
                    <a:lnTo>
                      <a:pt x="176" y="600"/>
                    </a:lnTo>
                    <a:lnTo>
                      <a:pt x="176" y="600"/>
                    </a:lnTo>
                    <a:lnTo>
                      <a:pt x="176" y="600"/>
                    </a:lnTo>
                    <a:lnTo>
                      <a:pt x="178" y="600"/>
                    </a:lnTo>
                    <a:lnTo>
                      <a:pt x="180" y="600"/>
                    </a:lnTo>
                    <a:lnTo>
                      <a:pt x="182" y="600"/>
                    </a:lnTo>
                    <a:lnTo>
                      <a:pt x="184" y="602"/>
                    </a:lnTo>
                    <a:lnTo>
                      <a:pt x="184" y="602"/>
                    </a:lnTo>
                    <a:lnTo>
                      <a:pt x="184" y="602"/>
                    </a:lnTo>
                    <a:lnTo>
                      <a:pt x="186" y="602"/>
                    </a:lnTo>
                    <a:lnTo>
                      <a:pt x="186" y="602"/>
                    </a:lnTo>
                    <a:lnTo>
                      <a:pt x="186" y="602"/>
                    </a:lnTo>
                    <a:lnTo>
                      <a:pt x="188" y="602"/>
                    </a:lnTo>
                    <a:lnTo>
                      <a:pt x="188" y="602"/>
                    </a:lnTo>
                    <a:lnTo>
                      <a:pt x="190" y="600"/>
                    </a:lnTo>
                    <a:lnTo>
                      <a:pt x="192" y="600"/>
                    </a:lnTo>
                    <a:lnTo>
                      <a:pt x="192" y="600"/>
                    </a:lnTo>
                    <a:lnTo>
                      <a:pt x="192" y="600"/>
                    </a:lnTo>
                    <a:lnTo>
                      <a:pt x="194" y="596"/>
                    </a:lnTo>
                    <a:lnTo>
                      <a:pt x="194" y="596"/>
                    </a:lnTo>
                    <a:lnTo>
                      <a:pt x="194" y="596"/>
                    </a:lnTo>
                    <a:lnTo>
                      <a:pt x="196" y="594"/>
                    </a:lnTo>
                    <a:lnTo>
                      <a:pt x="198" y="590"/>
                    </a:lnTo>
                    <a:lnTo>
                      <a:pt x="200" y="586"/>
                    </a:lnTo>
                    <a:lnTo>
                      <a:pt x="204" y="582"/>
                    </a:lnTo>
                    <a:lnTo>
                      <a:pt x="206" y="578"/>
                    </a:lnTo>
                    <a:lnTo>
                      <a:pt x="210" y="574"/>
                    </a:lnTo>
                    <a:lnTo>
                      <a:pt x="216" y="570"/>
                    </a:lnTo>
                    <a:lnTo>
                      <a:pt x="218" y="568"/>
                    </a:lnTo>
                    <a:lnTo>
                      <a:pt x="222" y="566"/>
                    </a:lnTo>
                    <a:lnTo>
                      <a:pt x="230" y="562"/>
                    </a:lnTo>
                    <a:lnTo>
                      <a:pt x="238" y="558"/>
                    </a:lnTo>
                    <a:lnTo>
                      <a:pt x="248" y="554"/>
                    </a:lnTo>
                    <a:lnTo>
                      <a:pt x="258" y="548"/>
                    </a:lnTo>
                    <a:lnTo>
                      <a:pt x="268" y="544"/>
                    </a:lnTo>
                    <a:lnTo>
                      <a:pt x="278" y="540"/>
                    </a:lnTo>
                    <a:lnTo>
                      <a:pt x="286" y="534"/>
                    </a:lnTo>
                    <a:lnTo>
                      <a:pt x="302" y="526"/>
                    </a:lnTo>
                    <a:lnTo>
                      <a:pt x="316" y="518"/>
                    </a:lnTo>
                    <a:lnTo>
                      <a:pt x="330" y="510"/>
                    </a:lnTo>
                    <a:lnTo>
                      <a:pt x="338" y="504"/>
                    </a:lnTo>
                    <a:lnTo>
                      <a:pt x="344" y="500"/>
                    </a:lnTo>
                    <a:lnTo>
                      <a:pt x="350" y="494"/>
                    </a:lnTo>
                    <a:lnTo>
                      <a:pt x="356" y="486"/>
                    </a:lnTo>
                    <a:lnTo>
                      <a:pt x="362" y="478"/>
                    </a:lnTo>
                    <a:lnTo>
                      <a:pt x="368" y="472"/>
                    </a:lnTo>
                    <a:lnTo>
                      <a:pt x="374" y="464"/>
                    </a:lnTo>
                    <a:lnTo>
                      <a:pt x="378" y="458"/>
                    </a:lnTo>
                    <a:lnTo>
                      <a:pt x="382" y="452"/>
                    </a:lnTo>
                    <a:lnTo>
                      <a:pt x="384" y="450"/>
                    </a:lnTo>
                    <a:lnTo>
                      <a:pt x="384" y="448"/>
                    </a:lnTo>
                    <a:lnTo>
                      <a:pt x="386" y="446"/>
                    </a:lnTo>
                    <a:lnTo>
                      <a:pt x="386" y="446"/>
                    </a:lnTo>
                    <a:lnTo>
                      <a:pt x="386" y="444"/>
                    </a:lnTo>
                    <a:lnTo>
                      <a:pt x="386" y="444"/>
                    </a:lnTo>
                    <a:lnTo>
                      <a:pt x="386" y="444"/>
                    </a:lnTo>
                    <a:lnTo>
                      <a:pt x="386" y="442"/>
                    </a:lnTo>
                    <a:lnTo>
                      <a:pt x="386" y="442"/>
                    </a:lnTo>
                    <a:lnTo>
                      <a:pt x="386" y="442"/>
                    </a:lnTo>
                    <a:lnTo>
                      <a:pt x="386" y="440"/>
                    </a:lnTo>
                    <a:lnTo>
                      <a:pt x="384" y="440"/>
                    </a:lnTo>
                    <a:lnTo>
                      <a:pt x="384" y="440"/>
                    </a:lnTo>
                    <a:lnTo>
                      <a:pt x="390" y="440"/>
                    </a:lnTo>
                    <a:lnTo>
                      <a:pt x="396" y="440"/>
                    </a:lnTo>
                    <a:lnTo>
                      <a:pt x="398" y="440"/>
                    </a:lnTo>
                    <a:lnTo>
                      <a:pt x="400" y="440"/>
                    </a:lnTo>
                    <a:lnTo>
                      <a:pt x="402" y="440"/>
                    </a:lnTo>
                    <a:lnTo>
                      <a:pt x="404" y="440"/>
                    </a:lnTo>
                    <a:lnTo>
                      <a:pt x="404" y="440"/>
                    </a:lnTo>
                    <a:lnTo>
                      <a:pt x="402" y="442"/>
                    </a:lnTo>
                    <a:lnTo>
                      <a:pt x="400" y="444"/>
                    </a:lnTo>
                    <a:lnTo>
                      <a:pt x="398" y="446"/>
                    </a:lnTo>
                    <a:lnTo>
                      <a:pt x="396" y="450"/>
                    </a:lnTo>
                    <a:lnTo>
                      <a:pt x="394" y="452"/>
                    </a:lnTo>
                    <a:lnTo>
                      <a:pt x="388" y="458"/>
                    </a:lnTo>
                    <a:lnTo>
                      <a:pt x="380" y="464"/>
                    </a:lnTo>
                    <a:lnTo>
                      <a:pt x="378" y="468"/>
                    </a:lnTo>
                    <a:lnTo>
                      <a:pt x="376" y="470"/>
                    </a:lnTo>
                    <a:lnTo>
                      <a:pt x="374" y="472"/>
                    </a:lnTo>
                    <a:lnTo>
                      <a:pt x="372" y="474"/>
                    </a:lnTo>
                    <a:lnTo>
                      <a:pt x="370" y="474"/>
                    </a:lnTo>
                    <a:lnTo>
                      <a:pt x="370" y="474"/>
                    </a:lnTo>
                    <a:lnTo>
                      <a:pt x="370" y="476"/>
                    </a:lnTo>
                    <a:lnTo>
                      <a:pt x="370" y="476"/>
                    </a:lnTo>
                    <a:lnTo>
                      <a:pt x="370" y="476"/>
                    </a:lnTo>
                    <a:lnTo>
                      <a:pt x="370" y="478"/>
                    </a:lnTo>
                    <a:lnTo>
                      <a:pt x="370" y="478"/>
                    </a:lnTo>
                    <a:lnTo>
                      <a:pt x="372" y="480"/>
                    </a:lnTo>
                    <a:lnTo>
                      <a:pt x="372" y="480"/>
                    </a:lnTo>
                    <a:lnTo>
                      <a:pt x="372" y="480"/>
                    </a:lnTo>
                    <a:lnTo>
                      <a:pt x="374" y="480"/>
                    </a:lnTo>
                    <a:lnTo>
                      <a:pt x="374" y="480"/>
                    </a:lnTo>
                    <a:lnTo>
                      <a:pt x="376" y="478"/>
                    </a:lnTo>
                    <a:lnTo>
                      <a:pt x="378" y="478"/>
                    </a:lnTo>
                    <a:lnTo>
                      <a:pt x="380" y="476"/>
                    </a:lnTo>
                    <a:lnTo>
                      <a:pt x="382" y="474"/>
                    </a:lnTo>
                    <a:lnTo>
                      <a:pt x="388" y="470"/>
                    </a:lnTo>
                    <a:lnTo>
                      <a:pt x="394" y="464"/>
                    </a:lnTo>
                    <a:lnTo>
                      <a:pt x="400" y="460"/>
                    </a:lnTo>
                    <a:lnTo>
                      <a:pt x="406" y="456"/>
                    </a:lnTo>
                    <a:lnTo>
                      <a:pt x="408" y="454"/>
                    </a:lnTo>
                    <a:lnTo>
                      <a:pt x="410" y="452"/>
                    </a:lnTo>
                    <a:lnTo>
                      <a:pt x="418" y="446"/>
                    </a:lnTo>
                    <a:lnTo>
                      <a:pt x="424" y="442"/>
                    </a:lnTo>
                    <a:lnTo>
                      <a:pt x="430" y="438"/>
                    </a:lnTo>
                    <a:lnTo>
                      <a:pt x="436" y="432"/>
                    </a:lnTo>
                    <a:lnTo>
                      <a:pt x="442" y="428"/>
                    </a:lnTo>
                    <a:lnTo>
                      <a:pt x="448" y="424"/>
                    </a:lnTo>
                    <a:lnTo>
                      <a:pt x="454" y="422"/>
                    </a:lnTo>
                    <a:lnTo>
                      <a:pt x="456" y="420"/>
                    </a:lnTo>
                    <a:lnTo>
                      <a:pt x="456" y="420"/>
                    </a:lnTo>
                    <a:lnTo>
                      <a:pt x="458" y="420"/>
                    </a:lnTo>
                    <a:lnTo>
                      <a:pt x="458" y="420"/>
                    </a:lnTo>
                    <a:lnTo>
                      <a:pt x="460" y="422"/>
                    </a:lnTo>
                    <a:lnTo>
                      <a:pt x="460" y="422"/>
                    </a:lnTo>
                    <a:lnTo>
                      <a:pt x="460" y="422"/>
                    </a:lnTo>
                    <a:lnTo>
                      <a:pt x="462" y="422"/>
                    </a:lnTo>
                    <a:lnTo>
                      <a:pt x="462" y="422"/>
                    </a:lnTo>
                    <a:lnTo>
                      <a:pt x="462" y="424"/>
                    </a:lnTo>
                    <a:lnTo>
                      <a:pt x="464" y="424"/>
                    </a:lnTo>
                    <a:lnTo>
                      <a:pt x="464" y="424"/>
                    </a:lnTo>
                    <a:lnTo>
                      <a:pt x="468" y="424"/>
                    </a:lnTo>
                    <a:lnTo>
                      <a:pt x="472" y="424"/>
                    </a:lnTo>
                    <a:lnTo>
                      <a:pt x="474" y="422"/>
                    </a:lnTo>
                    <a:lnTo>
                      <a:pt x="474" y="422"/>
                    </a:lnTo>
                    <a:lnTo>
                      <a:pt x="476" y="422"/>
                    </a:lnTo>
                    <a:lnTo>
                      <a:pt x="478" y="422"/>
                    </a:lnTo>
                    <a:lnTo>
                      <a:pt x="478" y="422"/>
                    </a:lnTo>
                    <a:lnTo>
                      <a:pt x="478" y="422"/>
                    </a:lnTo>
                    <a:lnTo>
                      <a:pt x="480" y="420"/>
                    </a:lnTo>
                    <a:lnTo>
                      <a:pt x="482" y="420"/>
                    </a:lnTo>
                    <a:lnTo>
                      <a:pt x="484" y="418"/>
                    </a:lnTo>
                    <a:lnTo>
                      <a:pt x="488" y="414"/>
                    </a:lnTo>
                    <a:lnTo>
                      <a:pt x="492" y="410"/>
                    </a:lnTo>
                    <a:lnTo>
                      <a:pt x="492" y="408"/>
                    </a:lnTo>
                    <a:lnTo>
                      <a:pt x="494" y="406"/>
                    </a:lnTo>
                    <a:lnTo>
                      <a:pt x="494" y="406"/>
                    </a:lnTo>
                    <a:lnTo>
                      <a:pt x="496" y="406"/>
                    </a:lnTo>
                    <a:lnTo>
                      <a:pt x="496" y="406"/>
                    </a:lnTo>
                    <a:lnTo>
                      <a:pt x="496" y="406"/>
                    </a:lnTo>
                    <a:lnTo>
                      <a:pt x="498" y="406"/>
                    </a:lnTo>
                    <a:lnTo>
                      <a:pt x="500" y="404"/>
                    </a:lnTo>
                    <a:lnTo>
                      <a:pt x="502" y="404"/>
                    </a:lnTo>
                    <a:lnTo>
                      <a:pt x="506" y="402"/>
                    </a:lnTo>
                    <a:lnTo>
                      <a:pt x="510" y="400"/>
                    </a:lnTo>
                    <a:lnTo>
                      <a:pt x="512" y="400"/>
                    </a:lnTo>
                    <a:lnTo>
                      <a:pt x="512" y="400"/>
                    </a:lnTo>
                    <a:lnTo>
                      <a:pt x="512" y="400"/>
                    </a:lnTo>
                    <a:lnTo>
                      <a:pt x="512" y="404"/>
                    </a:lnTo>
                    <a:lnTo>
                      <a:pt x="510" y="408"/>
                    </a:lnTo>
                    <a:lnTo>
                      <a:pt x="510" y="410"/>
                    </a:lnTo>
                    <a:lnTo>
                      <a:pt x="510" y="414"/>
                    </a:lnTo>
                    <a:lnTo>
                      <a:pt x="510" y="414"/>
                    </a:lnTo>
                    <a:lnTo>
                      <a:pt x="510" y="414"/>
                    </a:lnTo>
                    <a:lnTo>
                      <a:pt x="510" y="418"/>
                    </a:lnTo>
                    <a:lnTo>
                      <a:pt x="510" y="418"/>
                    </a:lnTo>
                    <a:lnTo>
                      <a:pt x="510" y="418"/>
                    </a:lnTo>
                    <a:lnTo>
                      <a:pt x="512" y="420"/>
                    </a:lnTo>
                    <a:lnTo>
                      <a:pt x="512" y="420"/>
                    </a:lnTo>
                    <a:lnTo>
                      <a:pt x="514" y="422"/>
                    </a:lnTo>
                    <a:lnTo>
                      <a:pt x="516" y="422"/>
                    </a:lnTo>
                    <a:lnTo>
                      <a:pt x="516" y="422"/>
                    </a:lnTo>
                    <a:lnTo>
                      <a:pt x="516" y="422"/>
                    </a:lnTo>
                    <a:lnTo>
                      <a:pt x="518" y="422"/>
                    </a:lnTo>
                    <a:lnTo>
                      <a:pt x="520" y="422"/>
                    </a:lnTo>
                    <a:lnTo>
                      <a:pt x="522" y="422"/>
                    </a:lnTo>
                    <a:lnTo>
                      <a:pt x="526" y="420"/>
                    </a:lnTo>
                    <a:lnTo>
                      <a:pt x="532" y="418"/>
                    </a:lnTo>
                    <a:lnTo>
                      <a:pt x="536" y="418"/>
                    </a:lnTo>
                    <a:lnTo>
                      <a:pt x="538" y="418"/>
                    </a:lnTo>
                    <a:lnTo>
                      <a:pt x="540" y="418"/>
                    </a:lnTo>
                    <a:lnTo>
                      <a:pt x="542" y="418"/>
                    </a:lnTo>
                    <a:lnTo>
                      <a:pt x="546" y="420"/>
                    </a:lnTo>
                    <a:lnTo>
                      <a:pt x="548" y="422"/>
                    </a:lnTo>
                    <a:lnTo>
                      <a:pt x="550" y="422"/>
                    </a:lnTo>
                    <a:lnTo>
                      <a:pt x="550" y="422"/>
                    </a:lnTo>
                    <a:lnTo>
                      <a:pt x="550" y="422"/>
                    </a:lnTo>
                    <a:lnTo>
                      <a:pt x="552" y="424"/>
                    </a:lnTo>
                    <a:lnTo>
                      <a:pt x="552" y="424"/>
                    </a:lnTo>
                    <a:lnTo>
                      <a:pt x="552" y="424"/>
                    </a:lnTo>
                    <a:lnTo>
                      <a:pt x="554" y="424"/>
                    </a:lnTo>
                    <a:lnTo>
                      <a:pt x="554" y="424"/>
                    </a:lnTo>
                    <a:lnTo>
                      <a:pt x="556" y="422"/>
                    </a:lnTo>
                    <a:lnTo>
                      <a:pt x="560" y="422"/>
                    </a:lnTo>
                    <a:lnTo>
                      <a:pt x="560" y="422"/>
                    </a:lnTo>
                    <a:lnTo>
                      <a:pt x="560" y="424"/>
                    </a:lnTo>
                    <a:lnTo>
                      <a:pt x="560" y="426"/>
                    </a:lnTo>
                    <a:lnTo>
                      <a:pt x="560" y="428"/>
                    </a:lnTo>
                    <a:lnTo>
                      <a:pt x="560" y="430"/>
                    </a:lnTo>
                    <a:lnTo>
                      <a:pt x="560" y="430"/>
                    </a:lnTo>
                    <a:lnTo>
                      <a:pt x="560" y="430"/>
                    </a:lnTo>
                    <a:lnTo>
                      <a:pt x="560" y="434"/>
                    </a:lnTo>
                    <a:lnTo>
                      <a:pt x="564" y="436"/>
                    </a:lnTo>
                    <a:lnTo>
                      <a:pt x="568" y="438"/>
                    </a:lnTo>
                    <a:lnTo>
                      <a:pt x="576" y="444"/>
                    </a:lnTo>
                    <a:lnTo>
                      <a:pt x="578" y="448"/>
                    </a:lnTo>
                    <a:lnTo>
                      <a:pt x="582" y="452"/>
                    </a:lnTo>
                    <a:lnTo>
                      <a:pt x="584" y="456"/>
                    </a:lnTo>
                    <a:lnTo>
                      <a:pt x="586" y="458"/>
                    </a:lnTo>
                    <a:lnTo>
                      <a:pt x="586" y="458"/>
                    </a:lnTo>
                    <a:lnTo>
                      <a:pt x="588" y="460"/>
                    </a:lnTo>
                    <a:lnTo>
                      <a:pt x="590" y="462"/>
                    </a:lnTo>
                    <a:lnTo>
                      <a:pt x="590" y="462"/>
                    </a:lnTo>
                    <a:lnTo>
                      <a:pt x="592" y="464"/>
                    </a:lnTo>
                    <a:lnTo>
                      <a:pt x="594" y="466"/>
                    </a:lnTo>
                    <a:lnTo>
                      <a:pt x="594" y="466"/>
                    </a:lnTo>
                    <a:lnTo>
                      <a:pt x="598" y="466"/>
                    </a:lnTo>
                    <a:lnTo>
                      <a:pt x="600" y="466"/>
                    </a:lnTo>
                    <a:lnTo>
                      <a:pt x="600" y="466"/>
                    </a:lnTo>
                    <a:lnTo>
                      <a:pt x="600" y="466"/>
                    </a:lnTo>
                    <a:lnTo>
                      <a:pt x="598" y="468"/>
                    </a:lnTo>
                    <a:lnTo>
                      <a:pt x="598" y="470"/>
                    </a:lnTo>
                    <a:lnTo>
                      <a:pt x="598" y="470"/>
                    </a:lnTo>
                    <a:lnTo>
                      <a:pt x="598" y="470"/>
                    </a:lnTo>
                    <a:lnTo>
                      <a:pt x="598" y="474"/>
                    </a:lnTo>
                    <a:lnTo>
                      <a:pt x="600" y="478"/>
                    </a:lnTo>
                    <a:lnTo>
                      <a:pt x="600" y="478"/>
                    </a:lnTo>
                    <a:lnTo>
                      <a:pt x="602" y="478"/>
                    </a:lnTo>
                    <a:lnTo>
                      <a:pt x="602" y="480"/>
                    </a:lnTo>
                    <a:lnTo>
                      <a:pt x="604" y="482"/>
                    </a:lnTo>
                    <a:lnTo>
                      <a:pt x="606" y="486"/>
                    </a:lnTo>
                    <a:lnTo>
                      <a:pt x="606" y="486"/>
                    </a:lnTo>
                    <a:lnTo>
                      <a:pt x="606" y="486"/>
                    </a:lnTo>
                    <a:lnTo>
                      <a:pt x="610" y="490"/>
                    </a:lnTo>
                    <a:lnTo>
                      <a:pt x="612" y="494"/>
                    </a:lnTo>
                    <a:lnTo>
                      <a:pt x="614" y="498"/>
                    </a:lnTo>
                    <a:lnTo>
                      <a:pt x="614" y="502"/>
                    </a:lnTo>
                    <a:lnTo>
                      <a:pt x="614" y="502"/>
                    </a:lnTo>
                    <a:lnTo>
                      <a:pt x="614" y="504"/>
                    </a:lnTo>
                    <a:lnTo>
                      <a:pt x="614" y="504"/>
                    </a:lnTo>
                    <a:lnTo>
                      <a:pt x="614" y="504"/>
                    </a:lnTo>
                    <a:lnTo>
                      <a:pt x="616" y="508"/>
                    </a:lnTo>
                    <a:lnTo>
                      <a:pt x="618" y="508"/>
                    </a:lnTo>
                    <a:lnTo>
                      <a:pt x="618" y="508"/>
                    </a:lnTo>
                    <a:lnTo>
                      <a:pt x="618" y="508"/>
                    </a:lnTo>
                    <a:lnTo>
                      <a:pt x="618" y="510"/>
                    </a:lnTo>
                    <a:lnTo>
                      <a:pt x="618" y="510"/>
                    </a:lnTo>
                    <a:lnTo>
                      <a:pt x="620" y="510"/>
                    </a:lnTo>
                    <a:lnTo>
                      <a:pt x="620" y="510"/>
                    </a:lnTo>
                    <a:lnTo>
                      <a:pt x="620" y="510"/>
                    </a:lnTo>
                    <a:lnTo>
                      <a:pt x="622" y="510"/>
                    </a:lnTo>
                    <a:lnTo>
                      <a:pt x="622" y="510"/>
                    </a:lnTo>
                    <a:lnTo>
                      <a:pt x="622" y="510"/>
                    </a:lnTo>
                    <a:lnTo>
                      <a:pt x="624" y="510"/>
                    </a:lnTo>
                    <a:lnTo>
                      <a:pt x="624" y="510"/>
                    </a:lnTo>
                    <a:lnTo>
                      <a:pt x="624" y="510"/>
                    </a:lnTo>
                    <a:lnTo>
                      <a:pt x="626" y="508"/>
                    </a:lnTo>
                    <a:lnTo>
                      <a:pt x="626" y="508"/>
                    </a:lnTo>
                    <a:lnTo>
                      <a:pt x="626" y="508"/>
                    </a:lnTo>
                    <a:lnTo>
                      <a:pt x="626" y="506"/>
                    </a:lnTo>
                    <a:lnTo>
                      <a:pt x="628" y="504"/>
                    </a:lnTo>
                    <a:lnTo>
                      <a:pt x="628" y="504"/>
                    </a:lnTo>
                    <a:lnTo>
                      <a:pt x="628" y="502"/>
                    </a:lnTo>
                    <a:lnTo>
                      <a:pt x="628" y="500"/>
                    </a:lnTo>
                    <a:lnTo>
                      <a:pt x="628" y="500"/>
                    </a:lnTo>
                    <a:lnTo>
                      <a:pt x="628" y="498"/>
                    </a:lnTo>
                    <a:lnTo>
                      <a:pt x="626" y="496"/>
                    </a:lnTo>
                    <a:lnTo>
                      <a:pt x="626" y="494"/>
                    </a:lnTo>
                    <a:lnTo>
                      <a:pt x="624" y="492"/>
                    </a:lnTo>
                    <a:lnTo>
                      <a:pt x="624" y="490"/>
                    </a:lnTo>
                    <a:lnTo>
                      <a:pt x="626" y="490"/>
                    </a:lnTo>
                    <a:lnTo>
                      <a:pt x="626" y="490"/>
                    </a:lnTo>
                    <a:lnTo>
                      <a:pt x="628" y="490"/>
                    </a:lnTo>
                    <a:lnTo>
                      <a:pt x="630" y="490"/>
                    </a:lnTo>
                    <a:lnTo>
                      <a:pt x="630" y="490"/>
                    </a:lnTo>
                    <a:lnTo>
                      <a:pt x="630" y="488"/>
                    </a:lnTo>
                    <a:lnTo>
                      <a:pt x="632" y="486"/>
                    </a:lnTo>
                    <a:lnTo>
                      <a:pt x="632" y="486"/>
                    </a:lnTo>
                    <a:lnTo>
                      <a:pt x="632" y="484"/>
                    </a:lnTo>
                    <a:lnTo>
                      <a:pt x="632" y="482"/>
                    </a:lnTo>
                    <a:lnTo>
                      <a:pt x="632" y="482"/>
                    </a:lnTo>
                    <a:lnTo>
                      <a:pt x="632" y="482"/>
                    </a:lnTo>
                    <a:lnTo>
                      <a:pt x="632" y="480"/>
                    </a:lnTo>
                    <a:lnTo>
                      <a:pt x="630" y="478"/>
                    </a:lnTo>
                    <a:lnTo>
                      <a:pt x="630" y="474"/>
                    </a:lnTo>
                    <a:lnTo>
                      <a:pt x="630" y="472"/>
                    </a:lnTo>
                    <a:lnTo>
                      <a:pt x="630" y="470"/>
                    </a:lnTo>
                    <a:lnTo>
                      <a:pt x="630" y="472"/>
                    </a:lnTo>
                    <a:lnTo>
                      <a:pt x="632" y="472"/>
                    </a:lnTo>
                    <a:lnTo>
                      <a:pt x="634" y="476"/>
                    </a:lnTo>
                    <a:lnTo>
                      <a:pt x="634" y="482"/>
                    </a:lnTo>
                    <a:lnTo>
                      <a:pt x="636" y="488"/>
                    </a:lnTo>
                    <a:lnTo>
                      <a:pt x="636" y="488"/>
                    </a:lnTo>
                    <a:lnTo>
                      <a:pt x="638" y="490"/>
                    </a:lnTo>
                    <a:lnTo>
                      <a:pt x="640" y="490"/>
                    </a:lnTo>
                    <a:lnTo>
                      <a:pt x="644" y="492"/>
                    </a:lnTo>
                    <a:lnTo>
                      <a:pt x="644" y="494"/>
                    </a:lnTo>
                    <a:lnTo>
                      <a:pt x="644" y="494"/>
                    </a:lnTo>
                    <a:lnTo>
                      <a:pt x="644" y="492"/>
                    </a:lnTo>
                    <a:lnTo>
                      <a:pt x="640" y="492"/>
                    </a:lnTo>
                    <a:lnTo>
                      <a:pt x="638" y="492"/>
                    </a:lnTo>
                    <a:lnTo>
                      <a:pt x="638" y="492"/>
                    </a:lnTo>
                    <a:lnTo>
                      <a:pt x="638" y="492"/>
                    </a:lnTo>
                    <a:lnTo>
                      <a:pt x="634" y="492"/>
                    </a:lnTo>
                    <a:lnTo>
                      <a:pt x="634" y="492"/>
                    </a:lnTo>
                    <a:lnTo>
                      <a:pt x="634" y="492"/>
                    </a:lnTo>
                    <a:lnTo>
                      <a:pt x="632" y="492"/>
                    </a:lnTo>
                    <a:lnTo>
                      <a:pt x="632" y="492"/>
                    </a:lnTo>
                    <a:lnTo>
                      <a:pt x="632" y="492"/>
                    </a:lnTo>
                    <a:lnTo>
                      <a:pt x="630" y="494"/>
                    </a:lnTo>
                    <a:lnTo>
                      <a:pt x="630" y="494"/>
                    </a:lnTo>
                    <a:lnTo>
                      <a:pt x="630" y="494"/>
                    </a:lnTo>
                    <a:lnTo>
                      <a:pt x="628" y="496"/>
                    </a:lnTo>
                    <a:lnTo>
                      <a:pt x="628" y="496"/>
                    </a:lnTo>
                    <a:lnTo>
                      <a:pt x="628" y="496"/>
                    </a:lnTo>
                    <a:lnTo>
                      <a:pt x="628" y="498"/>
                    </a:lnTo>
                    <a:lnTo>
                      <a:pt x="628" y="498"/>
                    </a:lnTo>
                    <a:lnTo>
                      <a:pt x="628" y="498"/>
                    </a:lnTo>
                    <a:lnTo>
                      <a:pt x="628" y="500"/>
                    </a:lnTo>
                    <a:lnTo>
                      <a:pt x="630" y="504"/>
                    </a:lnTo>
                    <a:lnTo>
                      <a:pt x="630" y="504"/>
                    </a:lnTo>
                    <a:lnTo>
                      <a:pt x="632" y="506"/>
                    </a:lnTo>
                    <a:lnTo>
                      <a:pt x="632" y="506"/>
                    </a:lnTo>
                    <a:lnTo>
                      <a:pt x="634" y="506"/>
                    </a:lnTo>
                    <a:lnTo>
                      <a:pt x="634" y="508"/>
                    </a:lnTo>
                    <a:lnTo>
                      <a:pt x="636" y="508"/>
                    </a:lnTo>
                    <a:lnTo>
                      <a:pt x="640" y="508"/>
                    </a:lnTo>
                    <a:lnTo>
                      <a:pt x="642" y="510"/>
                    </a:lnTo>
                    <a:lnTo>
                      <a:pt x="642" y="510"/>
                    </a:lnTo>
                    <a:lnTo>
                      <a:pt x="644" y="510"/>
                    </a:lnTo>
                    <a:lnTo>
                      <a:pt x="644" y="510"/>
                    </a:lnTo>
                    <a:lnTo>
                      <a:pt x="644" y="510"/>
                    </a:lnTo>
                    <a:lnTo>
                      <a:pt x="644" y="510"/>
                    </a:lnTo>
                    <a:lnTo>
                      <a:pt x="644" y="512"/>
                    </a:lnTo>
                    <a:lnTo>
                      <a:pt x="644" y="512"/>
                    </a:lnTo>
                    <a:lnTo>
                      <a:pt x="644" y="512"/>
                    </a:lnTo>
                    <a:lnTo>
                      <a:pt x="646" y="512"/>
                    </a:lnTo>
                    <a:lnTo>
                      <a:pt x="644" y="512"/>
                    </a:lnTo>
                    <a:lnTo>
                      <a:pt x="644" y="512"/>
                    </a:lnTo>
                    <a:lnTo>
                      <a:pt x="642" y="512"/>
                    </a:lnTo>
                    <a:lnTo>
                      <a:pt x="642" y="512"/>
                    </a:lnTo>
                    <a:lnTo>
                      <a:pt x="640" y="514"/>
                    </a:lnTo>
                    <a:lnTo>
                      <a:pt x="640" y="518"/>
                    </a:lnTo>
                    <a:lnTo>
                      <a:pt x="640" y="520"/>
                    </a:lnTo>
                    <a:lnTo>
                      <a:pt x="640" y="522"/>
                    </a:lnTo>
                    <a:lnTo>
                      <a:pt x="640" y="524"/>
                    </a:lnTo>
                    <a:lnTo>
                      <a:pt x="640" y="528"/>
                    </a:lnTo>
                    <a:lnTo>
                      <a:pt x="640" y="530"/>
                    </a:lnTo>
                    <a:lnTo>
                      <a:pt x="640" y="530"/>
                    </a:lnTo>
                    <a:lnTo>
                      <a:pt x="640" y="532"/>
                    </a:lnTo>
                    <a:lnTo>
                      <a:pt x="640" y="534"/>
                    </a:lnTo>
                    <a:lnTo>
                      <a:pt x="640" y="536"/>
                    </a:lnTo>
                    <a:lnTo>
                      <a:pt x="640" y="538"/>
                    </a:lnTo>
                    <a:lnTo>
                      <a:pt x="642" y="540"/>
                    </a:lnTo>
                    <a:lnTo>
                      <a:pt x="642" y="540"/>
                    </a:lnTo>
                    <a:lnTo>
                      <a:pt x="642" y="542"/>
                    </a:lnTo>
                    <a:lnTo>
                      <a:pt x="644" y="544"/>
                    </a:lnTo>
                    <a:lnTo>
                      <a:pt x="644" y="544"/>
                    </a:lnTo>
                    <a:lnTo>
                      <a:pt x="644" y="544"/>
                    </a:lnTo>
                    <a:lnTo>
                      <a:pt x="646" y="546"/>
                    </a:lnTo>
                    <a:lnTo>
                      <a:pt x="646" y="546"/>
                    </a:lnTo>
                    <a:lnTo>
                      <a:pt x="646" y="546"/>
                    </a:lnTo>
                    <a:lnTo>
                      <a:pt x="648" y="548"/>
                    </a:lnTo>
                    <a:lnTo>
                      <a:pt x="648" y="548"/>
                    </a:lnTo>
                    <a:lnTo>
                      <a:pt x="648" y="548"/>
                    </a:lnTo>
                    <a:lnTo>
                      <a:pt x="650" y="548"/>
                    </a:lnTo>
                    <a:lnTo>
                      <a:pt x="650" y="548"/>
                    </a:lnTo>
                    <a:lnTo>
                      <a:pt x="652" y="548"/>
                    </a:lnTo>
                    <a:lnTo>
                      <a:pt x="654" y="546"/>
                    </a:lnTo>
                    <a:lnTo>
                      <a:pt x="656" y="546"/>
                    </a:lnTo>
                    <a:lnTo>
                      <a:pt x="656" y="546"/>
                    </a:lnTo>
                    <a:lnTo>
                      <a:pt x="658" y="544"/>
                    </a:lnTo>
                    <a:lnTo>
                      <a:pt x="662" y="542"/>
                    </a:lnTo>
                    <a:lnTo>
                      <a:pt x="664" y="542"/>
                    </a:lnTo>
                    <a:lnTo>
                      <a:pt x="666" y="540"/>
                    </a:lnTo>
                    <a:lnTo>
                      <a:pt x="668" y="540"/>
                    </a:lnTo>
                    <a:lnTo>
                      <a:pt x="668" y="540"/>
                    </a:lnTo>
                    <a:lnTo>
                      <a:pt x="670" y="542"/>
                    </a:lnTo>
                    <a:lnTo>
                      <a:pt x="672" y="542"/>
                    </a:lnTo>
                    <a:lnTo>
                      <a:pt x="672" y="542"/>
                    </a:lnTo>
                    <a:lnTo>
                      <a:pt x="674" y="542"/>
                    </a:lnTo>
                    <a:lnTo>
                      <a:pt x="674" y="542"/>
                    </a:lnTo>
                    <a:lnTo>
                      <a:pt x="674" y="542"/>
                    </a:lnTo>
                    <a:lnTo>
                      <a:pt x="676" y="542"/>
                    </a:lnTo>
                    <a:lnTo>
                      <a:pt x="678" y="544"/>
                    </a:lnTo>
                    <a:lnTo>
                      <a:pt x="678" y="544"/>
                    </a:lnTo>
                    <a:lnTo>
                      <a:pt x="678" y="544"/>
                    </a:lnTo>
                    <a:lnTo>
                      <a:pt x="680" y="546"/>
                    </a:lnTo>
                    <a:lnTo>
                      <a:pt x="680" y="546"/>
                    </a:lnTo>
                    <a:lnTo>
                      <a:pt x="682" y="546"/>
                    </a:lnTo>
                    <a:lnTo>
                      <a:pt x="682" y="546"/>
                    </a:lnTo>
                    <a:lnTo>
                      <a:pt x="682" y="546"/>
                    </a:lnTo>
                    <a:lnTo>
                      <a:pt x="684" y="544"/>
                    </a:lnTo>
                    <a:lnTo>
                      <a:pt x="686" y="544"/>
                    </a:lnTo>
                    <a:lnTo>
                      <a:pt x="686" y="544"/>
                    </a:lnTo>
                    <a:lnTo>
                      <a:pt x="686" y="542"/>
                    </a:lnTo>
                    <a:lnTo>
                      <a:pt x="686" y="540"/>
                    </a:lnTo>
                    <a:lnTo>
                      <a:pt x="688" y="538"/>
                    </a:lnTo>
                    <a:lnTo>
                      <a:pt x="688" y="534"/>
                    </a:lnTo>
                    <a:lnTo>
                      <a:pt x="688" y="530"/>
                    </a:lnTo>
                    <a:lnTo>
                      <a:pt x="688" y="524"/>
                    </a:lnTo>
                    <a:lnTo>
                      <a:pt x="688" y="520"/>
                    </a:lnTo>
                    <a:lnTo>
                      <a:pt x="688" y="520"/>
                    </a:lnTo>
                    <a:lnTo>
                      <a:pt x="688" y="520"/>
                    </a:lnTo>
                    <a:lnTo>
                      <a:pt x="688" y="518"/>
                    </a:lnTo>
                    <a:lnTo>
                      <a:pt x="688" y="518"/>
                    </a:lnTo>
                    <a:lnTo>
                      <a:pt x="688" y="518"/>
                    </a:lnTo>
                    <a:lnTo>
                      <a:pt x="688" y="518"/>
                    </a:lnTo>
                    <a:close/>
                    <a:moveTo>
                      <a:pt x="294" y="54"/>
                    </a:moveTo>
                    <a:lnTo>
                      <a:pt x="294" y="54"/>
                    </a:lnTo>
                    <a:lnTo>
                      <a:pt x="294" y="54"/>
                    </a:lnTo>
                    <a:lnTo>
                      <a:pt x="294" y="54"/>
                    </a:lnTo>
                    <a:close/>
                    <a:moveTo>
                      <a:pt x="606" y="460"/>
                    </a:moveTo>
                    <a:lnTo>
                      <a:pt x="604" y="462"/>
                    </a:lnTo>
                    <a:lnTo>
                      <a:pt x="604" y="462"/>
                    </a:lnTo>
                    <a:lnTo>
                      <a:pt x="604" y="462"/>
                    </a:lnTo>
                    <a:lnTo>
                      <a:pt x="604" y="462"/>
                    </a:lnTo>
                    <a:lnTo>
                      <a:pt x="604" y="460"/>
                    </a:lnTo>
                    <a:lnTo>
                      <a:pt x="604" y="458"/>
                    </a:lnTo>
                    <a:lnTo>
                      <a:pt x="604" y="458"/>
                    </a:lnTo>
                    <a:lnTo>
                      <a:pt x="606" y="458"/>
                    </a:lnTo>
                    <a:lnTo>
                      <a:pt x="608" y="460"/>
                    </a:lnTo>
                    <a:lnTo>
                      <a:pt x="606" y="460"/>
                    </a:lnTo>
                    <a:close/>
                    <a:moveTo>
                      <a:pt x="654" y="516"/>
                    </a:moveTo>
                    <a:lnTo>
                      <a:pt x="654" y="516"/>
                    </a:lnTo>
                    <a:lnTo>
                      <a:pt x="652" y="516"/>
                    </a:lnTo>
                    <a:lnTo>
                      <a:pt x="650" y="514"/>
                    </a:lnTo>
                    <a:lnTo>
                      <a:pt x="648" y="514"/>
                    </a:lnTo>
                    <a:lnTo>
                      <a:pt x="648" y="514"/>
                    </a:lnTo>
                    <a:lnTo>
                      <a:pt x="648" y="514"/>
                    </a:lnTo>
                    <a:lnTo>
                      <a:pt x="650" y="514"/>
                    </a:lnTo>
                    <a:lnTo>
                      <a:pt x="650" y="514"/>
                    </a:lnTo>
                    <a:lnTo>
                      <a:pt x="650" y="514"/>
                    </a:lnTo>
                    <a:lnTo>
                      <a:pt x="650" y="514"/>
                    </a:lnTo>
                    <a:lnTo>
                      <a:pt x="652" y="514"/>
                    </a:lnTo>
                    <a:lnTo>
                      <a:pt x="654" y="516"/>
                    </a:lnTo>
                    <a:lnTo>
                      <a:pt x="654" y="516"/>
                    </a:lnTo>
                    <a:lnTo>
                      <a:pt x="654" y="51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US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82" name="Freeform 24">
                <a:extLst>
                  <a:ext uri="{FF2B5EF4-FFF2-40B4-BE49-F238E27FC236}">
                    <a16:creationId xmlns:a16="http://schemas.microsoft.com/office/drawing/2014/main" id="{528AC150-C019-48F0-A436-2B156A32B5A9}"/>
                  </a:ext>
                </a:extLst>
              </p:cNvPr>
              <p:cNvSpPr>
                <a:spLocks/>
              </p:cNvSpPr>
              <p:nvPr>
                <p:custDataLst>
                  <p:tags r:id="rId167"/>
                </p:custDataLst>
              </p:nvPr>
            </p:nvSpPr>
            <p:spPr bwMode="gray">
              <a:xfrm>
                <a:off x="2814828" y="4935758"/>
                <a:ext cx="397587" cy="977647"/>
              </a:xfrm>
              <a:custGeom>
                <a:avLst/>
                <a:gdLst/>
                <a:ahLst/>
                <a:cxnLst/>
                <a:rect l="l" t="t" r="r" b="b"/>
                <a:pathLst>
                  <a:path w="426179" h="1007062">
                    <a:moveTo>
                      <a:pt x="295614" y="854662"/>
                    </a:moveTo>
                    <a:cubicBezTo>
                      <a:pt x="328952" y="856209"/>
                      <a:pt x="348002" y="856209"/>
                      <a:pt x="376577" y="862396"/>
                    </a:cubicBezTo>
                    <a:cubicBezTo>
                      <a:pt x="371815" y="876317"/>
                      <a:pt x="363877" y="879411"/>
                      <a:pt x="349590" y="882505"/>
                    </a:cubicBezTo>
                    <a:cubicBezTo>
                      <a:pt x="341652" y="896426"/>
                      <a:pt x="336890" y="897973"/>
                      <a:pt x="321014" y="901066"/>
                    </a:cubicBezTo>
                    <a:cubicBezTo>
                      <a:pt x="303552" y="914987"/>
                      <a:pt x="297202" y="897973"/>
                      <a:pt x="278152" y="894879"/>
                    </a:cubicBezTo>
                    <a:cubicBezTo>
                      <a:pt x="270214" y="882505"/>
                      <a:pt x="274977" y="874771"/>
                      <a:pt x="287677" y="868583"/>
                    </a:cubicBezTo>
                    <a:cubicBezTo>
                      <a:pt x="294027" y="860849"/>
                      <a:pt x="290852" y="865490"/>
                      <a:pt x="295614" y="854662"/>
                    </a:cubicBezTo>
                    <a:close/>
                    <a:moveTo>
                      <a:pt x="167429" y="363"/>
                    </a:moveTo>
                    <a:cubicBezTo>
                      <a:pt x="170608" y="1534"/>
                      <a:pt x="180528" y="5044"/>
                      <a:pt x="225759" y="3518"/>
                    </a:cubicBezTo>
                    <a:cubicBezTo>
                      <a:pt x="233704" y="8199"/>
                      <a:pt x="252747" y="9725"/>
                      <a:pt x="259094" y="17561"/>
                    </a:cubicBezTo>
                    <a:cubicBezTo>
                      <a:pt x="274984" y="23768"/>
                      <a:pt x="306722" y="40863"/>
                      <a:pt x="314667" y="53380"/>
                    </a:cubicBezTo>
                    <a:cubicBezTo>
                      <a:pt x="333709" y="67422"/>
                      <a:pt x="349599" y="78310"/>
                      <a:pt x="363892" y="97034"/>
                    </a:cubicBezTo>
                    <a:cubicBezTo>
                      <a:pt x="362294" y="106396"/>
                      <a:pt x="359099" y="110975"/>
                      <a:pt x="354349" y="118810"/>
                    </a:cubicBezTo>
                    <a:cubicBezTo>
                      <a:pt x="359099" y="126646"/>
                      <a:pt x="362294" y="129699"/>
                      <a:pt x="371794" y="132853"/>
                    </a:cubicBezTo>
                    <a:cubicBezTo>
                      <a:pt x="386086" y="134380"/>
                      <a:pt x="408324" y="140587"/>
                      <a:pt x="421019" y="134380"/>
                    </a:cubicBezTo>
                    <a:cubicBezTo>
                      <a:pt x="428964" y="137534"/>
                      <a:pt x="425769" y="145268"/>
                      <a:pt x="424214" y="151577"/>
                    </a:cubicBezTo>
                    <a:cubicBezTo>
                      <a:pt x="414671" y="156258"/>
                      <a:pt x="411519" y="160939"/>
                      <a:pt x="406726" y="170199"/>
                    </a:cubicBezTo>
                    <a:cubicBezTo>
                      <a:pt x="398781" y="176508"/>
                      <a:pt x="395629" y="181189"/>
                      <a:pt x="390879" y="188922"/>
                    </a:cubicBezTo>
                    <a:cubicBezTo>
                      <a:pt x="381336" y="196758"/>
                      <a:pt x="374989" y="206119"/>
                      <a:pt x="368642" y="217008"/>
                    </a:cubicBezTo>
                    <a:cubicBezTo>
                      <a:pt x="344806" y="234103"/>
                      <a:pt x="354349" y="287119"/>
                      <a:pt x="354349" y="302688"/>
                    </a:cubicBezTo>
                    <a:cubicBezTo>
                      <a:pt x="357544" y="316731"/>
                      <a:pt x="360696" y="327619"/>
                      <a:pt x="367044" y="340136"/>
                    </a:cubicBezTo>
                    <a:cubicBezTo>
                      <a:pt x="387684" y="355705"/>
                      <a:pt x="382934" y="358757"/>
                      <a:pt x="387684" y="386843"/>
                    </a:cubicBezTo>
                    <a:cubicBezTo>
                      <a:pt x="386086" y="397731"/>
                      <a:pt x="378184" y="397731"/>
                      <a:pt x="376587" y="408619"/>
                    </a:cubicBezTo>
                    <a:cubicBezTo>
                      <a:pt x="367044" y="427343"/>
                      <a:pt x="352751" y="446066"/>
                      <a:pt x="333709" y="455428"/>
                    </a:cubicBezTo>
                    <a:cubicBezTo>
                      <a:pt x="325764" y="456955"/>
                      <a:pt x="270234" y="469471"/>
                      <a:pt x="268637" y="470997"/>
                    </a:cubicBezTo>
                    <a:cubicBezTo>
                      <a:pt x="257496" y="478833"/>
                      <a:pt x="260692" y="494402"/>
                      <a:pt x="257496" y="506816"/>
                    </a:cubicBezTo>
                    <a:cubicBezTo>
                      <a:pt x="246399" y="508445"/>
                      <a:pt x="244801" y="513024"/>
                      <a:pt x="240052" y="522385"/>
                    </a:cubicBezTo>
                    <a:cubicBezTo>
                      <a:pt x="190827" y="525540"/>
                      <a:pt x="190827" y="519333"/>
                      <a:pt x="197174" y="553625"/>
                    </a:cubicBezTo>
                    <a:cubicBezTo>
                      <a:pt x="217814" y="555152"/>
                      <a:pt x="228954" y="559833"/>
                      <a:pt x="224161" y="581609"/>
                    </a:cubicBezTo>
                    <a:cubicBezTo>
                      <a:pt x="198772" y="583237"/>
                      <a:pt x="187674" y="580083"/>
                      <a:pt x="192424" y="606540"/>
                    </a:cubicBezTo>
                    <a:cubicBezTo>
                      <a:pt x="190827" y="617530"/>
                      <a:pt x="187674" y="623737"/>
                      <a:pt x="182881" y="633099"/>
                    </a:cubicBezTo>
                    <a:cubicBezTo>
                      <a:pt x="171784" y="640833"/>
                      <a:pt x="173382" y="650194"/>
                      <a:pt x="168632" y="661083"/>
                    </a:cubicBezTo>
                    <a:cubicBezTo>
                      <a:pt x="136852" y="662711"/>
                      <a:pt x="136852" y="658030"/>
                      <a:pt x="133700" y="686013"/>
                    </a:cubicBezTo>
                    <a:cubicBezTo>
                      <a:pt x="140047" y="695375"/>
                      <a:pt x="144797" y="706263"/>
                      <a:pt x="154340" y="712572"/>
                    </a:cubicBezTo>
                    <a:cubicBezTo>
                      <a:pt x="173382" y="715625"/>
                      <a:pt x="171784" y="723461"/>
                      <a:pt x="176534" y="740556"/>
                    </a:cubicBezTo>
                    <a:cubicBezTo>
                      <a:pt x="171784" y="746865"/>
                      <a:pt x="170187" y="754599"/>
                      <a:pt x="163839" y="760806"/>
                    </a:cubicBezTo>
                    <a:cubicBezTo>
                      <a:pt x="149547" y="774849"/>
                      <a:pt x="138449" y="776477"/>
                      <a:pt x="133700" y="796727"/>
                    </a:cubicBezTo>
                    <a:cubicBezTo>
                      <a:pt x="140047" y="806089"/>
                      <a:pt x="141645" y="810668"/>
                      <a:pt x="135297" y="820030"/>
                    </a:cubicBezTo>
                    <a:cubicBezTo>
                      <a:pt x="100365" y="821658"/>
                      <a:pt x="105114" y="823184"/>
                      <a:pt x="101919" y="859003"/>
                    </a:cubicBezTo>
                    <a:cubicBezTo>
                      <a:pt x="105114" y="866839"/>
                      <a:pt x="109864" y="871520"/>
                      <a:pt x="111462" y="880881"/>
                    </a:cubicBezTo>
                    <a:cubicBezTo>
                      <a:pt x="124157" y="897977"/>
                      <a:pt x="119407" y="910493"/>
                      <a:pt x="121005" y="933796"/>
                    </a:cubicBezTo>
                    <a:cubicBezTo>
                      <a:pt x="130504" y="936950"/>
                      <a:pt x="133700" y="940105"/>
                      <a:pt x="138449" y="947839"/>
                    </a:cubicBezTo>
                    <a:cubicBezTo>
                      <a:pt x="151144" y="957200"/>
                      <a:pt x="155894" y="971243"/>
                      <a:pt x="163839" y="983658"/>
                    </a:cubicBezTo>
                    <a:cubicBezTo>
                      <a:pt x="171784" y="988339"/>
                      <a:pt x="189272" y="999227"/>
                      <a:pt x="197174" y="1002381"/>
                    </a:cubicBezTo>
                    <a:lnTo>
                      <a:pt x="187674" y="1007062"/>
                    </a:lnTo>
                    <a:cubicBezTo>
                      <a:pt x="190827" y="986812"/>
                      <a:pt x="130504" y="991493"/>
                      <a:pt x="116212" y="988339"/>
                    </a:cubicBezTo>
                    <a:cubicBezTo>
                      <a:pt x="109065" y="986812"/>
                      <a:pt x="107090" y="987982"/>
                      <a:pt x="106102" y="988567"/>
                    </a:cubicBezTo>
                    <a:lnTo>
                      <a:pt x="101919" y="985286"/>
                    </a:lnTo>
                    <a:cubicBezTo>
                      <a:pt x="95572" y="977450"/>
                      <a:pt x="84474" y="955674"/>
                      <a:pt x="76529" y="943158"/>
                    </a:cubicBezTo>
                    <a:cubicBezTo>
                      <a:pt x="68584" y="930743"/>
                      <a:pt x="57487" y="921381"/>
                      <a:pt x="49542" y="913546"/>
                    </a:cubicBezTo>
                    <a:cubicBezTo>
                      <a:pt x="41597" y="905812"/>
                      <a:pt x="25750" y="904184"/>
                      <a:pt x="24152" y="894822"/>
                    </a:cubicBezTo>
                    <a:cubicBezTo>
                      <a:pt x="22554" y="885562"/>
                      <a:pt x="38445" y="866839"/>
                      <a:pt x="35249" y="854322"/>
                    </a:cubicBezTo>
                    <a:cubicBezTo>
                      <a:pt x="32097" y="841908"/>
                      <a:pt x="3512" y="835599"/>
                      <a:pt x="360" y="821658"/>
                    </a:cubicBezTo>
                    <a:cubicBezTo>
                      <a:pt x="-2836" y="807615"/>
                      <a:pt x="16207" y="790418"/>
                      <a:pt x="20957" y="773322"/>
                    </a:cubicBezTo>
                    <a:cubicBezTo>
                      <a:pt x="25750" y="756125"/>
                      <a:pt x="28902" y="742184"/>
                      <a:pt x="33695" y="718780"/>
                    </a:cubicBezTo>
                    <a:cubicBezTo>
                      <a:pt x="38445" y="695375"/>
                      <a:pt x="51139" y="656402"/>
                      <a:pt x="49542" y="629944"/>
                    </a:cubicBezTo>
                    <a:cubicBezTo>
                      <a:pt x="47944" y="603487"/>
                      <a:pt x="25750" y="578556"/>
                      <a:pt x="24152" y="559833"/>
                    </a:cubicBezTo>
                    <a:cubicBezTo>
                      <a:pt x="22554" y="541109"/>
                      <a:pt x="32097" y="538056"/>
                      <a:pt x="35249" y="520859"/>
                    </a:cubicBezTo>
                    <a:cubicBezTo>
                      <a:pt x="38445" y="503764"/>
                      <a:pt x="44792" y="481885"/>
                      <a:pt x="47944" y="460109"/>
                    </a:cubicBezTo>
                    <a:cubicBezTo>
                      <a:pt x="51139" y="438231"/>
                      <a:pt x="52737" y="411774"/>
                      <a:pt x="59085" y="389997"/>
                    </a:cubicBezTo>
                    <a:cubicBezTo>
                      <a:pt x="63834" y="377481"/>
                      <a:pt x="84474" y="341662"/>
                      <a:pt x="86072" y="324465"/>
                    </a:cubicBezTo>
                    <a:cubicBezTo>
                      <a:pt x="76529" y="302688"/>
                      <a:pt x="76529" y="270024"/>
                      <a:pt x="73377" y="244991"/>
                    </a:cubicBezTo>
                    <a:cubicBezTo>
                      <a:pt x="76529" y="218534"/>
                      <a:pt x="70182" y="185869"/>
                      <a:pt x="87670" y="165518"/>
                    </a:cubicBezTo>
                    <a:cubicBezTo>
                      <a:pt x="94017" y="149949"/>
                      <a:pt x="106712" y="154629"/>
                      <a:pt x="111462" y="146896"/>
                    </a:cubicBezTo>
                    <a:cubicBezTo>
                      <a:pt x="116212" y="139060"/>
                      <a:pt x="121005" y="128172"/>
                      <a:pt x="121005" y="118810"/>
                    </a:cubicBezTo>
                    <a:cubicBezTo>
                      <a:pt x="121005" y="109449"/>
                      <a:pt x="113060" y="101715"/>
                      <a:pt x="116212" y="90725"/>
                    </a:cubicBezTo>
                    <a:cubicBezTo>
                      <a:pt x="122559" y="76784"/>
                      <a:pt x="121005" y="67422"/>
                      <a:pt x="130504" y="54906"/>
                    </a:cubicBezTo>
                    <a:cubicBezTo>
                      <a:pt x="144797" y="51853"/>
                      <a:pt x="147992" y="23768"/>
                      <a:pt x="149547" y="11251"/>
                    </a:cubicBezTo>
                    <a:cubicBezTo>
                      <a:pt x="167812" y="363"/>
                      <a:pt x="164249" y="-807"/>
                      <a:pt x="167429" y="36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83" name="Freeform 21">
                <a:extLst>
                  <a:ext uri="{FF2B5EF4-FFF2-40B4-BE49-F238E27FC236}">
                    <a16:creationId xmlns:a16="http://schemas.microsoft.com/office/drawing/2014/main" id="{A0BBD422-FA11-4071-89AF-F643668306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96309" y="1579174"/>
                <a:ext cx="3803201" cy="1821617"/>
              </a:xfrm>
              <a:custGeom>
                <a:avLst/>
                <a:gdLst>
                  <a:gd name="T0" fmla="*/ 550 w 2568"/>
                  <a:gd name="T1" fmla="*/ 246 h 1182"/>
                  <a:gd name="T2" fmla="*/ 746 w 2568"/>
                  <a:gd name="T3" fmla="*/ 24 h 1182"/>
                  <a:gd name="T4" fmla="*/ 602 w 2568"/>
                  <a:gd name="T5" fmla="*/ 80 h 1182"/>
                  <a:gd name="T6" fmla="*/ 514 w 2568"/>
                  <a:gd name="T7" fmla="*/ 210 h 1182"/>
                  <a:gd name="T8" fmla="*/ 0 w 2568"/>
                  <a:gd name="T9" fmla="*/ 880 h 1182"/>
                  <a:gd name="T10" fmla="*/ 2398 w 2568"/>
                  <a:gd name="T11" fmla="*/ 330 h 1182"/>
                  <a:gd name="T12" fmla="*/ 2492 w 2568"/>
                  <a:gd name="T13" fmla="*/ 480 h 1182"/>
                  <a:gd name="T14" fmla="*/ 2246 w 2568"/>
                  <a:gd name="T15" fmla="*/ 404 h 1182"/>
                  <a:gd name="T16" fmla="*/ 2142 w 2568"/>
                  <a:gd name="T17" fmla="*/ 402 h 1182"/>
                  <a:gd name="T18" fmla="*/ 1968 w 2568"/>
                  <a:gd name="T19" fmla="*/ 284 h 1182"/>
                  <a:gd name="T20" fmla="*/ 1802 w 2568"/>
                  <a:gd name="T21" fmla="*/ 308 h 1182"/>
                  <a:gd name="T22" fmla="*/ 1658 w 2568"/>
                  <a:gd name="T23" fmla="*/ 286 h 1182"/>
                  <a:gd name="T24" fmla="*/ 1562 w 2568"/>
                  <a:gd name="T25" fmla="*/ 232 h 1182"/>
                  <a:gd name="T26" fmla="*/ 1420 w 2568"/>
                  <a:gd name="T27" fmla="*/ 182 h 1182"/>
                  <a:gd name="T28" fmla="*/ 1380 w 2568"/>
                  <a:gd name="T29" fmla="*/ 190 h 1182"/>
                  <a:gd name="T30" fmla="*/ 1344 w 2568"/>
                  <a:gd name="T31" fmla="*/ 206 h 1182"/>
                  <a:gd name="T32" fmla="*/ 1386 w 2568"/>
                  <a:gd name="T33" fmla="*/ 28 h 1182"/>
                  <a:gd name="T34" fmla="*/ 1232 w 2568"/>
                  <a:gd name="T35" fmla="*/ 36 h 1182"/>
                  <a:gd name="T36" fmla="*/ 1096 w 2568"/>
                  <a:gd name="T37" fmla="*/ 94 h 1182"/>
                  <a:gd name="T38" fmla="*/ 928 w 2568"/>
                  <a:gd name="T39" fmla="*/ 210 h 1182"/>
                  <a:gd name="T40" fmla="*/ 896 w 2568"/>
                  <a:gd name="T41" fmla="*/ 264 h 1182"/>
                  <a:gd name="T42" fmla="*/ 838 w 2568"/>
                  <a:gd name="T43" fmla="*/ 234 h 1182"/>
                  <a:gd name="T44" fmla="*/ 826 w 2568"/>
                  <a:gd name="T45" fmla="*/ 444 h 1182"/>
                  <a:gd name="T46" fmla="*/ 796 w 2568"/>
                  <a:gd name="T47" fmla="*/ 308 h 1182"/>
                  <a:gd name="T48" fmla="*/ 622 w 2568"/>
                  <a:gd name="T49" fmla="*/ 388 h 1182"/>
                  <a:gd name="T50" fmla="*/ 534 w 2568"/>
                  <a:gd name="T51" fmla="*/ 444 h 1182"/>
                  <a:gd name="T52" fmla="*/ 388 w 2568"/>
                  <a:gd name="T53" fmla="*/ 484 h 1182"/>
                  <a:gd name="T54" fmla="*/ 328 w 2568"/>
                  <a:gd name="T55" fmla="*/ 534 h 1182"/>
                  <a:gd name="T56" fmla="*/ 268 w 2568"/>
                  <a:gd name="T57" fmla="*/ 612 h 1182"/>
                  <a:gd name="T58" fmla="*/ 324 w 2568"/>
                  <a:gd name="T59" fmla="*/ 496 h 1182"/>
                  <a:gd name="T60" fmla="*/ 144 w 2568"/>
                  <a:gd name="T61" fmla="*/ 466 h 1182"/>
                  <a:gd name="T62" fmla="*/ 136 w 2568"/>
                  <a:gd name="T63" fmla="*/ 722 h 1182"/>
                  <a:gd name="T64" fmla="*/ 160 w 2568"/>
                  <a:gd name="T65" fmla="*/ 860 h 1182"/>
                  <a:gd name="T66" fmla="*/ 282 w 2568"/>
                  <a:gd name="T67" fmla="*/ 988 h 1182"/>
                  <a:gd name="T68" fmla="*/ 310 w 2568"/>
                  <a:gd name="T69" fmla="*/ 1134 h 1182"/>
                  <a:gd name="T70" fmla="*/ 432 w 2568"/>
                  <a:gd name="T71" fmla="*/ 1088 h 1182"/>
                  <a:gd name="T72" fmla="*/ 432 w 2568"/>
                  <a:gd name="T73" fmla="*/ 994 h 1182"/>
                  <a:gd name="T74" fmla="*/ 628 w 2568"/>
                  <a:gd name="T75" fmla="*/ 962 h 1182"/>
                  <a:gd name="T76" fmla="*/ 806 w 2568"/>
                  <a:gd name="T77" fmla="*/ 890 h 1182"/>
                  <a:gd name="T78" fmla="*/ 956 w 2568"/>
                  <a:gd name="T79" fmla="*/ 978 h 1182"/>
                  <a:gd name="T80" fmla="*/ 1188 w 2568"/>
                  <a:gd name="T81" fmla="*/ 998 h 1182"/>
                  <a:gd name="T82" fmla="*/ 1464 w 2568"/>
                  <a:gd name="T83" fmla="*/ 998 h 1182"/>
                  <a:gd name="T84" fmla="*/ 1658 w 2568"/>
                  <a:gd name="T85" fmla="*/ 1010 h 1182"/>
                  <a:gd name="T86" fmla="*/ 1690 w 2568"/>
                  <a:gd name="T87" fmla="*/ 1148 h 1182"/>
                  <a:gd name="T88" fmla="*/ 1796 w 2568"/>
                  <a:gd name="T89" fmla="*/ 890 h 1182"/>
                  <a:gd name="T90" fmla="*/ 1850 w 2568"/>
                  <a:gd name="T91" fmla="*/ 770 h 1182"/>
                  <a:gd name="T92" fmla="*/ 2000 w 2568"/>
                  <a:gd name="T93" fmla="*/ 766 h 1182"/>
                  <a:gd name="T94" fmla="*/ 2144 w 2568"/>
                  <a:gd name="T95" fmla="*/ 706 h 1182"/>
                  <a:gd name="T96" fmla="*/ 2048 w 2568"/>
                  <a:gd name="T97" fmla="*/ 878 h 1182"/>
                  <a:gd name="T98" fmla="*/ 2120 w 2568"/>
                  <a:gd name="T99" fmla="*/ 902 h 1182"/>
                  <a:gd name="T100" fmla="*/ 2156 w 2568"/>
                  <a:gd name="T101" fmla="*/ 794 h 1182"/>
                  <a:gd name="T102" fmla="*/ 2222 w 2568"/>
                  <a:gd name="T103" fmla="*/ 734 h 1182"/>
                  <a:gd name="T104" fmla="*/ 2420 w 2568"/>
                  <a:gd name="T105" fmla="*/ 640 h 1182"/>
                  <a:gd name="T106" fmla="*/ 2460 w 2568"/>
                  <a:gd name="T107" fmla="*/ 560 h 1182"/>
                  <a:gd name="T108" fmla="*/ 2566 w 2568"/>
                  <a:gd name="T109" fmla="*/ 538 h 1182"/>
                  <a:gd name="T110" fmla="*/ 856 w 2568"/>
                  <a:gd name="T111" fmla="*/ 302 h 1182"/>
                  <a:gd name="T112" fmla="*/ 1752 w 2568"/>
                  <a:gd name="T113" fmla="*/ 90 h 1182"/>
                  <a:gd name="T114" fmla="*/ 1762 w 2568"/>
                  <a:gd name="T115" fmla="*/ 200 h 1182"/>
                  <a:gd name="T116" fmla="*/ 1860 w 2568"/>
                  <a:gd name="T117" fmla="*/ 150 h 1182"/>
                  <a:gd name="T118" fmla="*/ 1830 w 2568"/>
                  <a:gd name="T119" fmla="*/ 68 h 1182"/>
                  <a:gd name="T120" fmla="*/ 1972 w 2568"/>
                  <a:gd name="T121" fmla="*/ 146 h 1182"/>
                  <a:gd name="T122" fmla="*/ 1870 w 2568"/>
                  <a:gd name="T123" fmla="*/ 202 h 1182"/>
                  <a:gd name="T124" fmla="*/ 2222 w 2568"/>
                  <a:gd name="T125" fmla="*/ 860 h 118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2568" h="1182">
                    <a:moveTo>
                      <a:pt x="486" y="312"/>
                    </a:moveTo>
                    <a:lnTo>
                      <a:pt x="486" y="318"/>
                    </a:lnTo>
                    <a:lnTo>
                      <a:pt x="486" y="318"/>
                    </a:lnTo>
                    <a:lnTo>
                      <a:pt x="486" y="318"/>
                    </a:lnTo>
                    <a:lnTo>
                      <a:pt x="488" y="320"/>
                    </a:lnTo>
                    <a:lnTo>
                      <a:pt x="488" y="320"/>
                    </a:lnTo>
                    <a:lnTo>
                      <a:pt x="488" y="320"/>
                    </a:lnTo>
                    <a:lnTo>
                      <a:pt x="490" y="320"/>
                    </a:lnTo>
                    <a:lnTo>
                      <a:pt x="490" y="320"/>
                    </a:lnTo>
                    <a:lnTo>
                      <a:pt x="490" y="320"/>
                    </a:lnTo>
                    <a:lnTo>
                      <a:pt x="494" y="320"/>
                    </a:lnTo>
                    <a:lnTo>
                      <a:pt x="496" y="320"/>
                    </a:lnTo>
                    <a:lnTo>
                      <a:pt x="496" y="320"/>
                    </a:lnTo>
                    <a:lnTo>
                      <a:pt x="496" y="320"/>
                    </a:lnTo>
                    <a:lnTo>
                      <a:pt x="500" y="326"/>
                    </a:lnTo>
                    <a:lnTo>
                      <a:pt x="502" y="330"/>
                    </a:lnTo>
                    <a:lnTo>
                      <a:pt x="502" y="334"/>
                    </a:lnTo>
                    <a:lnTo>
                      <a:pt x="502" y="336"/>
                    </a:lnTo>
                    <a:lnTo>
                      <a:pt x="502" y="336"/>
                    </a:lnTo>
                    <a:lnTo>
                      <a:pt x="502" y="338"/>
                    </a:lnTo>
                    <a:lnTo>
                      <a:pt x="502" y="338"/>
                    </a:lnTo>
                    <a:lnTo>
                      <a:pt x="500" y="338"/>
                    </a:lnTo>
                    <a:lnTo>
                      <a:pt x="500" y="338"/>
                    </a:lnTo>
                    <a:lnTo>
                      <a:pt x="498" y="340"/>
                    </a:lnTo>
                    <a:lnTo>
                      <a:pt x="498" y="340"/>
                    </a:lnTo>
                    <a:lnTo>
                      <a:pt x="498" y="340"/>
                    </a:lnTo>
                    <a:lnTo>
                      <a:pt x="498" y="342"/>
                    </a:lnTo>
                    <a:lnTo>
                      <a:pt x="500" y="342"/>
                    </a:lnTo>
                    <a:lnTo>
                      <a:pt x="500" y="344"/>
                    </a:lnTo>
                    <a:lnTo>
                      <a:pt x="502" y="344"/>
                    </a:lnTo>
                    <a:lnTo>
                      <a:pt x="504" y="346"/>
                    </a:lnTo>
                    <a:lnTo>
                      <a:pt x="506" y="346"/>
                    </a:lnTo>
                    <a:lnTo>
                      <a:pt x="506" y="348"/>
                    </a:lnTo>
                    <a:lnTo>
                      <a:pt x="506" y="348"/>
                    </a:lnTo>
                    <a:lnTo>
                      <a:pt x="506" y="350"/>
                    </a:lnTo>
                    <a:lnTo>
                      <a:pt x="508" y="352"/>
                    </a:lnTo>
                    <a:lnTo>
                      <a:pt x="508" y="352"/>
                    </a:lnTo>
                    <a:lnTo>
                      <a:pt x="508" y="352"/>
                    </a:lnTo>
                    <a:lnTo>
                      <a:pt x="510" y="356"/>
                    </a:lnTo>
                    <a:lnTo>
                      <a:pt x="510" y="356"/>
                    </a:lnTo>
                    <a:lnTo>
                      <a:pt x="510" y="356"/>
                    </a:lnTo>
                    <a:lnTo>
                      <a:pt x="514" y="358"/>
                    </a:lnTo>
                    <a:lnTo>
                      <a:pt x="514" y="358"/>
                    </a:lnTo>
                    <a:lnTo>
                      <a:pt x="514" y="358"/>
                    </a:lnTo>
                    <a:lnTo>
                      <a:pt x="520" y="360"/>
                    </a:lnTo>
                    <a:lnTo>
                      <a:pt x="520" y="360"/>
                    </a:lnTo>
                    <a:lnTo>
                      <a:pt x="520" y="360"/>
                    </a:lnTo>
                    <a:lnTo>
                      <a:pt x="526" y="364"/>
                    </a:lnTo>
                    <a:lnTo>
                      <a:pt x="526" y="364"/>
                    </a:lnTo>
                    <a:lnTo>
                      <a:pt x="528" y="364"/>
                    </a:lnTo>
                    <a:lnTo>
                      <a:pt x="538" y="362"/>
                    </a:lnTo>
                    <a:lnTo>
                      <a:pt x="550" y="364"/>
                    </a:lnTo>
                    <a:lnTo>
                      <a:pt x="560" y="362"/>
                    </a:lnTo>
                    <a:lnTo>
                      <a:pt x="566" y="362"/>
                    </a:lnTo>
                    <a:lnTo>
                      <a:pt x="570" y="362"/>
                    </a:lnTo>
                    <a:lnTo>
                      <a:pt x="570" y="362"/>
                    </a:lnTo>
                    <a:lnTo>
                      <a:pt x="572" y="360"/>
                    </a:lnTo>
                    <a:lnTo>
                      <a:pt x="574" y="360"/>
                    </a:lnTo>
                    <a:lnTo>
                      <a:pt x="574" y="360"/>
                    </a:lnTo>
                    <a:lnTo>
                      <a:pt x="574" y="358"/>
                    </a:lnTo>
                    <a:lnTo>
                      <a:pt x="574" y="356"/>
                    </a:lnTo>
                    <a:lnTo>
                      <a:pt x="574" y="356"/>
                    </a:lnTo>
                    <a:lnTo>
                      <a:pt x="574" y="356"/>
                    </a:lnTo>
                    <a:lnTo>
                      <a:pt x="574" y="354"/>
                    </a:lnTo>
                    <a:lnTo>
                      <a:pt x="574" y="354"/>
                    </a:lnTo>
                    <a:lnTo>
                      <a:pt x="574" y="354"/>
                    </a:lnTo>
                    <a:lnTo>
                      <a:pt x="572" y="352"/>
                    </a:lnTo>
                    <a:lnTo>
                      <a:pt x="570" y="348"/>
                    </a:lnTo>
                    <a:lnTo>
                      <a:pt x="568" y="346"/>
                    </a:lnTo>
                    <a:lnTo>
                      <a:pt x="568" y="346"/>
                    </a:lnTo>
                    <a:lnTo>
                      <a:pt x="566" y="340"/>
                    </a:lnTo>
                    <a:lnTo>
                      <a:pt x="564" y="336"/>
                    </a:lnTo>
                    <a:lnTo>
                      <a:pt x="562" y="328"/>
                    </a:lnTo>
                    <a:lnTo>
                      <a:pt x="560" y="322"/>
                    </a:lnTo>
                    <a:lnTo>
                      <a:pt x="558" y="318"/>
                    </a:lnTo>
                    <a:lnTo>
                      <a:pt x="558" y="318"/>
                    </a:lnTo>
                    <a:lnTo>
                      <a:pt x="558" y="318"/>
                    </a:lnTo>
                    <a:lnTo>
                      <a:pt x="554" y="314"/>
                    </a:lnTo>
                    <a:lnTo>
                      <a:pt x="554" y="314"/>
                    </a:lnTo>
                    <a:lnTo>
                      <a:pt x="550" y="310"/>
                    </a:lnTo>
                    <a:lnTo>
                      <a:pt x="550" y="308"/>
                    </a:lnTo>
                    <a:lnTo>
                      <a:pt x="550" y="306"/>
                    </a:lnTo>
                    <a:lnTo>
                      <a:pt x="548" y="304"/>
                    </a:lnTo>
                    <a:lnTo>
                      <a:pt x="548" y="304"/>
                    </a:lnTo>
                    <a:lnTo>
                      <a:pt x="548" y="302"/>
                    </a:lnTo>
                    <a:lnTo>
                      <a:pt x="546" y="300"/>
                    </a:lnTo>
                    <a:lnTo>
                      <a:pt x="546" y="300"/>
                    </a:lnTo>
                    <a:lnTo>
                      <a:pt x="548" y="298"/>
                    </a:lnTo>
                    <a:lnTo>
                      <a:pt x="548" y="296"/>
                    </a:lnTo>
                    <a:lnTo>
                      <a:pt x="548" y="294"/>
                    </a:lnTo>
                    <a:lnTo>
                      <a:pt x="548" y="292"/>
                    </a:lnTo>
                    <a:lnTo>
                      <a:pt x="548" y="290"/>
                    </a:lnTo>
                    <a:lnTo>
                      <a:pt x="548" y="288"/>
                    </a:lnTo>
                    <a:lnTo>
                      <a:pt x="550" y="284"/>
                    </a:lnTo>
                    <a:lnTo>
                      <a:pt x="548" y="278"/>
                    </a:lnTo>
                    <a:lnTo>
                      <a:pt x="548" y="268"/>
                    </a:lnTo>
                    <a:lnTo>
                      <a:pt x="548" y="260"/>
                    </a:lnTo>
                    <a:lnTo>
                      <a:pt x="548" y="254"/>
                    </a:lnTo>
                    <a:lnTo>
                      <a:pt x="548" y="248"/>
                    </a:lnTo>
                    <a:lnTo>
                      <a:pt x="550" y="246"/>
                    </a:lnTo>
                    <a:lnTo>
                      <a:pt x="550" y="246"/>
                    </a:lnTo>
                    <a:lnTo>
                      <a:pt x="550" y="242"/>
                    </a:lnTo>
                    <a:lnTo>
                      <a:pt x="552" y="240"/>
                    </a:lnTo>
                    <a:lnTo>
                      <a:pt x="554" y="238"/>
                    </a:lnTo>
                    <a:lnTo>
                      <a:pt x="556" y="236"/>
                    </a:lnTo>
                    <a:lnTo>
                      <a:pt x="560" y="234"/>
                    </a:lnTo>
                    <a:lnTo>
                      <a:pt x="560" y="234"/>
                    </a:lnTo>
                    <a:lnTo>
                      <a:pt x="562" y="232"/>
                    </a:lnTo>
                    <a:lnTo>
                      <a:pt x="562" y="228"/>
                    </a:lnTo>
                    <a:lnTo>
                      <a:pt x="562" y="226"/>
                    </a:lnTo>
                    <a:lnTo>
                      <a:pt x="564" y="220"/>
                    </a:lnTo>
                    <a:lnTo>
                      <a:pt x="564" y="218"/>
                    </a:lnTo>
                    <a:lnTo>
                      <a:pt x="566" y="216"/>
                    </a:lnTo>
                    <a:lnTo>
                      <a:pt x="568" y="214"/>
                    </a:lnTo>
                    <a:lnTo>
                      <a:pt x="570" y="212"/>
                    </a:lnTo>
                    <a:lnTo>
                      <a:pt x="570" y="212"/>
                    </a:lnTo>
                    <a:lnTo>
                      <a:pt x="572" y="210"/>
                    </a:lnTo>
                    <a:lnTo>
                      <a:pt x="574" y="202"/>
                    </a:lnTo>
                    <a:lnTo>
                      <a:pt x="578" y="194"/>
                    </a:lnTo>
                    <a:lnTo>
                      <a:pt x="582" y="186"/>
                    </a:lnTo>
                    <a:lnTo>
                      <a:pt x="584" y="182"/>
                    </a:lnTo>
                    <a:lnTo>
                      <a:pt x="586" y="178"/>
                    </a:lnTo>
                    <a:lnTo>
                      <a:pt x="586" y="178"/>
                    </a:lnTo>
                    <a:lnTo>
                      <a:pt x="586" y="178"/>
                    </a:lnTo>
                    <a:lnTo>
                      <a:pt x="586" y="174"/>
                    </a:lnTo>
                    <a:lnTo>
                      <a:pt x="586" y="170"/>
                    </a:lnTo>
                    <a:lnTo>
                      <a:pt x="588" y="166"/>
                    </a:lnTo>
                    <a:lnTo>
                      <a:pt x="588" y="166"/>
                    </a:lnTo>
                    <a:lnTo>
                      <a:pt x="588" y="166"/>
                    </a:lnTo>
                    <a:lnTo>
                      <a:pt x="590" y="164"/>
                    </a:lnTo>
                    <a:lnTo>
                      <a:pt x="594" y="164"/>
                    </a:lnTo>
                    <a:lnTo>
                      <a:pt x="598" y="164"/>
                    </a:lnTo>
                    <a:lnTo>
                      <a:pt x="602" y="164"/>
                    </a:lnTo>
                    <a:lnTo>
                      <a:pt x="602" y="164"/>
                    </a:lnTo>
                    <a:lnTo>
                      <a:pt x="602" y="164"/>
                    </a:lnTo>
                    <a:lnTo>
                      <a:pt x="606" y="162"/>
                    </a:lnTo>
                    <a:lnTo>
                      <a:pt x="606" y="162"/>
                    </a:lnTo>
                    <a:lnTo>
                      <a:pt x="606" y="162"/>
                    </a:lnTo>
                    <a:lnTo>
                      <a:pt x="608" y="160"/>
                    </a:lnTo>
                    <a:lnTo>
                      <a:pt x="608" y="160"/>
                    </a:lnTo>
                    <a:lnTo>
                      <a:pt x="608" y="158"/>
                    </a:lnTo>
                    <a:lnTo>
                      <a:pt x="610" y="156"/>
                    </a:lnTo>
                    <a:lnTo>
                      <a:pt x="610" y="154"/>
                    </a:lnTo>
                    <a:lnTo>
                      <a:pt x="612" y="154"/>
                    </a:lnTo>
                    <a:lnTo>
                      <a:pt x="612" y="152"/>
                    </a:lnTo>
                    <a:lnTo>
                      <a:pt x="614" y="150"/>
                    </a:lnTo>
                    <a:lnTo>
                      <a:pt x="616" y="150"/>
                    </a:lnTo>
                    <a:lnTo>
                      <a:pt x="616" y="150"/>
                    </a:lnTo>
                    <a:lnTo>
                      <a:pt x="618" y="148"/>
                    </a:lnTo>
                    <a:lnTo>
                      <a:pt x="618" y="144"/>
                    </a:lnTo>
                    <a:lnTo>
                      <a:pt x="620" y="142"/>
                    </a:lnTo>
                    <a:lnTo>
                      <a:pt x="622" y="134"/>
                    </a:lnTo>
                    <a:lnTo>
                      <a:pt x="622" y="130"/>
                    </a:lnTo>
                    <a:lnTo>
                      <a:pt x="624" y="128"/>
                    </a:lnTo>
                    <a:lnTo>
                      <a:pt x="626" y="124"/>
                    </a:lnTo>
                    <a:lnTo>
                      <a:pt x="626" y="124"/>
                    </a:lnTo>
                    <a:lnTo>
                      <a:pt x="630" y="122"/>
                    </a:lnTo>
                    <a:lnTo>
                      <a:pt x="632" y="122"/>
                    </a:lnTo>
                    <a:lnTo>
                      <a:pt x="638" y="120"/>
                    </a:lnTo>
                    <a:lnTo>
                      <a:pt x="642" y="118"/>
                    </a:lnTo>
                    <a:lnTo>
                      <a:pt x="644" y="118"/>
                    </a:lnTo>
                    <a:lnTo>
                      <a:pt x="646" y="118"/>
                    </a:lnTo>
                    <a:lnTo>
                      <a:pt x="646" y="118"/>
                    </a:lnTo>
                    <a:lnTo>
                      <a:pt x="646" y="118"/>
                    </a:lnTo>
                    <a:lnTo>
                      <a:pt x="648" y="118"/>
                    </a:lnTo>
                    <a:lnTo>
                      <a:pt x="652" y="114"/>
                    </a:lnTo>
                    <a:lnTo>
                      <a:pt x="654" y="110"/>
                    </a:lnTo>
                    <a:lnTo>
                      <a:pt x="656" y="108"/>
                    </a:lnTo>
                    <a:lnTo>
                      <a:pt x="658" y="106"/>
                    </a:lnTo>
                    <a:lnTo>
                      <a:pt x="660" y="102"/>
                    </a:lnTo>
                    <a:lnTo>
                      <a:pt x="662" y="100"/>
                    </a:lnTo>
                    <a:lnTo>
                      <a:pt x="662" y="100"/>
                    </a:lnTo>
                    <a:lnTo>
                      <a:pt x="664" y="100"/>
                    </a:lnTo>
                    <a:lnTo>
                      <a:pt x="666" y="98"/>
                    </a:lnTo>
                    <a:lnTo>
                      <a:pt x="668" y="98"/>
                    </a:lnTo>
                    <a:lnTo>
                      <a:pt x="670" y="98"/>
                    </a:lnTo>
                    <a:lnTo>
                      <a:pt x="674" y="98"/>
                    </a:lnTo>
                    <a:lnTo>
                      <a:pt x="678" y="96"/>
                    </a:lnTo>
                    <a:lnTo>
                      <a:pt x="684" y="96"/>
                    </a:lnTo>
                    <a:lnTo>
                      <a:pt x="684" y="96"/>
                    </a:lnTo>
                    <a:lnTo>
                      <a:pt x="686" y="96"/>
                    </a:lnTo>
                    <a:lnTo>
                      <a:pt x="692" y="92"/>
                    </a:lnTo>
                    <a:lnTo>
                      <a:pt x="696" y="90"/>
                    </a:lnTo>
                    <a:lnTo>
                      <a:pt x="708" y="84"/>
                    </a:lnTo>
                    <a:lnTo>
                      <a:pt x="718" y="78"/>
                    </a:lnTo>
                    <a:lnTo>
                      <a:pt x="724" y="74"/>
                    </a:lnTo>
                    <a:lnTo>
                      <a:pt x="728" y="70"/>
                    </a:lnTo>
                    <a:lnTo>
                      <a:pt x="734" y="66"/>
                    </a:lnTo>
                    <a:lnTo>
                      <a:pt x="738" y="62"/>
                    </a:lnTo>
                    <a:lnTo>
                      <a:pt x="746" y="54"/>
                    </a:lnTo>
                    <a:lnTo>
                      <a:pt x="750" y="50"/>
                    </a:lnTo>
                    <a:lnTo>
                      <a:pt x="752" y="46"/>
                    </a:lnTo>
                    <a:lnTo>
                      <a:pt x="754" y="42"/>
                    </a:lnTo>
                    <a:lnTo>
                      <a:pt x="758" y="40"/>
                    </a:lnTo>
                    <a:lnTo>
                      <a:pt x="754" y="38"/>
                    </a:lnTo>
                    <a:lnTo>
                      <a:pt x="754" y="38"/>
                    </a:lnTo>
                    <a:lnTo>
                      <a:pt x="756" y="34"/>
                    </a:lnTo>
                    <a:lnTo>
                      <a:pt x="758" y="32"/>
                    </a:lnTo>
                    <a:lnTo>
                      <a:pt x="756" y="30"/>
                    </a:lnTo>
                    <a:lnTo>
                      <a:pt x="754" y="28"/>
                    </a:lnTo>
                    <a:lnTo>
                      <a:pt x="750" y="26"/>
                    </a:lnTo>
                    <a:lnTo>
                      <a:pt x="746" y="24"/>
                    </a:lnTo>
                    <a:lnTo>
                      <a:pt x="742" y="20"/>
                    </a:lnTo>
                    <a:lnTo>
                      <a:pt x="740" y="18"/>
                    </a:lnTo>
                    <a:lnTo>
                      <a:pt x="736" y="16"/>
                    </a:lnTo>
                    <a:lnTo>
                      <a:pt x="732" y="14"/>
                    </a:lnTo>
                    <a:lnTo>
                      <a:pt x="732" y="14"/>
                    </a:lnTo>
                    <a:lnTo>
                      <a:pt x="732" y="14"/>
                    </a:lnTo>
                    <a:lnTo>
                      <a:pt x="728" y="12"/>
                    </a:lnTo>
                    <a:lnTo>
                      <a:pt x="724" y="12"/>
                    </a:lnTo>
                    <a:lnTo>
                      <a:pt x="718" y="12"/>
                    </a:lnTo>
                    <a:lnTo>
                      <a:pt x="718" y="12"/>
                    </a:lnTo>
                    <a:lnTo>
                      <a:pt x="718" y="12"/>
                    </a:lnTo>
                    <a:lnTo>
                      <a:pt x="712" y="12"/>
                    </a:lnTo>
                    <a:lnTo>
                      <a:pt x="712" y="12"/>
                    </a:lnTo>
                    <a:lnTo>
                      <a:pt x="712" y="12"/>
                    </a:lnTo>
                    <a:lnTo>
                      <a:pt x="706" y="14"/>
                    </a:lnTo>
                    <a:lnTo>
                      <a:pt x="706" y="14"/>
                    </a:lnTo>
                    <a:lnTo>
                      <a:pt x="704" y="16"/>
                    </a:lnTo>
                    <a:lnTo>
                      <a:pt x="702" y="18"/>
                    </a:lnTo>
                    <a:lnTo>
                      <a:pt x="700" y="20"/>
                    </a:lnTo>
                    <a:lnTo>
                      <a:pt x="696" y="26"/>
                    </a:lnTo>
                    <a:lnTo>
                      <a:pt x="694" y="30"/>
                    </a:lnTo>
                    <a:lnTo>
                      <a:pt x="694" y="32"/>
                    </a:lnTo>
                    <a:lnTo>
                      <a:pt x="692" y="34"/>
                    </a:lnTo>
                    <a:lnTo>
                      <a:pt x="692" y="34"/>
                    </a:lnTo>
                    <a:lnTo>
                      <a:pt x="692" y="34"/>
                    </a:lnTo>
                    <a:lnTo>
                      <a:pt x="692" y="36"/>
                    </a:lnTo>
                    <a:lnTo>
                      <a:pt x="692" y="38"/>
                    </a:lnTo>
                    <a:lnTo>
                      <a:pt x="692" y="40"/>
                    </a:lnTo>
                    <a:lnTo>
                      <a:pt x="692" y="42"/>
                    </a:lnTo>
                    <a:lnTo>
                      <a:pt x="692" y="42"/>
                    </a:lnTo>
                    <a:lnTo>
                      <a:pt x="690" y="42"/>
                    </a:lnTo>
                    <a:lnTo>
                      <a:pt x="688" y="44"/>
                    </a:lnTo>
                    <a:lnTo>
                      <a:pt x="686" y="44"/>
                    </a:lnTo>
                    <a:lnTo>
                      <a:pt x="682" y="44"/>
                    </a:lnTo>
                    <a:lnTo>
                      <a:pt x="682" y="44"/>
                    </a:lnTo>
                    <a:lnTo>
                      <a:pt x="680" y="46"/>
                    </a:lnTo>
                    <a:lnTo>
                      <a:pt x="678" y="46"/>
                    </a:lnTo>
                    <a:lnTo>
                      <a:pt x="678" y="46"/>
                    </a:lnTo>
                    <a:lnTo>
                      <a:pt x="678" y="46"/>
                    </a:lnTo>
                    <a:lnTo>
                      <a:pt x="676" y="48"/>
                    </a:lnTo>
                    <a:lnTo>
                      <a:pt x="676" y="48"/>
                    </a:lnTo>
                    <a:lnTo>
                      <a:pt x="676" y="48"/>
                    </a:lnTo>
                    <a:lnTo>
                      <a:pt x="676" y="50"/>
                    </a:lnTo>
                    <a:lnTo>
                      <a:pt x="676" y="50"/>
                    </a:lnTo>
                    <a:lnTo>
                      <a:pt x="676" y="50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4" y="52"/>
                    </a:lnTo>
                    <a:lnTo>
                      <a:pt x="672" y="52"/>
                    </a:lnTo>
                    <a:lnTo>
                      <a:pt x="668" y="54"/>
                    </a:lnTo>
                    <a:lnTo>
                      <a:pt x="666" y="54"/>
                    </a:lnTo>
                    <a:lnTo>
                      <a:pt x="664" y="54"/>
                    </a:lnTo>
                    <a:lnTo>
                      <a:pt x="662" y="56"/>
                    </a:lnTo>
                    <a:lnTo>
                      <a:pt x="658" y="56"/>
                    </a:lnTo>
                    <a:lnTo>
                      <a:pt x="656" y="56"/>
                    </a:lnTo>
                    <a:lnTo>
                      <a:pt x="656" y="56"/>
                    </a:lnTo>
                    <a:lnTo>
                      <a:pt x="654" y="56"/>
                    </a:lnTo>
                    <a:lnTo>
                      <a:pt x="652" y="58"/>
                    </a:lnTo>
                    <a:lnTo>
                      <a:pt x="650" y="58"/>
                    </a:lnTo>
                    <a:lnTo>
                      <a:pt x="648" y="58"/>
                    </a:lnTo>
                    <a:lnTo>
                      <a:pt x="646" y="58"/>
                    </a:lnTo>
                    <a:lnTo>
                      <a:pt x="642" y="58"/>
                    </a:lnTo>
                    <a:lnTo>
                      <a:pt x="638" y="58"/>
                    </a:lnTo>
                    <a:lnTo>
                      <a:pt x="634" y="58"/>
                    </a:lnTo>
                    <a:lnTo>
                      <a:pt x="630" y="56"/>
                    </a:lnTo>
                    <a:lnTo>
                      <a:pt x="630" y="56"/>
                    </a:lnTo>
                    <a:lnTo>
                      <a:pt x="630" y="56"/>
                    </a:lnTo>
                    <a:lnTo>
                      <a:pt x="628" y="56"/>
                    </a:lnTo>
                    <a:lnTo>
                      <a:pt x="626" y="54"/>
                    </a:lnTo>
                    <a:lnTo>
                      <a:pt x="626" y="54"/>
                    </a:lnTo>
                    <a:lnTo>
                      <a:pt x="624" y="54"/>
                    </a:lnTo>
                    <a:lnTo>
                      <a:pt x="624" y="54"/>
                    </a:lnTo>
                    <a:lnTo>
                      <a:pt x="624" y="54"/>
                    </a:lnTo>
                    <a:lnTo>
                      <a:pt x="622" y="54"/>
                    </a:lnTo>
                    <a:lnTo>
                      <a:pt x="622" y="56"/>
                    </a:lnTo>
                    <a:lnTo>
                      <a:pt x="622" y="56"/>
                    </a:lnTo>
                    <a:lnTo>
                      <a:pt x="620" y="56"/>
                    </a:lnTo>
                    <a:lnTo>
                      <a:pt x="618" y="60"/>
                    </a:lnTo>
                    <a:lnTo>
                      <a:pt x="618" y="62"/>
                    </a:lnTo>
                    <a:lnTo>
                      <a:pt x="618" y="62"/>
                    </a:lnTo>
                    <a:lnTo>
                      <a:pt x="618" y="62"/>
                    </a:lnTo>
                    <a:lnTo>
                      <a:pt x="616" y="66"/>
                    </a:lnTo>
                    <a:lnTo>
                      <a:pt x="616" y="66"/>
                    </a:lnTo>
                    <a:lnTo>
                      <a:pt x="616" y="66"/>
                    </a:lnTo>
                    <a:lnTo>
                      <a:pt x="616" y="68"/>
                    </a:lnTo>
                    <a:lnTo>
                      <a:pt x="616" y="68"/>
                    </a:lnTo>
                    <a:lnTo>
                      <a:pt x="616" y="68"/>
                    </a:lnTo>
                    <a:lnTo>
                      <a:pt x="616" y="70"/>
                    </a:lnTo>
                    <a:lnTo>
                      <a:pt x="616" y="70"/>
                    </a:lnTo>
                    <a:lnTo>
                      <a:pt x="614" y="70"/>
                    </a:lnTo>
                    <a:lnTo>
                      <a:pt x="608" y="70"/>
                    </a:lnTo>
                    <a:lnTo>
                      <a:pt x="608" y="70"/>
                    </a:lnTo>
                    <a:lnTo>
                      <a:pt x="606" y="72"/>
                    </a:lnTo>
                    <a:lnTo>
                      <a:pt x="606" y="76"/>
                    </a:lnTo>
                    <a:lnTo>
                      <a:pt x="604" y="78"/>
                    </a:lnTo>
                    <a:lnTo>
                      <a:pt x="604" y="76"/>
                    </a:lnTo>
                    <a:lnTo>
                      <a:pt x="604" y="78"/>
                    </a:lnTo>
                    <a:lnTo>
                      <a:pt x="602" y="80"/>
                    </a:lnTo>
                    <a:lnTo>
                      <a:pt x="600" y="80"/>
                    </a:lnTo>
                    <a:lnTo>
                      <a:pt x="598" y="82"/>
                    </a:lnTo>
                    <a:lnTo>
                      <a:pt x="596" y="82"/>
                    </a:lnTo>
                    <a:lnTo>
                      <a:pt x="592" y="82"/>
                    </a:lnTo>
                    <a:lnTo>
                      <a:pt x="592" y="82"/>
                    </a:lnTo>
                    <a:lnTo>
                      <a:pt x="590" y="84"/>
                    </a:lnTo>
                    <a:lnTo>
                      <a:pt x="588" y="86"/>
                    </a:lnTo>
                    <a:lnTo>
                      <a:pt x="586" y="88"/>
                    </a:lnTo>
                    <a:lnTo>
                      <a:pt x="582" y="92"/>
                    </a:lnTo>
                    <a:lnTo>
                      <a:pt x="578" y="94"/>
                    </a:lnTo>
                    <a:lnTo>
                      <a:pt x="576" y="96"/>
                    </a:lnTo>
                    <a:lnTo>
                      <a:pt x="576" y="96"/>
                    </a:lnTo>
                    <a:lnTo>
                      <a:pt x="576" y="96"/>
                    </a:lnTo>
                    <a:lnTo>
                      <a:pt x="576" y="96"/>
                    </a:lnTo>
                    <a:lnTo>
                      <a:pt x="574" y="98"/>
                    </a:lnTo>
                    <a:lnTo>
                      <a:pt x="572" y="102"/>
                    </a:lnTo>
                    <a:lnTo>
                      <a:pt x="570" y="104"/>
                    </a:lnTo>
                    <a:lnTo>
                      <a:pt x="570" y="108"/>
                    </a:lnTo>
                    <a:lnTo>
                      <a:pt x="568" y="108"/>
                    </a:lnTo>
                    <a:lnTo>
                      <a:pt x="568" y="110"/>
                    </a:lnTo>
                    <a:lnTo>
                      <a:pt x="566" y="110"/>
                    </a:lnTo>
                    <a:lnTo>
                      <a:pt x="566" y="110"/>
                    </a:lnTo>
                    <a:lnTo>
                      <a:pt x="566" y="110"/>
                    </a:lnTo>
                    <a:lnTo>
                      <a:pt x="564" y="112"/>
                    </a:lnTo>
                    <a:lnTo>
                      <a:pt x="562" y="112"/>
                    </a:lnTo>
                    <a:lnTo>
                      <a:pt x="560" y="112"/>
                    </a:lnTo>
                    <a:lnTo>
                      <a:pt x="560" y="112"/>
                    </a:lnTo>
                    <a:lnTo>
                      <a:pt x="558" y="114"/>
                    </a:lnTo>
                    <a:lnTo>
                      <a:pt x="558" y="114"/>
                    </a:lnTo>
                    <a:lnTo>
                      <a:pt x="558" y="116"/>
                    </a:lnTo>
                    <a:lnTo>
                      <a:pt x="558" y="118"/>
                    </a:lnTo>
                    <a:lnTo>
                      <a:pt x="560" y="120"/>
                    </a:lnTo>
                    <a:lnTo>
                      <a:pt x="560" y="120"/>
                    </a:lnTo>
                    <a:lnTo>
                      <a:pt x="558" y="120"/>
                    </a:lnTo>
                    <a:lnTo>
                      <a:pt x="554" y="122"/>
                    </a:lnTo>
                    <a:lnTo>
                      <a:pt x="552" y="122"/>
                    </a:lnTo>
                    <a:lnTo>
                      <a:pt x="552" y="122"/>
                    </a:lnTo>
                    <a:lnTo>
                      <a:pt x="550" y="122"/>
                    </a:lnTo>
                    <a:lnTo>
                      <a:pt x="550" y="122"/>
                    </a:lnTo>
                    <a:lnTo>
                      <a:pt x="550" y="122"/>
                    </a:lnTo>
                    <a:lnTo>
                      <a:pt x="548" y="124"/>
                    </a:lnTo>
                    <a:lnTo>
                      <a:pt x="546" y="128"/>
                    </a:lnTo>
                    <a:lnTo>
                      <a:pt x="546" y="128"/>
                    </a:lnTo>
                    <a:lnTo>
                      <a:pt x="544" y="128"/>
                    </a:lnTo>
                    <a:lnTo>
                      <a:pt x="544" y="134"/>
                    </a:lnTo>
                    <a:lnTo>
                      <a:pt x="542" y="138"/>
                    </a:lnTo>
                    <a:lnTo>
                      <a:pt x="542" y="144"/>
                    </a:lnTo>
                    <a:lnTo>
                      <a:pt x="542" y="154"/>
                    </a:lnTo>
                    <a:lnTo>
                      <a:pt x="540" y="158"/>
                    </a:lnTo>
                    <a:lnTo>
                      <a:pt x="540" y="162"/>
                    </a:lnTo>
                    <a:lnTo>
                      <a:pt x="540" y="162"/>
                    </a:lnTo>
                    <a:lnTo>
                      <a:pt x="540" y="166"/>
                    </a:lnTo>
                    <a:lnTo>
                      <a:pt x="540" y="166"/>
                    </a:lnTo>
                    <a:lnTo>
                      <a:pt x="538" y="166"/>
                    </a:lnTo>
                    <a:lnTo>
                      <a:pt x="536" y="166"/>
                    </a:lnTo>
                    <a:lnTo>
                      <a:pt x="536" y="166"/>
                    </a:lnTo>
                    <a:lnTo>
                      <a:pt x="536" y="166"/>
                    </a:lnTo>
                    <a:lnTo>
                      <a:pt x="536" y="166"/>
                    </a:lnTo>
                    <a:lnTo>
                      <a:pt x="534" y="168"/>
                    </a:lnTo>
                    <a:lnTo>
                      <a:pt x="534" y="168"/>
                    </a:lnTo>
                    <a:lnTo>
                      <a:pt x="534" y="170"/>
                    </a:lnTo>
                    <a:lnTo>
                      <a:pt x="534" y="174"/>
                    </a:lnTo>
                    <a:lnTo>
                      <a:pt x="534" y="176"/>
                    </a:lnTo>
                    <a:lnTo>
                      <a:pt x="534" y="176"/>
                    </a:lnTo>
                    <a:lnTo>
                      <a:pt x="534" y="176"/>
                    </a:lnTo>
                    <a:lnTo>
                      <a:pt x="534" y="176"/>
                    </a:lnTo>
                    <a:lnTo>
                      <a:pt x="532" y="176"/>
                    </a:lnTo>
                    <a:lnTo>
                      <a:pt x="532" y="176"/>
                    </a:lnTo>
                    <a:lnTo>
                      <a:pt x="532" y="176"/>
                    </a:lnTo>
                    <a:lnTo>
                      <a:pt x="530" y="176"/>
                    </a:lnTo>
                    <a:lnTo>
                      <a:pt x="530" y="176"/>
                    </a:lnTo>
                    <a:lnTo>
                      <a:pt x="528" y="176"/>
                    </a:lnTo>
                    <a:lnTo>
                      <a:pt x="528" y="176"/>
                    </a:lnTo>
                    <a:lnTo>
                      <a:pt x="528" y="176"/>
                    </a:lnTo>
                    <a:lnTo>
                      <a:pt x="526" y="176"/>
                    </a:lnTo>
                    <a:lnTo>
                      <a:pt x="526" y="178"/>
                    </a:lnTo>
                    <a:lnTo>
                      <a:pt x="526" y="178"/>
                    </a:lnTo>
                    <a:lnTo>
                      <a:pt x="526" y="178"/>
                    </a:lnTo>
                    <a:lnTo>
                      <a:pt x="526" y="180"/>
                    </a:lnTo>
                    <a:lnTo>
                      <a:pt x="526" y="180"/>
                    </a:lnTo>
                    <a:lnTo>
                      <a:pt x="526" y="180"/>
                    </a:lnTo>
                    <a:lnTo>
                      <a:pt x="526" y="182"/>
                    </a:lnTo>
                    <a:lnTo>
                      <a:pt x="526" y="184"/>
                    </a:lnTo>
                    <a:lnTo>
                      <a:pt x="526" y="186"/>
                    </a:lnTo>
                    <a:lnTo>
                      <a:pt x="524" y="188"/>
                    </a:lnTo>
                    <a:lnTo>
                      <a:pt x="522" y="192"/>
                    </a:lnTo>
                    <a:lnTo>
                      <a:pt x="520" y="194"/>
                    </a:lnTo>
                    <a:lnTo>
                      <a:pt x="518" y="196"/>
                    </a:lnTo>
                    <a:lnTo>
                      <a:pt x="516" y="198"/>
                    </a:lnTo>
                    <a:lnTo>
                      <a:pt x="514" y="198"/>
                    </a:lnTo>
                    <a:lnTo>
                      <a:pt x="514" y="198"/>
                    </a:lnTo>
                    <a:lnTo>
                      <a:pt x="514" y="198"/>
                    </a:lnTo>
                    <a:lnTo>
                      <a:pt x="512" y="200"/>
                    </a:lnTo>
                    <a:lnTo>
                      <a:pt x="512" y="204"/>
                    </a:lnTo>
                    <a:lnTo>
                      <a:pt x="512" y="204"/>
                    </a:lnTo>
                    <a:lnTo>
                      <a:pt x="512" y="204"/>
                    </a:lnTo>
                    <a:lnTo>
                      <a:pt x="512" y="206"/>
                    </a:lnTo>
                    <a:lnTo>
                      <a:pt x="512" y="206"/>
                    </a:lnTo>
                    <a:lnTo>
                      <a:pt x="512" y="208"/>
                    </a:lnTo>
                    <a:lnTo>
                      <a:pt x="514" y="210"/>
                    </a:lnTo>
                    <a:lnTo>
                      <a:pt x="514" y="210"/>
                    </a:lnTo>
                    <a:lnTo>
                      <a:pt x="514" y="210"/>
                    </a:lnTo>
                    <a:lnTo>
                      <a:pt x="516" y="212"/>
                    </a:lnTo>
                    <a:lnTo>
                      <a:pt x="516" y="212"/>
                    </a:lnTo>
                    <a:lnTo>
                      <a:pt x="516" y="212"/>
                    </a:lnTo>
                    <a:lnTo>
                      <a:pt x="518" y="212"/>
                    </a:lnTo>
                    <a:lnTo>
                      <a:pt x="520" y="212"/>
                    </a:lnTo>
                    <a:lnTo>
                      <a:pt x="520" y="214"/>
                    </a:lnTo>
                    <a:lnTo>
                      <a:pt x="518" y="216"/>
                    </a:lnTo>
                    <a:lnTo>
                      <a:pt x="516" y="218"/>
                    </a:lnTo>
                    <a:lnTo>
                      <a:pt x="516" y="218"/>
                    </a:lnTo>
                    <a:lnTo>
                      <a:pt x="516" y="218"/>
                    </a:lnTo>
                    <a:lnTo>
                      <a:pt x="516" y="220"/>
                    </a:lnTo>
                    <a:lnTo>
                      <a:pt x="516" y="220"/>
                    </a:lnTo>
                    <a:lnTo>
                      <a:pt x="516" y="220"/>
                    </a:lnTo>
                    <a:lnTo>
                      <a:pt x="516" y="220"/>
                    </a:lnTo>
                    <a:lnTo>
                      <a:pt x="514" y="224"/>
                    </a:lnTo>
                    <a:lnTo>
                      <a:pt x="514" y="224"/>
                    </a:lnTo>
                    <a:lnTo>
                      <a:pt x="514" y="224"/>
                    </a:lnTo>
                    <a:lnTo>
                      <a:pt x="514" y="224"/>
                    </a:lnTo>
                    <a:lnTo>
                      <a:pt x="512" y="226"/>
                    </a:lnTo>
                    <a:lnTo>
                      <a:pt x="508" y="226"/>
                    </a:lnTo>
                    <a:lnTo>
                      <a:pt x="506" y="226"/>
                    </a:lnTo>
                    <a:lnTo>
                      <a:pt x="500" y="228"/>
                    </a:lnTo>
                    <a:lnTo>
                      <a:pt x="500" y="228"/>
                    </a:lnTo>
                    <a:lnTo>
                      <a:pt x="498" y="230"/>
                    </a:lnTo>
                    <a:lnTo>
                      <a:pt x="498" y="232"/>
                    </a:lnTo>
                    <a:lnTo>
                      <a:pt x="500" y="234"/>
                    </a:lnTo>
                    <a:lnTo>
                      <a:pt x="500" y="236"/>
                    </a:lnTo>
                    <a:lnTo>
                      <a:pt x="500" y="240"/>
                    </a:lnTo>
                    <a:lnTo>
                      <a:pt x="500" y="240"/>
                    </a:lnTo>
                    <a:lnTo>
                      <a:pt x="500" y="244"/>
                    </a:lnTo>
                    <a:lnTo>
                      <a:pt x="498" y="244"/>
                    </a:lnTo>
                    <a:lnTo>
                      <a:pt x="498" y="246"/>
                    </a:lnTo>
                    <a:lnTo>
                      <a:pt x="496" y="248"/>
                    </a:lnTo>
                    <a:lnTo>
                      <a:pt x="492" y="250"/>
                    </a:lnTo>
                    <a:lnTo>
                      <a:pt x="488" y="252"/>
                    </a:lnTo>
                    <a:lnTo>
                      <a:pt x="488" y="252"/>
                    </a:lnTo>
                    <a:lnTo>
                      <a:pt x="486" y="254"/>
                    </a:lnTo>
                    <a:lnTo>
                      <a:pt x="486" y="256"/>
                    </a:lnTo>
                    <a:lnTo>
                      <a:pt x="488" y="258"/>
                    </a:lnTo>
                    <a:lnTo>
                      <a:pt x="490" y="260"/>
                    </a:lnTo>
                    <a:lnTo>
                      <a:pt x="490" y="260"/>
                    </a:lnTo>
                    <a:lnTo>
                      <a:pt x="490" y="262"/>
                    </a:lnTo>
                    <a:lnTo>
                      <a:pt x="490" y="262"/>
                    </a:lnTo>
                    <a:lnTo>
                      <a:pt x="492" y="264"/>
                    </a:lnTo>
                    <a:lnTo>
                      <a:pt x="496" y="266"/>
                    </a:lnTo>
                    <a:lnTo>
                      <a:pt x="496" y="268"/>
                    </a:lnTo>
                    <a:lnTo>
                      <a:pt x="494" y="268"/>
                    </a:lnTo>
                    <a:lnTo>
                      <a:pt x="494" y="268"/>
                    </a:lnTo>
                    <a:lnTo>
                      <a:pt x="494" y="268"/>
                    </a:lnTo>
                    <a:lnTo>
                      <a:pt x="492" y="270"/>
                    </a:lnTo>
                    <a:lnTo>
                      <a:pt x="492" y="270"/>
                    </a:lnTo>
                    <a:lnTo>
                      <a:pt x="492" y="270"/>
                    </a:lnTo>
                    <a:lnTo>
                      <a:pt x="490" y="270"/>
                    </a:lnTo>
                    <a:lnTo>
                      <a:pt x="490" y="270"/>
                    </a:lnTo>
                    <a:lnTo>
                      <a:pt x="490" y="272"/>
                    </a:lnTo>
                    <a:lnTo>
                      <a:pt x="488" y="274"/>
                    </a:lnTo>
                    <a:lnTo>
                      <a:pt x="488" y="274"/>
                    </a:lnTo>
                    <a:lnTo>
                      <a:pt x="488" y="274"/>
                    </a:lnTo>
                    <a:lnTo>
                      <a:pt x="486" y="276"/>
                    </a:lnTo>
                    <a:lnTo>
                      <a:pt x="486" y="278"/>
                    </a:lnTo>
                    <a:lnTo>
                      <a:pt x="484" y="282"/>
                    </a:lnTo>
                    <a:lnTo>
                      <a:pt x="484" y="282"/>
                    </a:lnTo>
                    <a:lnTo>
                      <a:pt x="484" y="282"/>
                    </a:lnTo>
                    <a:lnTo>
                      <a:pt x="484" y="286"/>
                    </a:lnTo>
                    <a:lnTo>
                      <a:pt x="484" y="292"/>
                    </a:lnTo>
                    <a:lnTo>
                      <a:pt x="484" y="300"/>
                    </a:lnTo>
                    <a:lnTo>
                      <a:pt x="484" y="304"/>
                    </a:lnTo>
                    <a:lnTo>
                      <a:pt x="484" y="308"/>
                    </a:lnTo>
                    <a:lnTo>
                      <a:pt x="486" y="312"/>
                    </a:lnTo>
                    <a:close/>
                    <a:moveTo>
                      <a:pt x="52" y="880"/>
                    </a:moveTo>
                    <a:lnTo>
                      <a:pt x="52" y="876"/>
                    </a:lnTo>
                    <a:lnTo>
                      <a:pt x="52" y="874"/>
                    </a:lnTo>
                    <a:lnTo>
                      <a:pt x="52" y="874"/>
                    </a:lnTo>
                    <a:lnTo>
                      <a:pt x="52" y="874"/>
                    </a:lnTo>
                    <a:lnTo>
                      <a:pt x="50" y="870"/>
                    </a:lnTo>
                    <a:lnTo>
                      <a:pt x="50" y="870"/>
                    </a:lnTo>
                    <a:lnTo>
                      <a:pt x="50" y="870"/>
                    </a:lnTo>
                    <a:lnTo>
                      <a:pt x="46" y="868"/>
                    </a:lnTo>
                    <a:lnTo>
                      <a:pt x="46" y="868"/>
                    </a:lnTo>
                    <a:lnTo>
                      <a:pt x="46" y="868"/>
                    </a:lnTo>
                    <a:lnTo>
                      <a:pt x="42" y="866"/>
                    </a:lnTo>
                    <a:lnTo>
                      <a:pt x="42" y="866"/>
                    </a:lnTo>
                    <a:lnTo>
                      <a:pt x="42" y="866"/>
                    </a:lnTo>
                    <a:lnTo>
                      <a:pt x="38" y="864"/>
                    </a:lnTo>
                    <a:lnTo>
                      <a:pt x="32" y="862"/>
                    </a:lnTo>
                    <a:lnTo>
                      <a:pt x="26" y="862"/>
                    </a:lnTo>
                    <a:lnTo>
                      <a:pt x="26" y="862"/>
                    </a:lnTo>
                    <a:lnTo>
                      <a:pt x="24" y="862"/>
                    </a:lnTo>
                    <a:lnTo>
                      <a:pt x="20" y="864"/>
                    </a:lnTo>
                    <a:lnTo>
                      <a:pt x="16" y="866"/>
                    </a:lnTo>
                    <a:lnTo>
                      <a:pt x="10" y="868"/>
                    </a:lnTo>
                    <a:lnTo>
                      <a:pt x="6" y="872"/>
                    </a:lnTo>
                    <a:lnTo>
                      <a:pt x="2" y="874"/>
                    </a:lnTo>
                    <a:lnTo>
                      <a:pt x="2" y="874"/>
                    </a:lnTo>
                    <a:lnTo>
                      <a:pt x="2" y="874"/>
                    </a:lnTo>
                    <a:lnTo>
                      <a:pt x="0" y="876"/>
                    </a:lnTo>
                    <a:lnTo>
                      <a:pt x="0" y="878"/>
                    </a:lnTo>
                    <a:lnTo>
                      <a:pt x="0" y="878"/>
                    </a:lnTo>
                    <a:lnTo>
                      <a:pt x="0" y="878"/>
                    </a:lnTo>
                    <a:lnTo>
                      <a:pt x="0" y="880"/>
                    </a:lnTo>
                    <a:lnTo>
                      <a:pt x="0" y="880"/>
                    </a:lnTo>
                    <a:lnTo>
                      <a:pt x="0" y="880"/>
                    </a:lnTo>
                    <a:lnTo>
                      <a:pt x="0" y="882"/>
                    </a:lnTo>
                    <a:lnTo>
                      <a:pt x="0" y="882"/>
                    </a:lnTo>
                    <a:lnTo>
                      <a:pt x="0" y="882"/>
                    </a:lnTo>
                    <a:lnTo>
                      <a:pt x="0" y="884"/>
                    </a:lnTo>
                    <a:lnTo>
                      <a:pt x="0" y="884"/>
                    </a:lnTo>
                    <a:lnTo>
                      <a:pt x="2" y="884"/>
                    </a:lnTo>
                    <a:lnTo>
                      <a:pt x="4" y="886"/>
                    </a:lnTo>
                    <a:lnTo>
                      <a:pt x="4" y="886"/>
                    </a:lnTo>
                    <a:lnTo>
                      <a:pt x="4" y="886"/>
                    </a:lnTo>
                    <a:lnTo>
                      <a:pt x="10" y="886"/>
                    </a:lnTo>
                    <a:lnTo>
                      <a:pt x="16" y="888"/>
                    </a:lnTo>
                    <a:lnTo>
                      <a:pt x="26" y="888"/>
                    </a:lnTo>
                    <a:lnTo>
                      <a:pt x="38" y="888"/>
                    </a:lnTo>
                    <a:lnTo>
                      <a:pt x="50" y="888"/>
                    </a:lnTo>
                    <a:lnTo>
                      <a:pt x="50" y="888"/>
                    </a:lnTo>
                    <a:lnTo>
                      <a:pt x="52" y="888"/>
                    </a:lnTo>
                    <a:lnTo>
                      <a:pt x="52" y="888"/>
                    </a:lnTo>
                    <a:lnTo>
                      <a:pt x="52" y="886"/>
                    </a:lnTo>
                    <a:lnTo>
                      <a:pt x="52" y="882"/>
                    </a:lnTo>
                    <a:lnTo>
                      <a:pt x="52" y="880"/>
                    </a:lnTo>
                    <a:close/>
                    <a:moveTo>
                      <a:pt x="2398" y="340"/>
                    </a:moveTo>
                    <a:lnTo>
                      <a:pt x="2398" y="340"/>
                    </a:lnTo>
                    <a:lnTo>
                      <a:pt x="2398" y="342"/>
                    </a:lnTo>
                    <a:lnTo>
                      <a:pt x="2398" y="342"/>
                    </a:lnTo>
                    <a:lnTo>
                      <a:pt x="2398" y="342"/>
                    </a:lnTo>
                    <a:lnTo>
                      <a:pt x="2398" y="344"/>
                    </a:lnTo>
                    <a:lnTo>
                      <a:pt x="2400" y="346"/>
                    </a:lnTo>
                    <a:lnTo>
                      <a:pt x="2400" y="346"/>
                    </a:lnTo>
                    <a:lnTo>
                      <a:pt x="2402" y="346"/>
                    </a:lnTo>
                    <a:lnTo>
                      <a:pt x="2402" y="346"/>
                    </a:lnTo>
                    <a:lnTo>
                      <a:pt x="2402" y="346"/>
                    </a:lnTo>
                    <a:lnTo>
                      <a:pt x="2404" y="346"/>
                    </a:lnTo>
                    <a:lnTo>
                      <a:pt x="2406" y="348"/>
                    </a:lnTo>
                    <a:lnTo>
                      <a:pt x="2410" y="348"/>
                    </a:lnTo>
                    <a:lnTo>
                      <a:pt x="2414" y="348"/>
                    </a:lnTo>
                    <a:lnTo>
                      <a:pt x="2420" y="346"/>
                    </a:lnTo>
                    <a:lnTo>
                      <a:pt x="2422" y="346"/>
                    </a:lnTo>
                    <a:lnTo>
                      <a:pt x="2426" y="346"/>
                    </a:lnTo>
                    <a:lnTo>
                      <a:pt x="2428" y="344"/>
                    </a:lnTo>
                    <a:lnTo>
                      <a:pt x="2428" y="344"/>
                    </a:lnTo>
                    <a:lnTo>
                      <a:pt x="2430" y="344"/>
                    </a:lnTo>
                    <a:lnTo>
                      <a:pt x="2432" y="342"/>
                    </a:lnTo>
                    <a:lnTo>
                      <a:pt x="2434" y="342"/>
                    </a:lnTo>
                    <a:lnTo>
                      <a:pt x="2438" y="340"/>
                    </a:lnTo>
                    <a:lnTo>
                      <a:pt x="2436" y="340"/>
                    </a:lnTo>
                    <a:lnTo>
                      <a:pt x="2438" y="338"/>
                    </a:lnTo>
                    <a:lnTo>
                      <a:pt x="2440" y="338"/>
                    </a:lnTo>
                    <a:lnTo>
                      <a:pt x="2446" y="336"/>
                    </a:lnTo>
                    <a:lnTo>
                      <a:pt x="2448" y="334"/>
                    </a:lnTo>
                    <a:lnTo>
                      <a:pt x="2450" y="334"/>
                    </a:lnTo>
                    <a:lnTo>
                      <a:pt x="2450" y="334"/>
                    </a:lnTo>
                    <a:lnTo>
                      <a:pt x="2452" y="334"/>
                    </a:lnTo>
                    <a:lnTo>
                      <a:pt x="2452" y="332"/>
                    </a:lnTo>
                    <a:lnTo>
                      <a:pt x="2452" y="332"/>
                    </a:lnTo>
                    <a:lnTo>
                      <a:pt x="2454" y="332"/>
                    </a:lnTo>
                    <a:lnTo>
                      <a:pt x="2454" y="330"/>
                    </a:lnTo>
                    <a:lnTo>
                      <a:pt x="2454" y="330"/>
                    </a:lnTo>
                    <a:lnTo>
                      <a:pt x="2454" y="330"/>
                    </a:lnTo>
                    <a:lnTo>
                      <a:pt x="2454" y="328"/>
                    </a:lnTo>
                    <a:lnTo>
                      <a:pt x="2454" y="328"/>
                    </a:lnTo>
                    <a:lnTo>
                      <a:pt x="2454" y="328"/>
                    </a:lnTo>
                    <a:lnTo>
                      <a:pt x="2454" y="326"/>
                    </a:lnTo>
                    <a:lnTo>
                      <a:pt x="2454" y="326"/>
                    </a:lnTo>
                    <a:lnTo>
                      <a:pt x="2454" y="324"/>
                    </a:lnTo>
                    <a:lnTo>
                      <a:pt x="2454" y="322"/>
                    </a:lnTo>
                    <a:lnTo>
                      <a:pt x="2454" y="322"/>
                    </a:lnTo>
                    <a:lnTo>
                      <a:pt x="2452" y="320"/>
                    </a:lnTo>
                    <a:lnTo>
                      <a:pt x="2450" y="318"/>
                    </a:lnTo>
                    <a:lnTo>
                      <a:pt x="2450" y="318"/>
                    </a:lnTo>
                    <a:lnTo>
                      <a:pt x="2450" y="316"/>
                    </a:lnTo>
                    <a:lnTo>
                      <a:pt x="2448" y="316"/>
                    </a:lnTo>
                    <a:lnTo>
                      <a:pt x="2446" y="314"/>
                    </a:lnTo>
                    <a:lnTo>
                      <a:pt x="2446" y="314"/>
                    </a:lnTo>
                    <a:lnTo>
                      <a:pt x="2446" y="314"/>
                    </a:lnTo>
                    <a:lnTo>
                      <a:pt x="2444" y="312"/>
                    </a:lnTo>
                    <a:lnTo>
                      <a:pt x="2442" y="310"/>
                    </a:lnTo>
                    <a:lnTo>
                      <a:pt x="2438" y="310"/>
                    </a:lnTo>
                    <a:lnTo>
                      <a:pt x="2436" y="308"/>
                    </a:lnTo>
                    <a:lnTo>
                      <a:pt x="2432" y="308"/>
                    </a:lnTo>
                    <a:lnTo>
                      <a:pt x="2428" y="306"/>
                    </a:lnTo>
                    <a:lnTo>
                      <a:pt x="2428" y="306"/>
                    </a:lnTo>
                    <a:lnTo>
                      <a:pt x="2428" y="306"/>
                    </a:lnTo>
                    <a:lnTo>
                      <a:pt x="2424" y="306"/>
                    </a:lnTo>
                    <a:lnTo>
                      <a:pt x="2422" y="306"/>
                    </a:lnTo>
                    <a:lnTo>
                      <a:pt x="2422" y="306"/>
                    </a:lnTo>
                    <a:lnTo>
                      <a:pt x="2420" y="308"/>
                    </a:lnTo>
                    <a:lnTo>
                      <a:pt x="2418" y="308"/>
                    </a:lnTo>
                    <a:lnTo>
                      <a:pt x="2418" y="308"/>
                    </a:lnTo>
                    <a:lnTo>
                      <a:pt x="2418" y="308"/>
                    </a:lnTo>
                    <a:lnTo>
                      <a:pt x="2414" y="310"/>
                    </a:lnTo>
                    <a:lnTo>
                      <a:pt x="2412" y="312"/>
                    </a:lnTo>
                    <a:lnTo>
                      <a:pt x="2408" y="314"/>
                    </a:lnTo>
                    <a:lnTo>
                      <a:pt x="2406" y="318"/>
                    </a:lnTo>
                    <a:lnTo>
                      <a:pt x="2404" y="320"/>
                    </a:lnTo>
                    <a:lnTo>
                      <a:pt x="2402" y="322"/>
                    </a:lnTo>
                    <a:lnTo>
                      <a:pt x="2400" y="324"/>
                    </a:lnTo>
                    <a:lnTo>
                      <a:pt x="2398" y="326"/>
                    </a:lnTo>
                    <a:lnTo>
                      <a:pt x="2398" y="330"/>
                    </a:lnTo>
                    <a:lnTo>
                      <a:pt x="2398" y="330"/>
                    </a:lnTo>
                    <a:lnTo>
                      <a:pt x="2398" y="330"/>
                    </a:lnTo>
                    <a:lnTo>
                      <a:pt x="2396" y="334"/>
                    </a:lnTo>
                    <a:lnTo>
                      <a:pt x="2396" y="336"/>
                    </a:lnTo>
                    <a:lnTo>
                      <a:pt x="2396" y="338"/>
                    </a:lnTo>
                    <a:lnTo>
                      <a:pt x="2398" y="340"/>
                    </a:lnTo>
                    <a:close/>
                    <a:moveTo>
                      <a:pt x="2568" y="530"/>
                    </a:moveTo>
                    <a:lnTo>
                      <a:pt x="2568" y="530"/>
                    </a:lnTo>
                    <a:lnTo>
                      <a:pt x="2566" y="530"/>
                    </a:lnTo>
                    <a:lnTo>
                      <a:pt x="2566" y="528"/>
                    </a:lnTo>
                    <a:lnTo>
                      <a:pt x="2566" y="528"/>
                    </a:lnTo>
                    <a:lnTo>
                      <a:pt x="2566" y="528"/>
                    </a:lnTo>
                    <a:lnTo>
                      <a:pt x="2564" y="526"/>
                    </a:lnTo>
                    <a:lnTo>
                      <a:pt x="2564" y="526"/>
                    </a:lnTo>
                    <a:lnTo>
                      <a:pt x="2562" y="526"/>
                    </a:lnTo>
                    <a:lnTo>
                      <a:pt x="2560" y="524"/>
                    </a:lnTo>
                    <a:lnTo>
                      <a:pt x="2558" y="522"/>
                    </a:lnTo>
                    <a:lnTo>
                      <a:pt x="2554" y="520"/>
                    </a:lnTo>
                    <a:lnTo>
                      <a:pt x="2552" y="520"/>
                    </a:lnTo>
                    <a:lnTo>
                      <a:pt x="2550" y="518"/>
                    </a:lnTo>
                    <a:lnTo>
                      <a:pt x="2550" y="518"/>
                    </a:lnTo>
                    <a:lnTo>
                      <a:pt x="2550" y="516"/>
                    </a:lnTo>
                    <a:lnTo>
                      <a:pt x="2548" y="514"/>
                    </a:lnTo>
                    <a:lnTo>
                      <a:pt x="2548" y="516"/>
                    </a:lnTo>
                    <a:lnTo>
                      <a:pt x="2548" y="512"/>
                    </a:lnTo>
                    <a:lnTo>
                      <a:pt x="2548" y="508"/>
                    </a:lnTo>
                    <a:lnTo>
                      <a:pt x="2548" y="506"/>
                    </a:lnTo>
                    <a:lnTo>
                      <a:pt x="2548" y="506"/>
                    </a:lnTo>
                    <a:lnTo>
                      <a:pt x="2548" y="506"/>
                    </a:lnTo>
                    <a:lnTo>
                      <a:pt x="2546" y="504"/>
                    </a:lnTo>
                    <a:lnTo>
                      <a:pt x="2546" y="504"/>
                    </a:lnTo>
                    <a:lnTo>
                      <a:pt x="2546" y="504"/>
                    </a:lnTo>
                    <a:lnTo>
                      <a:pt x="2546" y="502"/>
                    </a:lnTo>
                    <a:lnTo>
                      <a:pt x="2546" y="502"/>
                    </a:lnTo>
                    <a:lnTo>
                      <a:pt x="2544" y="502"/>
                    </a:lnTo>
                    <a:lnTo>
                      <a:pt x="2542" y="500"/>
                    </a:lnTo>
                    <a:lnTo>
                      <a:pt x="2542" y="500"/>
                    </a:lnTo>
                    <a:lnTo>
                      <a:pt x="2542" y="498"/>
                    </a:lnTo>
                    <a:lnTo>
                      <a:pt x="2538" y="498"/>
                    </a:lnTo>
                    <a:lnTo>
                      <a:pt x="2538" y="498"/>
                    </a:lnTo>
                    <a:lnTo>
                      <a:pt x="2538" y="498"/>
                    </a:lnTo>
                    <a:lnTo>
                      <a:pt x="2536" y="496"/>
                    </a:lnTo>
                    <a:lnTo>
                      <a:pt x="2534" y="496"/>
                    </a:lnTo>
                    <a:lnTo>
                      <a:pt x="2530" y="496"/>
                    </a:lnTo>
                    <a:lnTo>
                      <a:pt x="2528" y="496"/>
                    </a:lnTo>
                    <a:lnTo>
                      <a:pt x="2524" y="496"/>
                    </a:lnTo>
                    <a:lnTo>
                      <a:pt x="2520" y="496"/>
                    </a:lnTo>
                    <a:lnTo>
                      <a:pt x="2516" y="496"/>
                    </a:lnTo>
                    <a:lnTo>
                      <a:pt x="2512" y="498"/>
                    </a:lnTo>
                    <a:lnTo>
                      <a:pt x="2508" y="498"/>
                    </a:lnTo>
                    <a:lnTo>
                      <a:pt x="2508" y="498"/>
                    </a:lnTo>
                    <a:lnTo>
                      <a:pt x="2508" y="498"/>
                    </a:lnTo>
                    <a:lnTo>
                      <a:pt x="2506" y="498"/>
                    </a:lnTo>
                    <a:lnTo>
                      <a:pt x="2506" y="498"/>
                    </a:lnTo>
                    <a:lnTo>
                      <a:pt x="2506" y="500"/>
                    </a:lnTo>
                    <a:lnTo>
                      <a:pt x="2504" y="500"/>
                    </a:lnTo>
                    <a:lnTo>
                      <a:pt x="2504" y="500"/>
                    </a:lnTo>
                    <a:lnTo>
                      <a:pt x="2504" y="502"/>
                    </a:lnTo>
                    <a:lnTo>
                      <a:pt x="2502" y="502"/>
                    </a:lnTo>
                    <a:lnTo>
                      <a:pt x="2502" y="502"/>
                    </a:lnTo>
                    <a:lnTo>
                      <a:pt x="2502" y="504"/>
                    </a:lnTo>
                    <a:lnTo>
                      <a:pt x="2502" y="504"/>
                    </a:lnTo>
                    <a:lnTo>
                      <a:pt x="2502" y="504"/>
                    </a:lnTo>
                    <a:lnTo>
                      <a:pt x="2502" y="506"/>
                    </a:lnTo>
                    <a:lnTo>
                      <a:pt x="2502" y="508"/>
                    </a:lnTo>
                    <a:lnTo>
                      <a:pt x="2504" y="510"/>
                    </a:lnTo>
                    <a:lnTo>
                      <a:pt x="2504" y="512"/>
                    </a:lnTo>
                    <a:lnTo>
                      <a:pt x="2504" y="514"/>
                    </a:lnTo>
                    <a:lnTo>
                      <a:pt x="2504" y="516"/>
                    </a:lnTo>
                    <a:lnTo>
                      <a:pt x="2504" y="518"/>
                    </a:lnTo>
                    <a:lnTo>
                      <a:pt x="2504" y="522"/>
                    </a:lnTo>
                    <a:lnTo>
                      <a:pt x="2504" y="522"/>
                    </a:lnTo>
                    <a:lnTo>
                      <a:pt x="2504" y="522"/>
                    </a:lnTo>
                    <a:lnTo>
                      <a:pt x="2502" y="520"/>
                    </a:lnTo>
                    <a:lnTo>
                      <a:pt x="2498" y="518"/>
                    </a:lnTo>
                    <a:lnTo>
                      <a:pt x="2498" y="516"/>
                    </a:lnTo>
                    <a:lnTo>
                      <a:pt x="2496" y="514"/>
                    </a:lnTo>
                    <a:lnTo>
                      <a:pt x="2496" y="516"/>
                    </a:lnTo>
                    <a:lnTo>
                      <a:pt x="2496" y="514"/>
                    </a:lnTo>
                    <a:lnTo>
                      <a:pt x="2496" y="514"/>
                    </a:lnTo>
                    <a:lnTo>
                      <a:pt x="2496" y="512"/>
                    </a:lnTo>
                    <a:lnTo>
                      <a:pt x="2496" y="508"/>
                    </a:lnTo>
                    <a:lnTo>
                      <a:pt x="2498" y="504"/>
                    </a:lnTo>
                    <a:lnTo>
                      <a:pt x="2498" y="504"/>
                    </a:lnTo>
                    <a:lnTo>
                      <a:pt x="2498" y="504"/>
                    </a:lnTo>
                    <a:lnTo>
                      <a:pt x="2498" y="502"/>
                    </a:lnTo>
                    <a:lnTo>
                      <a:pt x="2500" y="500"/>
                    </a:lnTo>
                    <a:lnTo>
                      <a:pt x="2500" y="500"/>
                    </a:lnTo>
                    <a:lnTo>
                      <a:pt x="2500" y="500"/>
                    </a:lnTo>
                    <a:lnTo>
                      <a:pt x="2500" y="498"/>
                    </a:lnTo>
                    <a:lnTo>
                      <a:pt x="2502" y="496"/>
                    </a:lnTo>
                    <a:lnTo>
                      <a:pt x="2502" y="496"/>
                    </a:lnTo>
                    <a:lnTo>
                      <a:pt x="2502" y="496"/>
                    </a:lnTo>
                    <a:lnTo>
                      <a:pt x="2502" y="494"/>
                    </a:lnTo>
                    <a:lnTo>
                      <a:pt x="2502" y="494"/>
                    </a:lnTo>
                    <a:lnTo>
                      <a:pt x="2502" y="492"/>
                    </a:lnTo>
                    <a:lnTo>
                      <a:pt x="2502" y="490"/>
                    </a:lnTo>
                    <a:lnTo>
                      <a:pt x="2500" y="490"/>
                    </a:lnTo>
                    <a:lnTo>
                      <a:pt x="2500" y="488"/>
                    </a:lnTo>
                    <a:lnTo>
                      <a:pt x="2498" y="486"/>
                    </a:lnTo>
                    <a:lnTo>
                      <a:pt x="2496" y="484"/>
                    </a:lnTo>
                    <a:lnTo>
                      <a:pt x="2492" y="480"/>
                    </a:lnTo>
                    <a:lnTo>
                      <a:pt x="2490" y="478"/>
                    </a:lnTo>
                    <a:lnTo>
                      <a:pt x="2486" y="476"/>
                    </a:lnTo>
                    <a:lnTo>
                      <a:pt x="2480" y="470"/>
                    </a:lnTo>
                    <a:lnTo>
                      <a:pt x="2472" y="464"/>
                    </a:lnTo>
                    <a:lnTo>
                      <a:pt x="2462" y="456"/>
                    </a:lnTo>
                    <a:lnTo>
                      <a:pt x="2454" y="450"/>
                    </a:lnTo>
                    <a:lnTo>
                      <a:pt x="2448" y="446"/>
                    </a:lnTo>
                    <a:lnTo>
                      <a:pt x="2444" y="442"/>
                    </a:lnTo>
                    <a:lnTo>
                      <a:pt x="2442" y="440"/>
                    </a:lnTo>
                    <a:lnTo>
                      <a:pt x="2438" y="436"/>
                    </a:lnTo>
                    <a:lnTo>
                      <a:pt x="2434" y="432"/>
                    </a:lnTo>
                    <a:lnTo>
                      <a:pt x="2432" y="430"/>
                    </a:lnTo>
                    <a:lnTo>
                      <a:pt x="2430" y="426"/>
                    </a:lnTo>
                    <a:lnTo>
                      <a:pt x="2424" y="420"/>
                    </a:lnTo>
                    <a:lnTo>
                      <a:pt x="2422" y="418"/>
                    </a:lnTo>
                    <a:lnTo>
                      <a:pt x="2418" y="414"/>
                    </a:lnTo>
                    <a:lnTo>
                      <a:pt x="2414" y="412"/>
                    </a:lnTo>
                    <a:lnTo>
                      <a:pt x="2408" y="410"/>
                    </a:lnTo>
                    <a:lnTo>
                      <a:pt x="2398" y="404"/>
                    </a:lnTo>
                    <a:lnTo>
                      <a:pt x="2392" y="402"/>
                    </a:lnTo>
                    <a:lnTo>
                      <a:pt x="2388" y="398"/>
                    </a:lnTo>
                    <a:lnTo>
                      <a:pt x="2384" y="396"/>
                    </a:lnTo>
                    <a:lnTo>
                      <a:pt x="2380" y="394"/>
                    </a:lnTo>
                    <a:lnTo>
                      <a:pt x="2376" y="394"/>
                    </a:lnTo>
                    <a:lnTo>
                      <a:pt x="2374" y="392"/>
                    </a:lnTo>
                    <a:lnTo>
                      <a:pt x="2372" y="392"/>
                    </a:lnTo>
                    <a:lnTo>
                      <a:pt x="2370" y="390"/>
                    </a:lnTo>
                    <a:lnTo>
                      <a:pt x="2368" y="388"/>
                    </a:lnTo>
                    <a:lnTo>
                      <a:pt x="2368" y="388"/>
                    </a:lnTo>
                    <a:lnTo>
                      <a:pt x="2368" y="388"/>
                    </a:lnTo>
                    <a:lnTo>
                      <a:pt x="2366" y="388"/>
                    </a:lnTo>
                    <a:lnTo>
                      <a:pt x="2364" y="388"/>
                    </a:lnTo>
                    <a:lnTo>
                      <a:pt x="2364" y="388"/>
                    </a:lnTo>
                    <a:lnTo>
                      <a:pt x="2358" y="388"/>
                    </a:lnTo>
                    <a:lnTo>
                      <a:pt x="2352" y="388"/>
                    </a:lnTo>
                    <a:lnTo>
                      <a:pt x="2348" y="388"/>
                    </a:lnTo>
                    <a:lnTo>
                      <a:pt x="2342" y="388"/>
                    </a:lnTo>
                    <a:lnTo>
                      <a:pt x="2340" y="388"/>
                    </a:lnTo>
                    <a:lnTo>
                      <a:pt x="2336" y="386"/>
                    </a:lnTo>
                    <a:lnTo>
                      <a:pt x="2330" y="386"/>
                    </a:lnTo>
                    <a:lnTo>
                      <a:pt x="2324" y="384"/>
                    </a:lnTo>
                    <a:lnTo>
                      <a:pt x="2322" y="384"/>
                    </a:lnTo>
                    <a:lnTo>
                      <a:pt x="2318" y="382"/>
                    </a:lnTo>
                    <a:lnTo>
                      <a:pt x="2316" y="382"/>
                    </a:lnTo>
                    <a:lnTo>
                      <a:pt x="2316" y="382"/>
                    </a:lnTo>
                    <a:lnTo>
                      <a:pt x="2312" y="382"/>
                    </a:lnTo>
                    <a:lnTo>
                      <a:pt x="2310" y="380"/>
                    </a:lnTo>
                    <a:lnTo>
                      <a:pt x="2308" y="380"/>
                    </a:lnTo>
                    <a:lnTo>
                      <a:pt x="2306" y="380"/>
                    </a:lnTo>
                    <a:lnTo>
                      <a:pt x="2304" y="380"/>
                    </a:lnTo>
                    <a:lnTo>
                      <a:pt x="2300" y="378"/>
                    </a:lnTo>
                    <a:lnTo>
                      <a:pt x="2294" y="376"/>
                    </a:lnTo>
                    <a:lnTo>
                      <a:pt x="2290" y="376"/>
                    </a:lnTo>
                    <a:lnTo>
                      <a:pt x="2288" y="376"/>
                    </a:lnTo>
                    <a:lnTo>
                      <a:pt x="2286" y="376"/>
                    </a:lnTo>
                    <a:lnTo>
                      <a:pt x="2284" y="376"/>
                    </a:lnTo>
                    <a:lnTo>
                      <a:pt x="2282" y="376"/>
                    </a:lnTo>
                    <a:lnTo>
                      <a:pt x="2282" y="376"/>
                    </a:lnTo>
                    <a:lnTo>
                      <a:pt x="2282" y="376"/>
                    </a:lnTo>
                    <a:lnTo>
                      <a:pt x="2280" y="376"/>
                    </a:lnTo>
                    <a:lnTo>
                      <a:pt x="2280" y="376"/>
                    </a:lnTo>
                    <a:lnTo>
                      <a:pt x="2280" y="376"/>
                    </a:lnTo>
                    <a:lnTo>
                      <a:pt x="2278" y="378"/>
                    </a:lnTo>
                    <a:lnTo>
                      <a:pt x="2278" y="378"/>
                    </a:lnTo>
                    <a:lnTo>
                      <a:pt x="2278" y="378"/>
                    </a:lnTo>
                    <a:lnTo>
                      <a:pt x="2276" y="382"/>
                    </a:lnTo>
                    <a:lnTo>
                      <a:pt x="2276" y="382"/>
                    </a:lnTo>
                    <a:lnTo>
                      <a:pt x="2276" y="382"/>
                    </a:lnTo>
                    <a:lnTo>
                      <a:pt x="2274" y="386"/>
                    </a:lnTo>
                    <a:lnTo>
                      <a:pt x="2274" y="386"/>
                    </a:lnTo>
                    <a:lnTo>
                      <a:pt x="2274" y="392"/>
                    </a:lnTo>
                    <a:lnTo>
                      <a:pt x="2274" y="392"/>
                    </a:lnTo>
                    <a:lnTo>
                      <a:pt x="2274" y="392"/>
                    </a:lnTo>
                    <a:lnTo>
                      <a:pt x="2274" y="394"/>
                    </a:lnTo>
                    <a:lnTo>
                      <a:pt x="2274" y="394"/>
                    </a:lnTo>
                    <a:lnTo>
                      <a:pt x="2276" y="396"/>
                    </a:lnTo>
                    <a:lnTo>
                      <a:pt x="2276" y="400"/>
                    </a:lnTo>
                    <a:lnTo>
                      <a:pt x="2278" y="404"/>
                    </a:lnTo>
                    <a:lnTo>
                      <a:pt x="2280" y="408"/>
                    </a:lnTo>
                    <a:lnTo>
                      <a:pt x="2282" y="412"/>
                    </a:lnTo>
                    <a:lnTo>
                      <a:pt x="2282" y="416"/>
                    </a:lnTo>
                    <a:lnTo>
                      <a:pt x="2284" y="420"/>
                    </a:lnTo>
                    <a:lnTo>
                      <a:pt x="2284" y="420"/>
                    </a:lnTo>
                    <a:lnTo>
                      <a:pt x="2284" y="420"/>
                    </a:lnTo>
                    <a:lnTo>
                      <a:pt x="2282" y="420"/>
                    </a:lnTo>
                    <a:lnTo>
                      <a:pt x="2280" y="420"/>
                    </a:lnTo>
                    <a:lnTo>
                      <a:pt x="2276" y="420"/>
                    </a:lnTo>
                    <a:lnTo>
                      <a:pt x="2272" y="420"/>
                    </a:lnTo>
                    <a:lnTo>
                      <a:pt x="2268" y="418"/>
                    </a:lnTo>
                    <a:lnTo>
                      <a:pt x="2266" y="418"/>
                    </a:lnTo>
                    <a:lnTo>
                      <a:pt x="2262" y="418"/>
                    </a:lnTo>
                    <a:lnTo>
                      <a:pt x="2258" y="416"/>
                    </a:lnTo>
                    <a:lnTo>
                      <a:pt x="2254" y="416"/>
                    </a:lnTo>
                    <a:lnTo>
                      <a:pt x="2250" y="414"/>
                    </a:lnTo>
                    <a:lnTo>
                      <a:pt x="2252" y="416"/>
                    </a:lnTo>
                    <a:lnTo>
                      <a:pt x="2250" y="414"/>
                    </a:lnTo>
                    <a:lnTo>
                      <a:pt x="2250" y="414"/>
                    </a:lnTo>
                    <a:lnTo>
                      <a:pt x="2248" y="412"/>
                    </a:lnTo>
                    <a:lnTo>
                      <a:pt x="2248" y="410"/>
                    </a:lnTo>
                    <a:lnTo>
                      <a:pt x="2248" y="408"/>
                    </a:lnTo>
                    <a:lnTo>
                      <a:pt x="2246" y="404"/>
                    </a:lnTo>
                    <a:lnTo>
                      <a:pt x="2246" y="402"/>
                    </a:lnTo>
                    <a:lnTo>
                      <a:pt x="2246" y="398"/>
                    </a:lnTo>
                    <a:lnTo>
                      <a:pt x="2246" y="400"/>
                    </a:lnTo>
                    <a:lnTo>
                      <a:pt x="2248" y="398"/>
                    </a:lnTo>
                    <a:lnTo>
                      <a:pt x="2248" y="396"/>
                    </a:lnTo>
                    <a:lnTo>
                      <a:pt x="2248" y="396"/>
                    </a:lnTo>
                    <a:lnTo>
                      <a:pt x="2250" y="394"/>
                    </a:lnTo>
                    <a:lnTo>
                      <a:pt x="2252" y="394"/>
                    </a:lnTo>
                    <a:lnTo>
                      <a:pt x="2256" y="394"/>
                    </a:lnTo>
                    <a:lnTo>
                      <a:pt x="2258" y="394"/>
                    </a:lnTo>
                    <a:lnTo>
                      <a:pt x="2262" y="392"/>
                    </a:lnTo>
                    <a:lnTo>
                      <a:pt x="2264" y="392"/>
                    </a:lnTo>
                    <a:lnTo>
                      <a:pt x="2264" y="392"/>
                    </a:lnTo>
                    <a:lnTo>
                      <a:pt x="2264" y="392"/>
                    </a:lnTo>
                    <a:lnTo>
                      <a:pt x="2266" y="390"/>
                    </a:lnTo>
                    <a:lnTo>
                      <a:pt x="2266" y="390"/>
                    </a:lnTo>
                    <a:lnTo>
                      <a:pt x="2266" y="388"/>
                    </a:lnTo>
                    <a:lnTo>
                      <a:pt x="2266" y="386"/>
                    </a:lnTo>
                    <a:lnTo>
                      <a:pt x="2266" y="386"/>
                    </a:lnTo>
                    <a:lnTo>
                      <a:pt x="2264" y="386"/>
                    </a:lnTo>
                    <a:lnTo>
                      <a:pt x="2264" y="384"/>
                    </a:lnTo>
                    <a:lnTo>
                      <a:pt x="2262" y="382"/>
                    </a:lnTo>
                    <a:lnTo>
                      <a:pt x="2258" y="380"/>
                    </a:lnTo>
                    <a:lnTo>
                      <a:pt x="2256" y="378"/>
                    </a:lnTo>
                    <a:lnTo>
                      <a:pt x="2254" y="378"/>
                    </a:lnTo>
                    <a:lnTo>
                      <a:pt x="2254" y="378"/>
                    </a:lnTo>
                    <a:lnTo>
                      <a:pt x="2254" y="378"/>
                    </a:lnTo>
                    <a:lnTo>
                      <a:pt x="2250" y="376"/>
                    </a:lnTo>
                    <a:lnTo>
                      <a:pt x="2250" y="376"/>
                    </a:lnTo>
                    <a:lnTo>
                      <a:pt x="2250" y="376"/>
                    </a:lnTo>
                    <a:lnTo>
                      <a:pt x="2248" y="376"/>
                    </a:lnTo>
                    <a:lnTo>
                      <a:pt x="2248" y="376"/>
                    </a:lnTo>
                    <a:lnTo>
                      <a:pt x="2248" y="376"/>
                    </a:lnTo>
                    <a:lnTo>
                      <a:pt x="2246" y="378"/>
                    </a:lnTo>
                    <a:lnTo>
                      <a:pt x="2246" y="378"/>
                    </a:lnTo>
                    <a:lnTo>
                      <a:pt x="2244" y="378"/>
                    </a:lnTo>
                    <a:lnTo>
                      <a:pt x="2244" y="380"/>
                    </a:lnTo>
                    <a:lnTo>
                      <a:pt x="2244" y="380"/>
                    </a:lnTo>
                    <a:lnTo>
                      <a:pt x="2244" y="380"/>
                    </a:lnTo>
                    <a:lnTo>
                      <a:pt x="2242" y="382"/>
                    </a:lnTo>
                    <a:lnTo>
                      <a:pt x="2240" y="386"/>
                    </a:lnTo>
                    <a:lnTo>
                      <a:pt x="2238" y="390"/>
                    </a:lnTo>
                    <a:lnTo>
                      <a:pt x="2236" y="392"/>
                    </a:lnTo>
                    <a:lnTo>
                      <a:pt x="2234" y="394"/>
                    </a:lnTo>
                    <a:lnTo>
                      <a:pt x="2230" y="398"/>
                    </a:lnTo>
                    <a:lnTo>
                      <a:pt x="2230" y="400"/>
                    </a:lnTo>
                    <a:lnTo>
                      <a:pt x="2228" y="402"/>
                    </a:lnTo>
                    <a:lnTo>
                      <a:pt x="2226" y="402"/>
                    </a:lnTo>
                    <a:lnTo>
                      <a:pt x="2226" y="402"/>
                    </a:lnTo>
                    <a:lnTo>
                      <a:pt x="2226" y="402"/>
                    </a:lnTo>
                    <a:lnTo>
                      <a:pt x="2224" y="402"/>
                    </a:lnTo>
                    <a:lnTo>
                      <a:pt x="2224" y="402"/>
                    </a:lnTo>
                    <a:lnTo>
                      <a:pt x="2222" y="400"/>
                    </a:lnTo>
                    <a:lnTo>
                      <a:pt x="2220" y="398"/>
                    </a:lnTo>
                    <a:lnTo>
                      <a:pt x="2220" y="398"/>
                    </a:lnTo>
                    <a:lnTo>
                      <a:pt x="2220" y="398"/>
                    </a:lnTo>
                    <a:lnTo>
                      <a:pt x="2218" y="398"/>
                    </a:lnTo>
                    <a:lnTo>
                      <a:pt x="2218" y="398"/>
                    </a:lnTo>
                    <a:lnTo>
                      <a:pt x="2216" y="398"/>
                    </a:lnTo>
                    <a:lnTo>
                      <a:pt x="2216" y="396"/>
                    </a:lnTo>
                    <a:lnTo>
                      <a:pt x="2216" y="396"/>
                    </a:lnTo>
                    <a:lnTo>
                      <a:pt x="2214" y="396"/>
                    </a:lnTo>
                    <a:lnTo>
                      <a:pt x="2212" y="396"/>
                    </a:lnTo>
                    <a:lnTo>
                      <a:pt x="2210" y="396"/>
                    </a:lnTo>
                    <a:lnTo>
                      <a:pt x="2204" y="398"/>
                    </a:lnTo>
                    <a:lnTo>
                      <a:pt x="2198" y="398"/>
                    </a:lnTo>
                    <a:lnTo>
                      <a:pt x="2196" y="398"/>
                    </a:lnTo>
                    <a:lnTo>
                      <a:pt x="2194" y="398"/>
                    </a:lnTo>
                    <a:lnTo>
                      <a:pt x="2194" y="398"/>
                    </a:lnTo>
                    <a:lnTo>
                      <a:pt x="2192" y="396"/>
                    </a:lnTo>
                    <a:lnTo>
                      <a:pt x="2192" y="394"/>
                    </a:lnTo>
                    <a:lnTo>
                      <a:pt x="2190" y="390"/>
                    </a:lnTo>
                    <a:lnTo>
                      <a:pt x="2190" y="390"/>
                    </a:lnTo>
                    <a:lnTo>
                      <a:pt x="2190" y="390"/>
                    </a:lnTo>
                    <a:lnTo>
                      <a:pt x="2188" y="390"/>
                    </a:lnTo>
                    <a:lnTo>
                      <a:pt x="2188" y="390"/>
                    </a:lnTo>
                    <a:lnTo>
                      <a:pt x="2186" y="388"/>
                    </a:lnTo>
                    <a:lnTo>
                      <a:pt x="2186" y="388"/>
                    </a:lnTo>
                    <a:lnTo>
                      <a:pt x="2186" y="388"/>
                    </a:lnTo>
                    <a:lnTo>
                      <a:pt x="2184" y="388"/>
                    </a:lnTo>
                    <a:lnTo>
                      <a:pt x="2182" y="388"/>
                    </a:lnTo>
                    <a:lnTo>
                      <a:pt x="2178" y="388"/>
                    </a:lnTo>
                    <a:lnTo>
                      <a:pt x="2176" y="388"/>
                    </a:lnTo>
                    <a:lnTo>
                      <a:pt x="2172" y="388"/>
                    </a:lnTo>
                    <a:lnTo>
                      <a:pt x="2164" y="388"/>
                    </a:lnTo>
                    <a:lnTo>
                      <a:pt x="2162" y="388"/>
                    </a:lnTo>
                    <a:lnTo>
                      <a:pt x="2158" y="388"/>
                    </a:lnTo>
                    <a:lnTo>
                      <a:pt x="2156" y="390"/>
                    </a:lnTo>
                    <a:lnTo>
                      <a:pt x="2154" y="390"/>
                    </a:lnTo>
                    <a:lnTo>
                      <a:pt x="2154" y="390"/>
                    </a:lnTo>
                    <a:lnTo>
                      <a:pt x="2154" y="390"/>
                    </a:lnTo>
                    <a:lnTo>
                      <a:pt x="2150" y="392"/>
                    </a:lnTo>
                    <a:lnTo>
                      <a:pt x="2150" y="392"/>
                    </a:lnTo>
                    <a:lnTo>
                      <a:pt x="2150" y="392"/>
                    </a:lnTo>
                    <a:lnTo>
                      <a:pt x="2148" y="394"/>
                    </a:lnTo>
                    <a:lnTo>
                      <a:pt x="2144" y="398"/>
                    </a:lnTo>
                    <a:lnTo>
                      <a:pt x="2144" y="400"/>
                    </a:lnTo>
                    <a:lnTo>
                      <a:pt x="2142" y="402"/>
                    </a:lnTo>
                    <a:lnTo>
                      <a:pt x="2142" y="402"/>
                    </a:lnTo>
                    <a:lnTo>
                      <a:pt x="2142" y="402"/>
                    </a:lnTo>
                    <a:lnTo>
                      <a:pt x="2142" y="402"/>
                    </a:lnTo>
                    <a:lnTo>
                      <a:pt x="2140" y="402"/>
                    </a:lnTo>
                    <a:lnTo>
                      <a:pt x="2140" y="400"/>
                    </a:lnTo>
                    <a:lnTo>
                      <a:pt x="2140" y="400"/>
                    </a:lnTo>
                    <a:lnTo>
                      <a:pt x="2140" y="400"/>
                    </a:lnTo>
                    <a:lnTo>
                      <a:pt x="2138" y="398"/>
                    </a:lnTo>
                    <a:lnTo>
                      <a:pt x="2138" y="398"/>
                    </a:lnTo>
                    <a:lnTo>
                      <a:pt x="2138" y="398"/>
                    </a:lnTo>
                    <a:lnTo>
                      <a:pt x="2136" y="396"/>
                    </a:lnTo>
                    <a:lnTo>
                      <a:pt x="2132" y="394"/>
                    </a:lnTo>
                    <a:lnTo>
                      <a:pt x="2130" y="390"/>
                    </a:lnTo>
                    <a:lnTo>
                      <a:pt x="2128" y="390"/>
                    </a:lnTo>
                    <a:lnTo>
                      <a:pt x="2128" y="390"/>
                    </a:lnTo>
                    <a:lnTo>
                      <a:pt x="2128" y="390"/>
                    </a:lnTo>
                    <a:lnTo>
                      <a:pt x="2126" y="388"/>
                    </a:lnTo>
                    <a:lnTo>
                      <a:pt x="2120" y="388"/>
                    </a:lnTo>
                    <a:lnTo>
                      <a:pt x="2118" y="388"/>
                    </a:lnTo>
                    <a:lnTo>
                      <a:pt x="2118" y="386"/>
                    </a:lnTo>
                    <a:lnTo>
                      <a:pt x="2118" y="386"/>
                    </a:lnTo>
                    <a:lnTo>
                      <a:pt x="2120" y="384"/>
                    </a:lnTo>
                    <a:lnTo>
                      <a:pt x="2124" y="382"/>
                    </a:lnTo>
                    <a:lnTo>
                      <a:pt x="2124" y="382"/>
                    </a:lnTo>
                    <a:lnTo>
                      <a:pt x="2124" y="380"/>
                    </a:lnTo>
                    <a:lnTo>
                      <a:pt x="2124" y="378"/>
                    </a:lnTo>
                    <a:lnTo>
                      <a:pt x="2124" y="378"/>
                    </a:lnTo>
                    <a:lnTo>
                      <a:pt x="2126" y="378"/>
                    </a:lnTo>
                    <a:lnTo>
                      <a:pt x="2126" y="376"/>
                    </a:lnTo>
                    <a:lnTo>
                      <a:pt x="2126" y="376"/>
                    </a:lnTo>
                    <a:lnTo>
                      <a:pt x="2126" y="376"/>
                    </a:lnTo>
                    <a:lnTo>
                      <a:pt x="2126" y="372"/>
                    </a:lnTo>
                    <a:lnTo>
                      <a:pt x="2126" y="372"/>
                    </a:lnTo>
                    <a:lnTo>
                      <a:pt x="2126" y="368"/>
                    </a:lnTo>
                    <a:lnTo>
                      <a:pt x="2126" y="366"/>
                    </a:lnTo>
                    <a:lnTo>
                      <a:pt x="2126" y="362"/>
                    </a:lnTo>
                    <a:lnTo>
                      <a:pt x="2124" y="358"/>
                    </a:lnTo>
                    <a:lnTo>
                      <a:pt x="2122" y="356"/>
                    </a:lnTo>
                    <a:lnTo>
                      <a:pt x="2120" y="354"/>
                    </a:lnTo>
                    <a:lnTo>
                      <a:pt x="2120" y="350"/>
                    </a:lnTo>
                    <a:lnTo>
                      <a:pt x="2116" y="346"/>
                    </a:lnTo>
                    <a:lnTo>
                      <a:pt x="2114" y="342"/>
                    </a:lnTo>
                    <a:lnTo>
                      <a:pt x="2112" y="340"/>
                    </a:lnTo>
                    <a:lnTo>
                      <a:pt x="2108" y="336"/>
                    </a:lnTo>
                    <a:lnTo>
                      <a:pt x="2108" y="336"/>
                    </a:lnTo>
                    <a:lnTo>
                      <a:pt x="2108" y="336"/>
                    </a:lnTo>
                    <a:lnTo>
                      <a:pt x="2104" y="334"/>
                    </a:lnTo>
                    <a:lnTo>
                      <a:pt x="2104" y="334"/>
                    </a:lnTo>
                    <a:lnTo>
                      <a:pt x="2104" y="334"/>
                    </a:lnTo>
                    <a:lnTo>
                      <a:pt x="2098" y="332"/>
                    </a:lnTo>
                    <a:lnTo>
                      <a:pt x="2094" y="330"/>
                    </a:lnTo>
                    <a:lnTo>
                      <a:pt x="2088" y="330"/>
                    </a:lnTo>
                    <a:lnTo>
                      <a:pt x="2082" y="328"/>
                    </a:lnTo>
                    <a:lnTo>
                      <a:pt x="2076" y="328"/>
                    </a:lnTo>
                    <a:lnTo>
                      <a:pt x="2068" y="328"/>
                    </a:lnTo>
                    <a:lnTo>
                      <a:pt x="2062" y="328"/>
                    </a:lnTo>
                    <a:lnTo>
                      <a:pt x="2056" y="328"/>
                    </a:lnTo>
                    <a:lnTo>
                      <a:pt x="2052" y="328"/>
                    </a:lnTo>
                    <a:lnTo>
                      <a:pt x="2048" y="328"/>
                    </a:lnTo>
                    <a:lnTo>
                      <a:pt x="2048" y="328"/>
                    </a:lnTo>
                    <a:lnTo>
                      <a:pt x="2046" y="328"/>
                    </a:lnTo>
                    <a:lnTo>
                      <a:pt x="2044" y="330"/>
                    </a:lnTo>
                    <a:lnTo>
                      <a:pt x="2044" y="330"/>
                    </a:lnTo>
                    <a:lnTo>
                      <a:pt x="2044" y="330"/>
                    </a:lnTo>
                    <a:lnTo>
                      <a:pt x="2042" y="332"/>
                    </a:lnTo>
                    <a:lnTo>
                      <a:pt x="2042" y="332"/>
                    </a:lnTo>
                    <a:lnTo>
                      <a:pt x="2040" y="332"/>
                    </a:lnTo>
                    <a:lnTo>
                      <a:pt x="2038" y="334"/>
                    </a:lnTo>
                    <a:lnTo>
                      <a:pt x="2038" y="336"/>
                    </a:lnTo>
                    <a:lnTo>
                      <a:pt x="2036" y="338"/>
                    </a:lnTo>
                    <a:lnTo>
                      <a:pt x="2036" y="338"/>
                    </a:lnTo>
                    <a:lnTo>
                      <a:pt x="2034" y="340"/>
                    </a:lnTo>
                    <a:lnTo>
                      <a:pt x="2032" y="340"/>
                    </a:lnTo>
                    <a:lnTo>
                      <a:pt x="2030" y="340"/>
                    </a:lnTo>
                    <a:lnTo>
                      <a:pt x="2026" y="340"/>
                    </a:lnTo>
                    <a:lnTo>
                      <a:pt x="2018" y="338"/>
                    </a:lnTo>
                    <a:lnTo>
                      <a:pt x="2014" y="336"/>
                    </a:lnTo>
                    <a:lnTo>
                      <a:pt x="2010" y="336"/>
                    </a:lnTo>
                    <a:lnTo>
                      <a:pt x="2006" y="334"/>
                    </a:lnTo>
                    <a:lnTo>
                      <a:pt x="2004" y="334"/>
                    </a:lnTo>
                    <a:lnTo>
                      <a:pt x="2002" y="332"/>
                    </a:lnTo>
                    <a:lnTo>
                      <a:pt x="2002" y="334"/>
                    </a:lnTo>
                    <a:lnTo>
                      <a:pt x="2000" y="332"/>
                    </a:lnTo>
                    <a:lnTo>
                      <a:pt x="2000" y="332"/>
                    </a:lnTo>
                    <a:lnTo>
                      <a:pt x="2000" y="332"/>
                    </a:lnTo>
                    <a:lnTo>
                      <a:pt x="1998" y="330"/>
                    </a:lnTo>
                    <a:lnTo>
                      <a:pt x="1996" y="328"/>
                    </a:lnTo>
                    <a:lnTo>
                      <a:pt x="1994" y="326"/>
                    </a:lnTo>
                    <a:lnTo>
                      <a:pt x="1992" y="326"/>
                    </a:lnTo>
                    <a:lnTo>
                      <a:pt x="1988" y="322"/>
                    </a:lnTo>
                    <a:lnTo>
                      <a:pt x="1984" y="318"/>
                    </a:lnTo>
                    <a:lnTo>
                      <a:pt x="1980" y="314"/>
                    </a:lnTo>
                    <a:lnTo>
                      <a:pt x="1978" y="310"/>
                    </a:lnTo>
                    <a:lnTo>
                      <a:pt x="1974" y="306"/>
                    </a:lnTo>
                    <a:lnTo>
                      <a:pt x="1972" y="304"/>
                    </a:lnTo>
                    <a:lnTo>
                      <a:pt x="1968" y="300"/>
                    </a:lnTo>
                    <a:lnTo>
                      <a:pt x="1966" y="296"/>
                    </a:lnTo>
                    <a:lnTo>
                      <a:pt x="1966" y="296"/>
                    </a:lnTo>
                    <a:lnTo>
                      <a:pt x="1966" y="294"/>
                    </a:lnTo>
                    <a:lnTo>
                      <a:pt x="1966" y="290"/>
                    </a:lnTo>
                    <a:lnTo>
                      <a:pt x="1968" y="286"/>
                    </a:lnTo>
                    <a:lnTo>
                      <a:pt x="1968" y="284"/>
                    </a:lnTo>
                    <a:lnTo>
                      <a:pt x="1968" y="284"/>
                    </a:lnTo>
                    <a:lnTo>
                      <a:pt x="1968" y="284"/>
                    </a:lnTo>
                    <a:lnTo>
                      <a:pt x="1966" y="282"/>
                    </a:lnTo>
                    <a:lnTo>
                      <a:pt x="1966" y="282"/>
                    </a:lnTo>
                    <a:lnTo>
                      <a:pt x="1966" y="280"/>
                    </a:lnTo>
                    <a:lnTo>
                      <a:pt x="1964" y="278"/>
                    </a:lnTo>
                    <a:lnTo>
                      <a:pt x="1964" y="278"/>
                    </a:lnTo>
                    <a:lnTo>
                      <a:pt x="1964" y="278"/>
                    </a:lnTo>
                    <a:lnTo>
                      <a:pt x="1962" y="276"/>
                    </a:lnTo>
                    <a:lnTo>
                      <a:pt x="1962" y="276"/>
                    </a:lnTo>
                    <a:lnTo>
                      <a:pt x="1962" y="276"/>
                    </a:lnTo>
                    <a:lnTo>
                      <a:pt x="1960" y="274"/>
                    </a:lnTo>
                    <a:lnTo>
                      <a:pt x="1958" y="274"/>
                    </a:lnTo>
                    <a:lnTo>
                      <a:pt x="1954" y="272"/>
                    </a:lnTo>
                    <a:lnTo>
                      <a:pt x="1952" y="270"/>
                    </a:lnTo>
                    <a:lnTo>
                      <a:pt x="1948" y="270"/>
                    </a:lnTo>
                    <a:lnTo>
                      <a:pt x="1944" y="268"/>
                    </a:lnTo>
                    <a:lnTo>
                      <a:pt x="1940" y="268"/>
                    </a:lnTo>
                    <a:lnTo>
                      <a:pt x="1934" y="268"/>
                    </a:lnTo>
                    <a:lnTo>
                      <a:pt x="1924" y="266"/>
                    </a:lnTo>
                    <a:lnTo>
                      <a:pt x="1920" y="266"/>
                    </a:lnTo>
                    <a:lnTo>
                      <a:pt x="1916" y="264"/>
                    </a:lnTo>
                    <a:lnTo>
                      <a:pt x="1914" y="264"/>
                    </a:lnTo>
                    <a:lnTo>
                      <a:pt x="1910" y="262"/>
                    </a:lnTo>
                    <a:lnTo>
                      <a:pt x="1906" y="260"/>
                    </a:lnTo>
                    <a:lnTo>
                      <a:pt x="1900" y="256"/>
                    </a:lnTo>
                    <a:lnTo>
                      <a:pt x="1896" y="254"/>
                    </a:lnTo>
                    <a:lnTo>
                      <a:pt x="1890" y="252"/>
                    </a:lnTo>
                    <a:lnTo>
                      <a:pt x="1884" y="250"/>
                    </a:lnTo>
                    <a:lnTo>
                      <a:pt x="1876" y="248"/>
                    </a:lnTo>
                    <a:lnTo>
                      <a:pt x="1870" y="248"/>
                    </a:lnTo>
                    <a:lnTo>
                      <a:pt x="1870" y="248"/>
                    </a:lnTo>
                    <a:lnTo>
                      <a:pt x="1866" y="248"/>
                    </a:lnTo>
                    <a:lnTo>
                      <a:pt x="1862" y="248"/>
                    </a:lnTo>
                    <a:lnTo>
                      <a:pt x="1852" y="250"/>
                    </a:lnTo>
                    <a:lnTo>
                      <a:pt x="1848" y="252"/>
                    </a:lnTo>
                    <a:lnTo>
                      <a:pt x="1844" y="254"/>
                    </a:lnTo>
                    <a:lnTo>
                      <a:pt x="1840" y="254"/>
                    </a:lnTo>
                    <a:lnTo>
                      <a:pt x="1836" y="256"/>
                    </a:lnTo>
                    <a:lnTo>
                      <a:pt x="1832" y="258"/>
                    </a:lnTo>
                    <a:lnTo>
                      <a:pt x="1828" y="260"/>
                    </a:lnTo>
                    <a:lnTo>
                      <a:pt x="1828" y="260"/>
                    </a:lnTo>
                    <a:lnTo>
                      <a:pt x="1828" y="260"/>
                    </a:lnTo>
                    <a:lnTo>
                      <a:pt x="1824" y="264"/>
                    </a:lnTo>
                    <a:lnTo>
                      <a:pt x="1824" y="264"/>
                    </a:lnTo>
                    <a:lnTo>
                      <a:pt x="1824" y="264"/>
                    </a:lnTo>
                    <a:lnTo>
                      <a:pt x="1822" y="266"/>
                    </a:lnTo>
                    <a:lnTo>
                      <a:pt x="1822" y="266"/>
                    </a:lnTo>
                    <a:lnTo>
                      <a:pt x="1822" y="268"/>
                    </a:lnTo>
                    <a:lnTo>
                      <a:pt x="1820" y="270"/>
                    </a:lnTo>
                    <a:lnTo>
                      <a:pt x="1820" y="274"/>
                    </a:lnTo>
                    <a:lnTo>
                      <a:pt x="1818" y="274"/>
                    </a:lnTo>
                    <a:lnTo>
                      <a:pt x="1818" y="274"/>
                    </a:lnTo>
                    <a:lnTo>
                      <a:pt x="1818" y="270"/>
                    </a:lnTo>
                    <a:lnTo>
                      <a:pt x="1818" y="266"/>
                    </a:lnTo>
                    <a:lnTo>
                      <a:pt x="1818" y="264"/>
                    </a:lnTo>
                    <a:lnTo>
                      <a:pt x="1818" y="262"/>
                    </a:lnTo>
                    <a:lnTo>
                      <a:pt x="1818" y="262"/>
                    </a:lnTo>
                    <a:lnTo>
                      <a:pt x="1818" y="262"/>
                    </a:lnTo>
                    <a:lnTo>
                      <a:pt x="1816" y="262"/>
                    </a:lnTo>
                    <a:lnTo>
                      <a:pt x="1816" y="260"/>
                    </a:lnTo>
                    <a:lnTo>
                      <a:pt x="1816" y="260"/>
                    </a:lnTo>
                    <a:lnTo>
                      <a:pt x="1814" y="260"/>
                    </a:lnTo>
                    <a:lnTo>
                      <a:pt x="1814" y="260"/>
                    </a:lnTo>
                    <a:lnTo>
                      <a:pt x="1814" y="260"/>
                    </a:lnTo>
                    <a:lnTo>
                      <a:pt x="1812" y="260"/>
                    </a:lnTo>
                    <a:lnTo>
                      <a:pt x="1812" y="260"/>
                    </a:lnTo>
                    <a:lnTo>
                      <a:pt x="1812" y="260"/>
                    </a:lnTo>
                    <a:lnTo>
                      <a:pt x="1810" y="262"/>
                    </a:lnTo>
                    <a:lnTo>
                      <a:pt x="1810" y="262"/>
                    </a:lnTo>
                    <a:lnTo>
                      <a:pt x="1810" y="262"/>
                    </a:lnTo>
                    <a:lnTo>
                      <a:pt x="1810" y="262"/>
                    </a:lnTo>
                    <a:lnTo>
                      <a:pt x="1808" y="266"/>
                    </a:lnTo>
                    <a:lnTo>
                      <a:pt x="1806" y="268"/>
                    </a:lnTo>
                    <a:lnTo>
                      <a:pt x="1806" y="272"/>
                    </a:lnTo>
                    <a:lnTo>
                      <a:pt x="1804" y="276"/>
                    </a:lnTo>
                    <a:lnTo>
                      <a:pt x="1804" y="278"/>
                    </a:lnTo>
                    <a:lnTo>
                      <a:pt x="1804" y="280"/>
                    </a:lnTo>
                    <a:lnTo>
                      <a:pt x="1804" y="280"/>
                    </a:lnTo>
                    <a:lnTo>
                      <a:pt x="1804" y="282"/>
                    </a:lnTo>
                    <a:lnTo>
                      <a:pt x="1804" y="282"/>
                    </a:lnTo>
                    <a:lnTo>
                      <a:pt x="1804" y="282"/>
                    </a:lnTo>
                    <a:lnTo>
                      <a:pt x="1804" y="284"/>
                    </a:lnTo>
                    <a:lnTo>
                      <a:pt x="1806" y="284"/>
                    </a:lnTo>
                    <a:lnTo>
                      <a:pt x="1806" y="284"/>
                    </a:lnTo>
                    <a:lnTo>
                      <a:pt x="1806" y="286"/>
                    </a:lnTo>
                    <a:lnTo>
                      <a:pt x="1808" y="286"/>
                    </a:lnTo>
                    <a:lnTo>
                      <a:pt x="1810" y="286"/>
                    </a:lnTo>
                    <a:lnTo>
                      <a:pt x="1812" y="288"/>
                    </a:lnTo>
                    <a:lnTo>
                      <a:pt x="1814" y="288"/>
                    </a:lnTo>
                    <a:lnTo>
                      <a:pt x="1814" y="290"/>
                    </a:lnTo>
                    <a:lnTo>
                      <a:pt x="1814" y="292"/>
                    </a:lnTo>
                    <a:lnTo>
                      <a:pt x="1816" y="294"/>
                    </a:lnTo>
                    <a:lnTo>
                      <a:pt x="1816" y="298"/>
                    </a:lnTo>
                    <a:lnTo>
                      <a:pt x="1816" y="302"/>
                    </a:lnTo>
                    <a:lnTo>
                      <a:pt x="1816" y="304"/>
                    </a:lnTo>
                    <a:lnTo>
                      <a:pt x="1816" y="308"/>
                    </a:lnTo>
                    <a:lnTo>
                      <a:pt x="1816" y="310"/>
                    </a:lnTo>
                    <a:lnTo>
                      <a:pt x="1814" y="310"/>
                    </a:lnTo>
                    <a:lnTo>
                      <a:pt x="1814" y="310"/>
                    </a:lnTo>
                    <a:lnTo>
                      <a:pt x="1812" y="310"/>
                    </a:lnTo>
                    <a:lnTo>
                      <a:pt x="1808" y="310"/>
                    </a:lnTo>
                    <a:lnTo>
                      <a:pt x="1802" y="308"/>
                    </a:lnTo>
                    <a:lnTo>
                      <a:pt x="1800" y="306"/>
                    </a:lnTo>
                    <a:lnTo>
                      <a:pt x="1798" y="306"/>
                    </a:lnTo>
                    <a:lnTo>
                      <a:pt x="1798" y="306"/>
                    </a:lnTo>
                    <a:lnTo>
                      <a:pt x="1796" y="306"/>
                    </a:lnTo>
                    <a:lnTo>
                      <a:pt x="1794" y="306"/>
                    </a:lnTo>
                    <a:lnTo>
                      <a:pt x="1794" y="306"/>
                    </a:lnTo>
                    <a:lnTo>
                      <a:pt x="1792" y="308"/>
                    </a:lnTo>
                    <a:lnTo>
                      <a:pt x="1790" y="308"/>
                    </a:lnTo>
                    <a:lnTo>
                      <a:pt x="1790" y="308"/>
                    </a:lnTo>
                    <a:lnTo>
                      <a:pt x="1788" y="308"/>
                    </a:lnTo>
                    <a:lnTo>
                      <a:pt x="1786" y="308"/>
                    </a:lnTo>
                    <a:lnTo>
                      <a:pt x="1782" y="308"/>
                    </a:lnTo>
                    <a:lnTo>
                      <a:pt x="1780" y="308"/>
                    </a:lnTo>
                    <a:lnTo>
                      <a:pt x="1774" y="308"/>
                    </a:lnTo>
                    <a:lnTo>
                      <a:pt x="1770" y="308"/>
                    </a:lnTo>
                    <a:lnTo>
                      <a:pt x="1766" y="308"/>
                    </a:lnTo>
                    <a:lnTo>
                      <a:pt x="1760" y="308"/>
                    </a:lnTo>
                    <a:lnTo>
                      <a:pt x="1756" y="308"/>
                    </a:lnTo>
                    <a:lnTo>
                      <a:pt x="1754" y="308"/>
                    </a:lnTo>
                    <a:lnTo>
                      <a:pt x="1752" y="308"/>
                    </a:lnTo>
                    <a:lnTo>
                      <a:pt x="1752" y="308"/>
                    </a:lnTo>
                    <a:lnTo>
                      <a:pt x="1750" y="308"/>
                    </a:lnTo>
                    <a:lnTo>
                      <a:pt x="1748" y="310"/>
                    </a:lnTo>
                    <a:lnTo>
                      <a:pt x="1748" y="310"/>
                    </a:lnTo>
                    <a:lnTo>
                      <a:pt x="1748" y="310"/>
                    </a:lnTo>
                    <a:lnTo>
                      <a:pt x="1748" y="310"/>
                    </a:lnTo>
                    <a:lnTo>
                      <a:pt x="1748" y="310"/>
                    </a:lnTo>
                    <a:lnTo>
                      <a:pt x="1746" y="310"/>
                    </a:lnTo>
                    <a:lnTo>
                      <a:pt x="1746" y="312"/>
                    </a:lnTo>
                    <a:lnTo>
                      <a:pt x="1744" y="314"/>
                    </a:lnTo>
                    <a:lnTo>
                      <a:pt x="1744" y="314"/>
                    </a:lnTo>
                    <a:lnTo>
                      <a:pt x="1742" y="314"/>
                    </a:lnTo>
                    <a:lnTo>
                      <a:pt x="1742" y="314"/>
                    </a:lnTo>
                    <a:lnTo>
                      <a:pt x="1740" y="314"/>
                    </a:lnTo>
                    <a:lnTo>
                      <a:pt x="1734" y="316"/>
                    </a:lnTo>
                    <a:lnTo>
                      <a:pt x="1730" y="316"/>
                    </a:lnTo>
                    <a:lnTo>
                      <a:pt x="1728" y="316"/>
                    </a:lnTo>
                    <a:lnTo>
                      <a:pt x="1728" y="316"/>
                    </a:lnTo>
                    <a:lnTo>
                      <a:pt x="1726" y="314"/>
                    </a:lnTo>
                    <a:lnTo>
                      <a:pt x="1722" y="312"/>
                    </a:lnTo>
                    <a:lnTo>
                      <a:pt x="1724" y="312"/>
                    </a:lnTo>
                    <a:lnTo>
                      <a:pt x="1722" y="310"/>
                    </a:lnTo>
                    <a:lnTo>
                      <a:pt x="1720" y="306"/>
                    </a:lnTo>
                    <a:lnTo>
                      <a:pt x="1720" y="306"/>
                    </a:lnTo>
                    <a:lnTo>
                      <a:pt x="1720" y="304"/>
                    </a:lnTo>
                    <a:lnTo>
                      <a:pt x="1718" y="302"/>
                    </a:lnTo>
                    <a:lnTo>
                      <a:pt x="1718" y="296"/>
                    </a:lnTo>
                    <a:lnTo>
                      <a:pt x="1718" y="294"/>
                    </a:lnTo>
                    <a:lnTo>
                      <a:pt x="1718" y="292"/>
                    </a:lnTo>
                    <a:lnTo>
                      <a:pt x="1718" y="290"/>
                    </a:lnTo>
                    <a:lnTo>
                      <a:pt x="1718" y="290"/>
                    </a:lnTo>
                    <a:lnTo>
                      <a:pt x="1716" y="288"/>
                    </a:lnTo>
                    <a:lnTo>
                      <a:pt x="1716" y="288"/>
                    </a:lnTo>
                    <a:lnTo>
                      <a:pt x="1716" y="288"/>
                    </a:lnTo>
                    <a:lnTo>
                      <a:pt x="1714" y="286"/>
                    </a:lnTo>
                    <a:lnTo>
                      <a:pt x="1714" y="286"/>
                    </a:lnTo>
                    <a:lnTo>
                      <a:pt x="1714" y="286"/>
                    </a:lnTo>
                    <a:lnTo>
                      <a:pt x="1712" y="288"/>
                    </a:lnTo>
                    <a:lnTo>
                      <a:pt x="1710" y="288"/>
                    </a:lnTo>
                    <a:lnTo>
                      <a:pt x="1710" y="288"/>
                    </a:lnTo>
                    <a:lnTo>
                      <a:pt x="1710" y="288"/>
                    </a:lnTo>
                    <a:lnTo>
                      <a:pt x="1708" y="290"/>
                    </a:lnTo>
                    <a:lnTo>
                      <a:pt x="1706" y="292"/>
                    </a:lnTo>
                    <a:lnTo>
                      <a:pt x="1704" y="296"/>
                    </a:lnTo>
                    <a:lnTo>
                      <a:pt x="1702" y="298"/>
                    </a:lnTo>
                    <a:lnTo>
                      <a:pt x="1702" y="300"/>
                    </a:lnTo>
                    <a:lnTo>
                      <a:pt x="1700" y="302"/>
                    </a:lnTo>
                    <a:lnTo>
                      <a:pt x="1700" y="302"/>
                    </a:lnTo>
                    <a:lnTo>
                      <a:pt x="1700" y="304"/>
                    </a:lnTo>
                    <a:lnTo>
                      <a:pt x="1700" y="306"/>
                    </a:lnTo>
                    <a:lnTo>
                      <a:pt x="1700" y="308"/>
                    </a:lnTo>
                    <a:lnTo>
                      <a:pt x="1700" y="312"/>
                    </a:lnTo>
                    <a:lnTo>
                      <a:pt x="1700" y="316"/>
                    </a:lnTo>
                    <a:lnTo>
                      <a:pt x="1700" y="318"/>
                    </a:lnTo>
                    <a:lnTo>
                      <a:pt x="1698" y="322"/>
                    </a:lnTo>
                    <a:lnTo>
                      <a:pt x="1696" y="326"/>
                    </a:lnTo>
                    <a:lnTo>
                      <a:pt x="1696" y="330"/>
                    </a:lnTo>
                    <a:lnTo>
                      <a:pt x="1694" y="334"/>
                    </a:lnTo>
                    <a:lnTo>
                      <a:pt x="1692" y="338"/>
                    </a:lnTo>
                    <a:lnTo>
                      <a:pt x="1690" y="342"/>
                    </a:lnTo>
                    <a:lnTo>
                      <a:pt x="1688" y="344"/>
                    </a:lnTo>
                    <a:lnTo>
                      <a:pt x="1686" y="346"/>
                    </a:lnTo>
                    <a:lnTo>
                      <a:pt x="1686" y="346"/>
                    </a:lnTo>
                    <a:lnTo>
                      <a:pt x="1686" y="346"/>
                    </a:lnTo>
                    <a:lnTo>
                      <a:pt x="1686" y="346"/>
                    </a:lnTo>
                    <a:lnTo>
                      <a:pt x="1684" y="344"/>
                    </a:lnTo>
                    <a:lnTo>
                      <a:pt x="1682" y="342"/>
                    </a:lnTo>
                    <a:lnTo>
                      <a:pt x="1680" y="340"/>
                    </a:lnTo>
                    <a:lnTo>
                      <a:pt x="1678" y="336"/>
                    </a:lnTo>
                    <a:lnTo>
                      <a:pt x="1674" y="334"/>
                    </a:lnTo>
                    <a:lnTo>
                      <a:pt x="1672" y="330"/>
                    </a:lnTo>
                    <a:lnTo>
                      <a:pt x="1668" y="326"/>
                    </a:lnTo>
                    <a:lnTo>
                      <a:pt x="1666" y="322"/>
                    </a:lnTo>
                    <a:lnTo>
                      <a:pt x="1664" y="318"/>
                    </a:lnTo>
                    <a:lnTo>
                      <a:pt x="1662" y="314"/>
                    </a:lnTo>
                    <a:lnTo>
                      <a:pt x="1660" y="312"/>
                    </a:lnTo>
                    <a:lnTo>
                      <a:pt x="1660" y="308"/>
                    </a:lnTo>
                    <a:lnTo>
                      <a:pt x="1658" y="302"/>
                    </a:lnTo>
                    <a:lnTo>
                      <a:pt x="1658" y="294"/>
                    </a:lnTo>
                    <a:lnTo>
                      <a:pt x="1658" y="288"/>
                    </a:lnTo>
                    <a:lnTo>
                      <a:pt x="1658" y="286"/>
                    </a:lnTo>
                    <a:lnTo>
                      <a:pt x="1658" y="284"/>
                    </a:lnTo>
                    <a:lnTo>
                      <a:pt x="1658" y="284"/>
                    </a:lnTo>
                    <a:lnTo>
                      <a:pt x="1660" y="280"/>
                    </a:lnTo>
                    <a:lnTo>
                      <a:pt x="1662" y="276"/>
                    </a:lnTo>
                    <a:lnTo>
                      <a:pt x="1664" y="274"/>
                    </a:lnTo>
                    <a:lnTo>
                      <a:pt x="1664" y="274"/>
                    </a:lnTo>
                    <a:lnTo>
                      <a:pt x="1664" y="274"/>
                    </a:lnTo>
                    <a:lnTo>
                      <a:pt x="1664" y="272"/>
                    </a:lnTo>
                    <a:lnTo>
                      <a:pt x="1664" y="268"/>
                    </a:lnTo>
                    <a:lnTo>
                      <a:pt x="1664" y="264"/>
                    </a:lnTo>
                    <a:lnTo>
                      <a:pt x="1664" y="258"/>
                    </a:lnTo>
                    <a:lnTo>
                      <a:pt x="1664" y="250"/>
                    </a:lnTo>
                    <a:lnTo>
                      <a:pt x="1664" y="244"/>
                    </a:lnTo>
                    <a:lnTo>
                      <a:pt x="1664" y="244"/>
                    </a:lnTo>
                    <a:lnTo>
                      <a:pt x="1664" y="244"/>
                    </a:lnTo>
                    <a:lnTo>
                      <a:pt x="1662" y="240"/>
                    </a:lnTo>
                    <a:lnTo>
                      <a:pt x="1662" y="238"/>
                    </a:lnTo>
                    <a:lnTo>
                      <a:pt x="1658" y="232"/>
                    </a:lnTo>
                    <a:lnTo>
                      <a:pt x="1658" y="232"/>
                    </a:lnTo>
                    <a:lnTo>
                      <a:pt x="1658" y="232"/>
                    </a:lnTo>
                    <a:lnTo>
                      <a:pt x="1654" y="226"/>
                    </a:lnTo>
                    <a:lnTo>
                      <a:pt x="1648" y="222"/>
                    </a:lnTo>
                    <a:lnTo>
                      <a:pt x="1648" y="222"/>
                    </a:lnTo>
                    <a:lnTo>
                      <a:pt x="1648" y="222"/>
                    </a:lnTo>
                    <a:lnTo>
                      <a:pt x="1646" y="220"/>
                    </a:lnTo>
                    <a:lnTo>
                      <a:pt x="1646" y="220"/>
                    </a:lnTo>
                    <a:lnTo>
                      <a:pt x="1646" y="220"/>
                    </a:lnTo>
                    <a:lnTo>
                      <a:pt x="1642" y="218"/>
                    </a:lnTo>
                    <a:lnTo>
                      <a:pt x="1642" y="218"/>
                    </a:lnTo>
                    <a:lnTo>
                      <a:pt x="1642" y="218"/>
                    </a:lnTo>
                    <a:lnTo>
                      <a:pt x="1636" y="216"/>
                    </a:lnTo>
                    <a:lnTo>
                      <a:pt x="1630" y="216"/>
                    </a:lnTo>
                    <a:lnTo>
                      <a:pt x="1626" y="216"/>
                    </a:lnTo>
                    <a:lnTo>
                      <a:pt x="1624" y="214"/>
                    </a:lnTo>
                    <a:lnTo>
                      <a:pt x="1618" y="214"/>
                    </a:lnTo>
                    <a:lnTo>
                      <a:pt x="1614" y="212"/>
                    </a:lnTo>
                    <a:lnTo>
                      <a:pt x="1610" y="210"/>
                    </a:lnTo>
                    <a:lnTo>
                      <a:pt x="1606" y="210"/>
                    </a:lnTo>
                    <a:lnTo>
                      <a:pt x="1606" y="210"/>
                    </a:lnTo>
                    <a:lnTo>
                      <a:pt x="1604" y="208"/>
                    </a:lnTo>
                    <a:lnTo>
                      <a:pt x="1604" y="208"/>
                    </a:lnTo>
                    <a:lnTo>
                      <a:pt x="1602" y="206"/>
                    </a:lnTo>
                    <a:lnTo>
                      <a:pt x="1600" y="204"/>
                    </a:lnTo>
                    <a:lnTo>
                      <a:pt x="1598" y="202"/>
                    </a:lnTo>
                    <a:lnTo>
                      <a:pt x="1596" y="200"/>
                    </a:lnTo>
                    <a:lnTo>
                      <a:pt x="1596" y="200"/>
                    </a:lnTo>
                    <a:lnTo>
                      <a:pt x="1596" y="200"/>
                    </a:lnTo>
                    <a:lnTo>
                      <a:pt x="1594" y="198"/>
                    </a:lnTo>
                    <a:lnTo>
                      <a:pt x="1594" y="198"/>
                    </a:lnTo>
                    <a:lnTo>
                      <a:pt x="1594" y="198"/>
                    </a:lnTo>
                    <a:lnTo>
                      <a:pt x="1592" y="196"/>
                    </a:lnTo>
                    <a:lnTo>
                      <a:pt x="1592" y="196"/>
                    </a:lnTo>
                    <a:lnTo>
                      <a:pt x="1592" y="196"/>
                    </a:lnTo>
                    <a:lnTo>
                      <a:pt x="1586" y="196"/>
                    </a:lnTo>
                    <a:lnTo>
                      <a:pt x="1586" y="196"/>
                    </a:lnTo>
                    <a:lnTo>
                      <a:pt x="1582" y="198"/>
                    </a:lnTo>
                    <a:lnTo>
                      <a:pt x="1582" y="198"/>
                    </a:lnTo>
                    <a:lnTo>
                      <a:pt x="1582" y="198"/>
                    </a:lnTo>
                    <a:lnTo>
                      <a:pt x="1578" y="198"/>
                    </a:lnTo>
                    <a:lnTo>
                      <a:pt x="1578" y="198"/>
                    </a:lnTo>
                    <a:lnTo>
                      <a:pt x="1578" y="198"/>
                    </a:lnTo>
                    <a:lnTo>
                      <a:pt x="1576" y="200"/>
                    </a:lnTo>
                    <a:lnTo>
                      <a:pt x="1574" y="200"/>
                    </a:lnTo>
                    <a:lnTo>
                      <a:pt x="1574" y="200"/>
                    </a:lnTo>
                    <a:lnTo>
                      <a:pt x="1574" y="200"/>
                    </a:lnTo>
                    <a:lnTo>
                      <a:pt x="1572" y="202"/>
                    </a:lnTo>
                    <a:lnTo>
                      <a:pt x="1572" y="202"/>
                    </a:lnTo>
                    <a:lnTo>
                      <a:pt x="1572" y="204"/>
                    </a:lnTo>
                    <a:lnTo>
                      <a:pt x="1570" y="206"/>
                    </a:lnTo>
                    <a:lnTo>
                      <a:pt x="1570" y="206"/>
                    </a:lnTo>
                    <a:lnTo>
                      <a:pt x="1570" y="206"/>
                    </a:lnTo>
                    <a:lnTo>
                      <a:pt x="1568" y="210"/>
                    </a:lnTo>
                    <a:lnTo>
                      <a:pt x="1568" y="210"/>
                    </a:lnTo>
                    <a:lnTo>
                      <a:pt x="1568" y="210"/>
                    </a:lnTo>
                    <a:lnTo>
                      <a:pt x="1568" y="214"/>
                    </a:lnTo>
                    <a:lnTo>
                      <a:pt x="1568" y="214"/>
                    </a:lnTo>
                    <a:lnTo>
                      <a:pt x="1568" y="216"/>
                    </a:lnTo>
                    <a:lnTo>
                      <a:pt x="1568" y="216"/>
                    </a:lnTo>
                    <a:lnTo>
                      <a:pt x="1568" y="216"/>
                    </a:lnTo>
                    <a:lnTo>
                      <a:pt x="1570" y="220"/>
                    </a:lnTo>
                    <a:lnTo>
                      <a:pt x="1570" y="222"/>
                    </a:lnTo>
                    <a:lnTo>
                      <a:pt x="1572" y="224"/>
                    </a:lnTo>
                    <a:lnTo>
                      <a:pt x="1574" y="226"/>
                    </a:lnTo>
                    <a:lnTo>
                      <a:pt x="1574" y="228"/>
                    </a:lnTo>
                    <a:lnTo>
                      <a:pt x="1576" y="230"/>
                    </a:lnTo>
                    <a:lnTo>
                      <a:pt x="1576" y="232"/>
                    </a:lnTo>
                    <a:lnTo>
                      <a:pt x="1576" y="232"/>
                    </a:lnTo>
                    <a:lnTo>
                      <a:pt x="1576" y="234"/>
                    </a:lnTo>
                    <a:lnTo>
                      <a:pt x="1574" y="236"/>
                    </a:lnTo>
                    <a:lnTo>
                      <a:pt x="1570" y="238"/>
                    </a:lnTo>
                    <a:lnTo>
                      <a:pt x="1572" y="238"/>
                    </a:lnTo>
                    <a:lnTo>
                      <a:pt x="1570" y="238"/>
                    </a:lnTo>
                    <a:lnTo>
                      <a:pt x="1570" y="238"/>
                    </a:lnTo>
                    <a:lnTo>
                      <a:pt x="1568" y="236"/>
                    </a:lnTo>
                    <a:lnTo>
                      <a:pt x="1566" y="234"/>
                    </a:lnTo>
                    <a:lnTo>
                      <a:pt x="1566" y="234"/>
                    </a:lnTo>
                    <a:lnTo>
                      <a:pt x="1566" y="234"/>
                    </a:lnTo>
                    <a:lnTo>
                      <a:pt x="1564" y="234"/>
                    </a:lnTo>
                    <a:lnTo>
                      <a:pt x="1564" y="234"/>
                    </a:lnTo>
                    <a:lnTo>
                      <a:pt x="1564" y="234"/>
                    </a:lnTo>
                    <a:lnTo>
                      <a:pt x="1562" y="232"/>
                    </a:lnTo>
                    <a:lnTo>
                      <a:pt x="1560" y="232"/>
                    </a:lnTo>
                    <a:lnTo>
                      <a:pt x="1558" y="234"/>
                    </a:lnTo>
                    <a:lnTo>
                      <a:pt x="1556" y="234"/>
                    </a:lnTo>
                    <a:lnTo>
                      <a:pt x="1550" y="234"/>
                    </a:lnTo>
                    <a:lnTo>
                      <a:pt x="1544" y="236"/>
                    </a:lnTo>
                    <a:lnTo>
                      <a:pt x="1542" y="238"/>
                    </a:lnTo>
                    <a:lnTo>
                      <a:pt x="1540" y="238"/>
                    </a:lnTo>
                    <a:lnTo>
                      <a:pt x="1534" y="238"/>
                    </a:lnTo>
                    <a:lnTo>
                      <a:pt x="1530" y="238"/>
                    </a:lnTo>
                    <a:lnTo>
                      <a:pt x="1526" y="238"/>
                    </a:lnTo>
                    <a:lnTo>
                      <a:pt x="1526" y="238"/>
                    </a:lnTo>
                    <a:lnTo>
                      <a:pt x="1524" y="238"/>
                    </a:lnTo>
                    <a:lnTo>
                      <a:pt x="1524" y="238"/>
                    </a:lnTo>
                    <a:lnTo>
                      <a:pt x="1524" y="238"/>
                    </a:lnTo>
                    <a:lnTo>
                      <a:pt x="1522" y="236"/>
                    </a:lnTo>
                    <a:lnTo>
                      <a:pt x="1524" y="238"/>
                    </a:lnTo>
                    <a:lnTo>
                      <a:pt x="1522" y="234"/>
                    </a:lnTo>
                    <a:lnTo>
                      <a:pt x="1522" y="232"/>
                    </a:lnTo>
                    <a:lnTo>
                      <a:pt x="1522" y="230"/>
                    </a:lnTo>
                    <a:lnTo>
                      <a:pt x="1522" y="230"/>
                    </a:lnTo>
                    <a:lnTo>
                      <a:pt x="1522" y="230"/>
                    </a:lnTo>
                    <a:lnTo>
                      <a:pt x="1522" y="228"/>
                    </a:lnTo>
                    <a:lnTo>
                      <a:pt x="1522" y="228"/>
                    </a:lnTo>
                    <a:lnTo>
                      <a:pt x="1520" y="228"/>
                    </a:lnTo>
                    <a:lnTo>
                      <a:pt x="1520" y="228"/>
                    </a:lnTo>
                    <a:lnTo>
                      <a:pt x="1520" y="228"/>
                    </a:lnTo>
                    <a:lnTo>
                      <a:pt x="1516" y="228"/>
                    </a:lnTo>
                    <a:lnTo>
                      <a:pt x="1516" y="228"/>
                    </a:lnTo>
                    <a:lnTo>
                      <a:pt x="1516" y="228"/>
                    </a:lnTo>
                    <a:lnTo>
                      <a:pt x="1516" y="228"/>
                    </a:lnTo>
                    <a:lnTo>
                      <a:pt x="1514" y="228"/>
                    </a:lnTo>
                    <a:lnTo>
                      <a:pt x="1512" y="230"/>
                    </a:lnTo>
                    <a:lnTo>
                      <a:pt x="1512" y="232"/>
                    </a:lnTo>
                    <a:lnTo>
                      <a:pt x="1510" y="234"/>
                    </a:lnTo>
                    <a:lnTo>
                      <a:pt x="1510" y="234"/>
                    </a:lnTo>
                    <a:lnTo>
                      <a:pt x="1508" y="234"/>
                    </a:lnTo>
                    <a:lnTo>
                      <a:pt x="1508" y="234"/>
                    </a:lnTo>
                    <a:lnTo>
                      <a:pt x="1508" y="234"/>
                    </a:lnTo>
                    <a:lnTo>
                      <a:pt x="1506" y="232"/>
                    </a:lnTo>
                    <a:lnTo>
                      <a:pt x="1504" y="230"/>
                    </a:lnTo>
                    <a:lnTo>
                      <a:pt x="1504" y="228"/>
                    </a:lnTo>
                    <a:lnTo>
                      <a:pt x="1504" y="228"/>
                    </a:lnTo>
                    <a:lnTo>
                      <a:pt x="1504" y="226"/>
                    </a:lnTo>
                    <a:lnTo>
                      <a:pt x="1506" y="220"/>
                    </a:lnTo>
                    <a:lnTo>
                      <a:pt x="1506" y="218"/>
                    </a:lnTo>
                    <a:lnTo>
                      <a:pt x="1506" y="218"/>
                    </a:lnTo>
                    <a:lnTo>
                      <a:pt x="1508" y="218"/>
                    </a:lnTo>
                    <a:lnTo>
                      <a:pt x="1508" y="216"/>
                    </a:lnTo>
                    <a:lnTo>
                      <a:pt x="1508" y="214"/>
                    </a:lnTo>
                    <a:lnTo>
                      <a:pt x="1508" y="212"/>
                    </a:lnTo>
                    <a:lnTo>
                      <a:pt x="1508" y="212"/>
                    </a:lnTo>
                    <a:lnTo>
                      <a:pt x="1506" y="210"/>
                    </a:lnTo>
                    <a:lnTo>
                      <a:pt x="1506" y="208"/>
                    </a:lnTo>
                    <a:lnTo>
                      <a:pt x="1506" y="208"/>
                    </a:lnTo>
                    <a:lnTo>
                      <a:pt x="1504" y="208"/>
                    </a:lnTo>
                    <a:lnTo>
                      <a:pt x="1502" y="206"/>
                    </a:lnTo>
                    <a:lnTo>
                      <a:pt x="1502" y="206"/>
                    </a:lnTo>
                    <a:lnTo>
                      <a:pt x="1502" y="206"/>
                    </a:lnTo>
                    <a:lnTo>
                      <a:pt x="1498" y="206"/>
                    </a:lnTo>
                    <a:lnTo>
                      <a:pt x="1494" y="204"/>
                    </a:lnTo>
                    <a:lnTo>
                      <a:pt x="1488" y="204"/>
                    </a:lnTo>
                    <a:lnTo>
                      <a:pt x="1480" y="204"/>
                    </a:lnTo>
                    <a:lnTo>
                      <a:pt x="1476" y="204"/>
                    </a:lnTo>
                    <a:lnTo>
                      <a:pt x="1472" y="202"/>
                    </a:lnTo>
                    <a:lnTo>
                      <a:pt x="1466" y="202"/>
                    </a:lnTo>
                    <a:lnTo>
                      <a:pt x="1458" y="202"/>
                    </a:lnTo>
                    <a:lnTo>
                      <a:pt x="1452" y="202"/>
                    </a:lnTo>
                    <a:lnTo>
                      <a:pt x="1446" y="202"/>
                    </a:lnTo>
                    <a:lnTo>
                      <a:pt x="1442" y="204"/>
                    </a:lnTo>
                    <a:lnTo>
                      <a:pt x="1438" y="204"/>
                    </a:lnTo>
                    <a:lnTo>
                      <a:pt x="1432" y="204"/>
                    </a:lnTo>
                    <a:lnTo>
                      <a:pt x="1428" y="204"/>
                    </a:lnTo>
                    <a:lnTo>
                      <a:pt x="1424" y="204"/>
                    </a:lnTo>
                    <a:lnTo>
                      <a:pt x="1424" y="204"/>
                    </a:lnTo>
                    <a:lnTo>
                      <a:pt x="1424" y="204"/>
                    </a:lnTo>
                    <a:lnTo>
                      <a:pt x="1422" y="204"/>
                    </a:lnTo>
                    <a:lnTo>
                      <a:pt x="1422" y="204"/>
                    </a:lnTo>
                    <a:lnTo>
                      <a:pt x="1420" y="206"/>
                    </a:lnTo>
                    <a:lnTo>
                      <a:pt x="1420" y="206"/>
                    </a:lnTo>
                    <a:lnTo>
                      <a:pt x="1418" y="202"/>
                    </a:lnTo>
                    <a:lnTo>
                      <a:pt x="1418" y="198"/>
                    </a:lnTo>
                    <a:lnTo>
                      <a:pt x="1416" y="194"/>
                    </a:lnTo>
                    <a:lnTo>
                      <a:pt x="1416" y="194"/>
                    </a:lnTo>
                    <a:lnTo>
                      <a:pt x="1416" y="194"/>
                    </a:lnTo>
                    <a:lnTo>
                      <a:pt x="1416" y="192"/>
                    </a:lnTo>
                    <a:lnTo>
                      <a:pt x="1416" y="192"/>
                    </a:lnTo>
                    <a:lnTo>
                      <a:pt x="1416" y="192"/>
                    </a:lnTo>
                    <a:lnTo>
                      <a:pt x="1414" y="190"/>
                    </a:lnTo>
                    <a:lnTo>
                      <a:pt x="1414" y="190"/>
                    </a:lnTo>
                    <a:lnTo>
                      <a:pt x="1414" y="190"/>
                    </a:lnTo>
                    <a:lnTo>
                      <a:pt x="1414" y="188"/>
                    </a:lnTo>
                    <a:lnTo>
                      <a:pt x="1414" y="188"/>
                    </a:lnTo>
                    <a:lnTo>
                      <a:pt x="1414" y="186"/>
                    </a:lnTo>
                    <a:lnTo>
                      <a:pt x="1414" y="186"/>
                    </a:lnTo>
                    <a:lnTo>
                      <a:pt x="1416" y="186"/>
                    </a:lnTo>
                    <a:lnTo>
                      <a:pt x="1416" y="186"/>
                    </a:lnTo>
                    <a:lnTo>
                      <a:pt x="1416" y="186"/>
                    </a:lnTo>
                    <a:lnTo>
                      <a:pt x="1418" y="184"/>
                    </a:lnTo>
                    <a:lnTo>
                      <a:pt x="1418" y="184"/>
                    </a:lnTo>
                    <a:lnTo>
                      <a:pt x="1420" y="184"/>
                    </a:lnTo>
                    <a:lnTo>
                      <a:pt x="1420" y="182"/>
                    </a:lnTo>
                    <a:lnTo>
                      <a:pt x="1420" y="182"/>
                    </a:lnTo>
                    <a:lnTo>
                      <a:pt x="1420" y="180"/>
                    </a:lnTo>
                    <a:lnTo>
                      <a:pt x="1420" y="178"/>
                    </a:lnTo>
                    <a:lnTo>
                      <a:pt x="1418" y="176"/>
                    </a:lnTo>
                    <a:lnTo>
                      <a:pt x="1418" y="172"/>
                    </a:lnTo>
                    <a:lnTo>
                      <a:pt x="1416" y="168"/>
                    </a:lnTo>
                    <a:lnTo>
                      <a:pt x="1416" y="166"/>
                    </a:lnTo>
                    <a:lnTo>
                      <a:pt x="1414" y="162"/>
                    </a:lnTo>
                    <a:lnTo>
                      <a:pt x="1412" y="160"/>
                    </a:lnTo>
                    <a:lnTo>
                      <a:pt x="1412" y="160"/>
                    </a:lnTo>
                    <a:lnTo>
                      <a:pt x="1412" y="160"/>
                    </a:lnTo>
                    <a:lnTo>
                      <a:pt x="1410" y="158"/>
                    </a:lnTo>
                    <a:lnTo>
                      <a:pt x="1410" y="158"/>
                    </a:lnTo>
                    <a:lnTo>
                      <a:pt x="1410" y="158"/>
                    </a:lnTo>
                    <a:lnTo>
                      <a:pt x="1408" y="156"/>
                    </a:lnTo>
                    <a:lnTo>
                      <a:pt x="1408" y="156"/>
                    </a:lnTo>
                    <a:lnTo>
                      <a:pt x="1408" y="156"/>
                    </a:lnTo>
                    <a:lnTo>
                      <a:pt x="1406" y="156"/>
                    </a:lnTo>
                    <a:lnTo>
                      <a:pt x="1406" y="156"/>
                    </a:lnTo>
                    <a:lnTo>
                      <a:pt x="1406" y="156"/>
                    </a:lnTo>
                    <a:lnTo>
                      <a:pt x="1400" y="156"/>
                    </a:lnTo>
                    <a:lnTo>
                      <a:pt x="1400" y="156"/>
                    </a:lnTo>
                    <a:lnTo>
                      <a:pt x="1398" y="156"/>
                    </a:lnTo>
                    <a:lnTo>
                      <a:pt x="1398" y="156"/>
                    </a:lnTo>
                    <a:lnTo>
                      <a:pt x="1398" y="156"/>
                    </a:lnTo>
                    <a:lnTo>
                      <a:pt x="1396" y="156"/>
                    </a:lnTo>
                    <a:lnTo>
                      <a:pt x="1396" y="156"/>
                    </a:lnTo>
                    <a:lnTo>
                      <a:pt x="1396" y="156"/>
                    </a:lnTo>
                    <a:lnTo>
                      <a:pt x="1394" y="158"/>
                    </a:lnTo>
                    <a:lnTo>
                      <a:pt x="1394" y="158"/>
                    </a:lnTo>
                    <a:lnTo>
                      <a:pt x="1392" y="158"/>
                    </a:lnTo>
                    <a:lnTo>
                      <a:pt x="1392" y="158"/>
                    </a:lnTo>
                    <a:lnTo>
                      <a:pt x="1392" y="158"/>
                    </a:lnTo>
                    <a:lnTo>
                      <a:pt x="1392" y="160"/>
                    </a:lnTo>
                    <a:lnTo>
                      <a:pt x="1390" y="162"/>
                    </a:lnTo>
                    <a:lnTo>
                      <a:pt x="1390" y="162"/>
                    </a:lnTo>
                    <a:lnTo>
                      <a:pt x="1390" y="162"/>
                    </a:lnTo>
                    <a:lnTo>
                      <a:pt x="1390" y="164"/>
                    </a:lnTo>
                    <a:lnTo>
                      <a:pt x="1390" y="164"/>
                    </a:lnTo>
                    <a:lnTo>
                      <a:pt x="1390" y="170"/>
                    </a:lnTo>
                    <a:lnTo>
                      <a:pt x="1390" y="170"/>
                    </a:lnTo>
                    <a:lnTo>
                      <a:pt x="1390" y="170"/>
                    </a:lnTo>
                    <a:lnTo>
                      <a:pt x="1392" y="174"/>
                    </a:lnTo>
                    <a:lnTo>
                      <a:pt x="1392" y="174"/>
                    </a:lnTo>
                    <a:lnTo>
                      <a:pt x="1392" y="176"/>
                    </a:lnTo>
                    <a:lnTo>
                      <a:pt x="1394" y="178"/>
                    </a:lnTo>
                    <a:lnTo>
                      <a:pt x="1394" y="180"/>
                    </a:lnTo>
                    <a:lnTo>
                      <a:pt x="1394" y="180"/>
                    </a:lnTo>
                    <a:lnTo>
                      <a:pt x="1394" y="180"/>
                    </a:lnTo>
                    <a:lnTo>
                      <a:pt x="1396" y="182"/>
                    </a:lnTo>
                    <a:lnTo>
                      <a:pt x="1396" y="182"/>
                    </a:lnTo>
                    <a:lnTo>
                      <a:pt x="1396" y="182"/>
                    </a:lnTo>
                    <a:lnTo>
                      <a:pt x="1398" y="182"/>
                    </a:lnTo>
                    <a:lnTo>
                      <a:pt x="1398" y="182"/>
                    </a:lnTo>
                    <a:lnTo>
                      <a:pt x="1398" y="182"/>
                    </a:lnTo>
                    <a:lnTo>
                      <a:pt x="1404" y="184"/>
                    </a:lnTo>
                    <a:lnTo>
                      <a:pt x="1404" y="184"/>
                    </a:lnTo>
                    <a:lnTo>
                      <a:pt x="1404" y="184"/>
                    </a:lnTo>
                    <a:lnTo>
                      <a:pt x="1404" y="188"/>
                    </a:lnTo>
                    <a:lnTo>
                      <a:pt x="1404" y="188"/>
                    </a:lnTo>
                    <a:lnTo>
                      <a:pt x="1404" y="188"/>
                    </a:lnTo>
                    <a:lnTo>
                      <a:pt x="1404" y="190"/>
                    </a:lnTo>
                    <a:lnTo>
                      <a:pt x="1404" y="190"/>
                    </a:lnTo>
                    <a:lnTo>
                      <a:pt x="1404" y="190"/>
                    </a:lnTo>
                    <a:lnTo>
                      <a:pt x="1404" y="190"/>
                    </a:lnTo>
                    <a:lnTo>
                      <a:pt x="1408" y="192"/>
                    </a:lnTo>
                    <a:lnTo>
                      <a:pt x="1408" y="194"/>
                    </a:lnTo>
                    <a:lnTo>
                      <a:pt x="1408" y="196"/>
                    </a:lnTo>
                    <a:lnTo>
                      <a:pt x="1406" y="200"/>
                    </a:lnTo>
                    <a:lnTo>
                      <a:pt x="1406" y="202"/>
                    </a:lnTo>
                    <a:lnTo>
                      <a:pt x="1404" y="204"/>
                    </a:lnTo>
                    <a:lnTo>
                      <a:pt x="1404" y="204"/>
                    </a:lnTo>
                    <a:lnTo>
                      <a:pt x="1402" y="200"/>
                    </a:lnTo>
                    <a:lnTo>
                      <a:pt x="1402" y="196"/>
                    </a:lnTo>
                    <a:lnTo>
                      <a:pt x="1400" y="192"/>
                    </a:lnTo>
                    <a:lnTo>
                      <a:pt x="1396" y="188"/>
                    </a:lnTo>
                    <a:lnTo>
                      <a:pt x="1394" y="186"/>
                    </a:lnTo>
                    <a:lnTo>
                      <a:pt x="1394" y="186"/>
                    </a:lnTo>
                    <a:lnTo>
                      <a:pt x="1394" y="186"/>
                    </a:lnTo>
                    <a:lnTo>
                      <a:pt x="1394" y="184"/>
                    </a:lnTo>
                    <a:lnTo>
                      <a:pt x="1394" y="184"/>
                    </a:lnTo>
                    <a:lnTo>
                      <a:pt x="1392" y="184"/>
                    </a:lnTo>
                    <a:lnTo>
                      <a:pt x="1392" y="184"/>
                    </a:lnTo>
                    <a:lnTo>
                      <a:pt x="1392" y="184"/>
                    </a:lnTo>
                    <a:lnTo>
                      <a:pt x="1390" y="184"/>
                    </a:lnTo>
                    <a:lnTo>
                      <a:pt x="1390" y="184"/>
                    </a:lnTo>
                    <a:lnTo>
                      <a:pt x="1390" y="184"/>
                    </a:lnTo>
                    <a:lnTo>
                      <a:pt x="1388" y="184"/>
                    </a:lnTo>
                    <a:lnTo>
                      <a:pt x="1388" y="184"/>
                    </a:lnTo>
                    <a:lnTo>
                      <a:pt x="1388" y="184"/>
                    </a:lnTo>
                    <a:lnTo>
                      <a:pt x="1386" y="184"/>
                    </a:lnTo>
                    <a:lnTo>
                      <a:pt x="1384" y="186"/>
                    </a:lnTo>
                    <a:lnTo>
                      <a:pt x="1384" y="186"/>
                    </a:lnTo>
                    <a:lnTo>
                      <a:pt x="1384" y="188"/>
                    </a:lnTo>
                    <a:lnTo>
                      <a:pt x="1382" y="190"/>
                    </a:lnTo>
                    <a:lnTo>
                      <a:pt x="1382" y="192"/>
                    </a:lnTo>
                    <a:lnTo>
                      <a:pt x="1382" y="192"/>
                    </a:lnTo>
                    <a:lnTo>
                      <a:pt x="1380" y="190"/>
                    </a:lnTo>
                    <a:lnTo>
                      <a:pt x="1380" y="190"/>
                    </a:lnTo>
                    <a:lnTo>
                      <a:pt x="1380" y="190"/>
                    </a:lnTo>
                    <a:lnTo>
                      <a:pt x="1380" y="190"/>
                    </a:lnTo>
                    <a:lnTo>
                      <a:pt x="1378" y="190"/>
                    </a:lnTo>
                    <a:lnTo>
                      <a:pt x="1378" y="190"/>
                    </a:lnTo>
                    <a:lnTo>
                      <a:pt x="1376" y="190"/>
                    </a:lnTo>
                    <a:lnTo>
                      <a:pt x="1374" y="190"/>
                    </a:lnTo>
                    <a:lnTo>
                      <a:pt x="1370" y="188"/>
                    </a:lnTo>
                    <a:lnTo>
                      <a:pt x="1368" y="190"/>
                    </a:lnTo>
                    <a:lnTo>
                      <a:pt x="1364" y="190"/>
                    </a:lnTo>
                    <a:lnTo>
                      <a:pt x="1362" y="190"/>
                    </a:lnTo>
                    <a:lnTo>
                      <a:pt x="1362" y="190"/>
                    </a:lnTo>
                    <a:lnTo>
                      <a:pt x="1362" y="190"/>
                    </a:lnTo>
                    <a:lnTo>
                      <a:pt x="1362" y="192"/>
                    </a:lnTo>
                    <a:lnTo>
                      <a:pt x="1362" y="192"/>
                    </a:lnTo>
                    <a:lnTo>
                      <a:pt x="1360" y="192"/>
                    </a:lnTo>
                    <a:lnTo>
                      <a:pt x="1360" y="192"/>
                    </a:lnTo>
                    <a:lnTo>
                      <a:pt x="1360" y="192"/>
                    </a:lnTo>
                    <a:lnTo>
                      <a:pt x="1360" y="194"/>
                    </a:lnTo>
                    <a:lnTo>
                      <a:pt x="1360" y="196"/>
                    </a:lnTo>
                    <a:lnTo>
                      <a:pt x="1360" y="196"/>
                    </a:lnTo>
                    <a:lnTo>
                      <a:pt x="1360" y="196"/>
                    </a:lnTo>
                    <a:lnTo>
                      <a:pt x="1362" y="198"/>
                    </a:lnTo>
                    <a:lnTo>
                      <a:pt x="1364" y="200"/>
                    </a:lnTo>
                    <a:lnTo>
                      <a:pt x="1366" y="202"/>
                    </a:lnTo>
                    <a:lnTo>
                      <a:pt x="1368" y="204"/>
                    </a:lnTo>
                    <a:lnTo>
                      <a:pt x="1370" y="206"/>
                    </a:lnTo>
                    <a:lnTo>
                      <a:pt x="1368" y="206"/>
                    </a:lnTo>
                    <a:lnTo>
                      <a:pt x="1366" y="208"/>
                    </a:lnTo>
                    <a:lnTo>
                      <a:pt x="1366" y="210"/>
                    </a:lnTo>
                    <a:lnTo>
                      <a:pt x="1362" y="212"/>
                    </a:lnTo>
                    <a:lnTo>
                      <a:pt x="1356" y="214"/>
                    </a:lnTo>
                    <a:lnTo>
                      <a:pt x="1352" y="216"/>
                    </a:lnTo>
                    <a:lnTo>
                      <a:pt x="1352" y="216"/>
                    </a:lnTo>
                    <a:lnTo>
                      <a:pt x="1352" y="216"/>
                    </a:lnTo>
                    <a:lnTo>
                      <a:pt x="1348" y="218"/>
                    </a:lnTo>
                    <a:lnTo>
                      <a:pt x="1348" y="218"/>
                    </a:lnTo>
                    <a:lnTo>
                      <a:pt x="1348" y="218"/>
                    </a:lnTo>
                    <a:lnTo>
                      <a:pt x="1346" y="218"/>
                    </a:lnTo>
                    <a:lnTo>
                      <a:pt x="1346" y="218"/>
                    </a:lnTo>
                    <a:lnTo>
                      <a:pt x="1346" y="220"/>
                    </a:lnTo>
                    <a:lnTo>
                      <a:pt x="1344" y="222"/>
                    </a:lnTo>
                    <a:lnTo>
                      <a:pt x="1344" y="222"/>
                    </a:lnTo>
                    <a:lnTo>
                      <a:pt x="1344" y="222"/>
                    </a:lnTo>
                    <a:lnTo>
                      <a:pt x="1342" y="226"/>
                    </a:lnTo>
                    <a:lnTo>
                      <a:pt x="1342" y="228"/>
                    </a:lnTo>
                    <a:lnTo>
                      <a:pt x="1340" y="230"/>
                    </a:lnTo>
                    <a:lnTo>
                      <a:pt x="1340" y="230"/>
                    </a:lnTo>
                    <a:lnTo>
                      <a:pt x="1338" y="230"/>
                    </a:lnTo>
                    <a:lnTo>
                      <a:pt x="1336" y="232"/>
                    </a:lnTo>
                    <a:lnTo>
                      <a:pt x="1332" y="232"/>
                    </a:lnTo>
                    <a:lnTo>
                      <a:pt x="1330" y="232"/>
                    </a:lnTo>
                    <a:lnTo>
                      <a:pt x="1330" y="232"/>
                    </a:lnTo>
                    <a:lnTo>
                      <a:pt x="1328" y="232"/>
                    </a:lnTo>
                    <a:lnTo>
                      <a:pt x="1326" y="232"/>
                    </a:lnTo>
                    <a:lnTo>
                      <a:pt x="1324" y="234"/>
                    </a:lnTo>
                    <a:lnTo>
                      <a:pt x="1322" y="234"/>
                    </a:lnTo>
                    <a:lnTo>
                      <a:pt x="1320" y="236"/>
                    </a:lnTo>
                    <a:lnTo>
                      <a:pt x="1318" y="238"/>
                    </a:lnTo>
                    <a:lnTo>
                      <a:pt x="1314" y="240"/>
                    </a:lnTo>
                    <a:lnTo>
                      <a:pt x="1310" y="242"/>
                    </a:lnTo>
                    <a:lnTo>
                      <a:pt x="1306" y="244"/>
                    </a:lnTo>
                    <a:lnTo>
                      <a:pt x="1306" y="244"/>
                    </a:lnTo>
                    <a:lnTo>
                      <a:pt x="1306" y="244"/>
                    </a:lnTo>
                    <a:lnTo>
                      <a:pt x="1310" y="238"/>
                    </a:lnTo>
                    <a:lnTo>
                      <a:pt x="1312" y="236"/>
                    </a:lnTo>
                    <a:lnTo>
                      <a:pt x="1314" y="234"/>
                    </a:lnTo>
                    <a:lnTo>
                      <a:pt x="1314" y="232"/>
                    </a:lnTo>
                    <a:lnTo>
                      <a:pt x="1316" y="230"/>
                    </a:lnTo>
                    <a:lnTo>
                      <a:pt x="1318" y="226"/>
                    </a:lnTo>
                    <a:lnTo>
                      <a:pt x="1320" y="224"/>
                    </a:lnTo>
                    <a:lnTo>
                      <a:pt x="1322" y="222"/>
                    </a:lnTo>
                    <a:lnTo>
                      <a:pt x="1322" y="222"/>
                    </a:lnTo>
                    <a:lnTo>
                      <a:pt x="1322" y="222"/>
                    </a:lnTo>
                    <a:lnTo>
                      <a:pt x="1322" y="220"/>
                    </a:lnTo>
                    <a:lnTo>
                      <a:pt x="1322" y="220"/>
                    </a:lnTo>
                    <a:lnTo>
                      <a:pt x="1324" y="220"/>
                    </a:lnTo>
                    <a:lnTo>
                      <a:pt x="1324" y="218"/>
                    </a:lnTo>
                    <a:lnTo>
                      <a:pt x="1324" y="218"/>
                    </a:lnTo>
                    <a:lnTo>
                      <a:pt x="1324" y="216"/>
                    </a:lnTo>
                    <a:lnTo>
                      <a:pt x="1324" y="216"/>
                    </a:lnTo>
                    <a:lnTo>
                      <a:pt x="1324" y="216"/>
                    </a:lnTo>
                    <a:lnTo>
                      <a:pt x="1322" y="214"/>
                    </a:lnTo>
                    <a:lnTo>
                      <a:pt x="1322" y="212"/>
                    </a:lnTo>
                    <a:lnTo>
                      <a:pt x="1322" y="214"/>
                    </a:lnTo>
                    <a:lnTo>
                      <a:pt x="1322" y="214"/>
                    </a:lnTo>
                    <a:lnTo>
                      <a:pt x="1324" y="214"/>
                    </a:lnTo>
                    <a:lnTo>
                      <a:pt x="1326" y="214"/>
                    </a:lnTo>
                    <a:lnTo>
                      <a:pt x="1326" y="214"/>
                    </a:lnTo>
                    <a:lnTo>
                      <a:pt x="1326" y="214"/>
                    </a:lnTo>
                    <a:lnTo>
                      <a:pt x="1330" y="214"/>
                    </a:lnTo>
                    <a:lnTo>
                      <a:pt x="1330" y="214"/>
                    </a:lnTo>
                    <a:lnTo>
                      <a:pt x="1334" y="212"/>
                    </a:lnTo>
                    <a:lnTo>
                      <a:pt x="1334" y="212"/>
                    </a:lnTo>
                    <a:lnTo>
                      <a:pt x="1334" y="212"/>
                    </a:lnTo>
                    <a:lnTo>
                      <a:pt x="1338" y="210"/>
                    </a:lnTo>
                    <a:lnTo>
                      <a:pt x="1338" y="210"/>
                    </a:lnTo>
                    <a:lnTo>
                      <a:pt x="1338" y="210"/>
                    </a:lnTo>
                    <a:lnTo>
                      <a:pt x="1342" y="208"/>
                    </a:lnTo>
                    <a:lnTo>
                      <a:pt x="1342" y="208"/>
                    </a:lnTo>
                    <a:lnTo>
                      <a:pt x="1342" y="208"/>
                    </a:lnTo>
                    <a:lnTo>
                      <a:pt x="1344" y="206"/>
                    </a:lnTo>
                    <a:lnTo>
                      <a:pt x="1344" y="206"/>
                    </a:lnTo>
                    <a:lnTo>
                      <a:pt x="1344" y="206"/>
                    </a:lnTo>
                    <a:lnTo>
                      <a:pt x="1346" y="204"/>
                    </a:lnTo>
                    <a:lnTo>
                      <a:pt x="1348" y="200"/>
                    </a:lnTo>
                    <a:lnTo>
                      <a:pt x="1352" y="196"/>
                    </a:lnTo>
                    <a:lnTo>
                      <a:pt x="1354" y="192"/>
                    </a:lnTo>
                    <a:lnTo>
                      <a:pt x="1356" y="188"/>
                    </a:lnTo>
                    <a:lnTo>
                      <a:pt x="1358" y="184"/>
                    </a:lnTo>
                    <a:lnTo>
                      <a:pt x="1360" y="180"/>
                    </a:lnTo>
                    <a:lnTo>
                      <a:pt x="1364" y="176"/>
                    </a:lnTo>
                    <a:lnTo>
                      <a:pt x="1366" y="174"/>
                    </a:lnTo>
                    <a:lnTo>
                      <a:pt x="1368" y="172"/>
                    </a:lnTo>
                    <a:lnTo>
                      <a:pt x="1374" y="166"/>
                    </a:lnTo>
                    <a:lnTo>
                      <a:pt x="1378" y="160"/>
                    </a:lnTo>
                    <a:lnTo>
                      <a:pt x="1380" y="158"/>
                    </a:lnTo>
                    <a:lnTo>
                      <a:pt x="1384" y="156"/>
                    </a:lnTo>
                    <a:lnTo>
                      <a:pt x="1386" y="154"/>
                    </a:lnTo>
                    <a:lnTo>
                      <a:pt x="1388" y="154"/>
                    </a:lnTo>
                    <a:lnTo>
                      <a:pt x="1394" y="152"/>
                    </a:lnTo>
                    <a:lnTo>
                      <a:pt x="1396" y="150"/>
                    </a:lnTo>
                    <a:lnTo>
                      <a:pt x="1400" y="148"/>
                    </a:lnTo>
                    <a:lnTo>
                      <a:pt x="1402" y="146"/>
                    </a:lnTo>
                    <a:lnTo>
                      <a:pt x="1404" y="144"/>
                    </a:lnTo>
                    <a:lnTo>
                      <a:pt x="1408" y="140"/>
                    </a:lnTo>
                    <a:lnTo>
                      <a:pt x="1412" y="138"/>
                    </a:lnTo>
                    <a:lnTo>
                      <a:pt x="1414" y="134"/>
                    </a:lnTo>
                    <a:lnTo>
                      <a:pt x="1418" y="130"/>
                    </a:lnTo>
                    <a:lnTo>
                      <a:pt x="1422" y="124"/>
                    </a:lnTo>
                    <a:lnTo>
                      <a:pt x="1424" y="120"/>
                    </a:lnTo>
                    <a:lnTo>
                      <a:pt x="1426" y="118"/>
                    </a:lnTo>
                    <a:lnTo>
                      <a:pt x="1428" y="114"/>
                    </a:lnTo>
                    <a:lnTo>
                      <a:pt x="1430" y="112"/>
                    </a:lnTo>
                    <a:lnTo>
                      <a:pt x="1430" y="112"/>
                    </a:lnTo>
                    <a:lnTo>
                      <a:pt x="1430" y="110"/>
                    </a:lnTo>
                    <a:lnTo>
                      <a:pt x="1430" y="108"/>
                    </a:lnTo>
                    <a:lnTo>
                      <a:pt x="1430" y="108"/>
                    </a:lnTo>
                    <a:lnTo>
                      <a:pt x="1430" y="108"/>
                    </a:lnTo>
                    <a:lnTo>
                      <a:pt x="1430" y="106"/>
                    </a:lnTo>
                    <a:lnTo>
                      <a:pt x="1430" y="106"/>
                    </a:lnTo>
                    <a:lnTo>
                      <a:pt x="1428" y="104"/>
                    </a:lnTo>
                    <a:lnTo>
                      <a:pt x="1428" y="102"/>
                    </a:lnTo>
                    <a:lnTo>
                      <a:pt x="1426" y="98"/>
                    </a:lnTo>
                    <a:lnTo>
                      <a:pt x="1426" y="100"/>
                    </a:lnTo>
                    <a:lnTo>
                      <a:pt x="1426" y="98"/>
                    </a:lnTo>
                    <a:lnTo>
                      <a:pt x="1426" y="98"/>
                    </a:lnTo>
                    <a:lnTo>
                      <a:pt x="1426" y="98"/>
                    </a:lnTo>
                    <a:lnTo>
                      <a:pt x="1426" y="96"/>
                    </a:lnTo>
                    <a:lnTo>
                      <a:pt x="1430" y="94"/>
                    </a:lnTo>
                    <a:lnTo>
                      <a:pt x="1432" y="92"/>
                    </a:lnTo>
                    <a:lnTo>
                      <a:pt x="1432" y="92"/>
                    </a:lnTo>
                    <a:lnTo>
                      <a:pt x="1432" y="90"/>
                    </a:lnTo>
                    <a:lnTo>
                      <a:pt x="1434" y="90"/>
                    </a:lnTo>
                    <a:lnTo>
                      <a:pt x="1434" y="90"/>
                    </a:lnTo>
                    <a:lnTo>
                      <a:pt x="1434" y="88"/>
                    </a:lnTo>
                    <a:lnTo>
                      <a:pt x="1434" y="86"/>
                    </a:lnTo>
                    <a:lnTo>
                      <a:pt x="1434" y="86"/>
                    </a:lnTo>
                    <a:lnTo>
                      <a:pt x="1434" y="84"/>
                    </a:lnTo>
                    <a:lnTo>
                      <a:pt x="1434" y="84"/>
                    </a:lnTo>
                    <a:lnTo>
                      <a:pt x="1434" y="82"/>
                    </a:lnTo>
                    <a:lnTo>
                      <a:pt x="1432" y="80"/>
                    </a:lnTo>
                    <a:lnTo>
                      <a:pt x="1430" y="76"/>
                    </a:lnTo>
                    <a:lnTo>
                      <a:pt x="1428" y="70"/>
                    </a:lnTo>
                    <a:lnTo>
                      <a:pt x="1426" y="68"/>
                    </a:lnTo>
                    <a:lnTo>
                      <a:pt x="1426" y="66"/>
                    </a:lnTo>
                    <a:lnTo>
                      <a:pt x="1426" y="66"/>
                    </a:lnTo>
                    <a:lnTo>
                      <a:pt x="1426" y="64"/>
                    </a:lnTo>
                    <a:lnTo>
                      <a:pt x="1426" y="62"/>
                    </a:lnTo>
                    <a:lnTo>
                      <a:pt x="1426" y="56"/>
                    </a:lnTo>
                    <a:lnTo>
                      <a:pt x="1426" y="54"/>
                    </a:lnTo>
                    <a:lnTo>
                      <a:pt x="1428" y="52"/>
                    </a:lnTo>
                    <a:lnTo>
                      <a:pt x="1428" y="50"/>
                    </a:lnTo>
                    <a:lnTo>
                      <a:pt x="1428" y="50"/>
                    </a:lnTo>
                    <a:lnTo>
                      <a:pt x="1426" y="48"/>
                    </a:lnTo>
                    <a:lnTo>
                      <a:pt x="1426" y="48"/>
                    </a:lnTo>
                    <a:lnTo>
                      <a:pt x="1426" y="48"/>
                    </a:lnTo>
                    <a:lnTo>
                      <a:pt x="1424" y="46"/>
                    </a:lnTo>
                    <a:lnTo>
                      <a:pt x="1424" y="46"/>
                    </a:lnTo>
                    <a:lnTo>
                      <a:pt x="1424" y="46"/>
                    </a:lnTo>
                    <a:lnTo>
                      <a:pt x="1422" y="46"/>
                    </a:lnTo>
                    <a:lnTo>
                      <a:pt x="1420" y="46"/>
                    </a:lnTo>
                    <a:lnTo>
                      <a:pt x="1418" y="46"/>
                    </a:lnTo>
                    <a:lnTo>
                      <a:pt x="1416" y="48"/>
                    </a:lnTo>
                    <a:lnTo>
                      <a:pt x="1410" y="48"/>
                    </a:lnTo>
                    <a:lnTo>
                      <a:pt x="1408" y="50"/>
                    </a:lnTo>
                    <a:lnTo>
                      <a:pt x="1408" y="50"/>
                    </a:lnTo>
                    <a:lnTo>
                      <a:pt x="1408" y="48"/>
                    </a:lnTo>
                    <a:lnTo>
                      <a:pt x="1408" y="46"/>
                    </a:lnTo>
                    <a:lnTo>
                      <a:pt x="1408" y="42"/>
                    </a:lnTo>
                    <a:lnTo>
                      <a:pt x="1408" y="42"/>
                    </a:lnTo>
                    <a:lnTo>
                      <a:pt x="1408" y="42"/>
                    </a:lnTo>
                    <a:lnTo>
                      <a:pt x="1406" y="42"/>
                    </a:lnTo>
                    <a:lnTo>
                      <a:pt x="1406" y="42"/>
                    </a:lnTo>
                    <a:lnTo>
                      <a:pt x="1406" y="40"/>
                    </a:lnTo>
                    <a:lnTo>
                      <a:pt x="1404" y="38"/>
                    </a:lnTo>
                    <a:lnTo>
                      <a:pt x="1402" y="36"/>
                    </a:lnTo>
                    <a:lnTo>
                      <a:pt x="1400" y="34"/>
                    </a:lnTo>
                    <a:lnTo>
                      <a:pt x="1400" y="34"/>
                    </a:lnTo>
                    <a:lnTo>
                      <a:pt x="1400" y="34"/>
                    </a:lnTo>
                    <a:lnTo>
                      <a:pt x="1398" y="32"/>
                    </a:lnTo>
                    <a:lnTo>
                      <a:pt x="1394" y="32"/>
                    </a:lnTo>
                    <a:lnTo>
                      <a:pt x="1392" y="30"/>
                    </a:lnTo>
                    <a:lnTo>
                      <a:pt x="1388" y="30"/>
                    </a:lnTo>
                    <a:lnTo>
                      <a:pt x="1386" y="28"/>
                    </a:lnTo>
                    <a:lnTo>
                      <a:pt x="1384" y="28"/>
                    </a:lnTo>
                    <a:lnTo>
                      <a:pt x="1378" y="28"/>
                    </a:lnTo>
                    <a:lnTo>
                      <a:pt x="1372" y="26"/>
                    </a:lnTo>
                    <a:lnTo>
                      <a:pt x="1366" y="26"/>
                    </a:lnTo>
                    <a:lnTo>
                      <a:pt x="1358" y="26"/>
                    </a:lnTo>
                    <a:lnTo>
                      <a:pt x="1352" y="26"/>
                    </a:lnTo>
                    <a:lnTo>
                      <a:pt x="1348" y="24"/>
                    </a:lnTo>
                    <a:lnTo>
                      <a:pt x="1346" y="26"/>
                    </a:lnTo>
                    <a:lnTo>
                      <a:pt x="1344" y="26"/>
                    </a:lnTo>
                    <a:lnTo>
                      <a:pt x="1344" y="26"/>
                    </a:lnTo>
                    <a:lnTo>
                      <a:pt x="1340" y="26"/>
                    </a:lnTo>
                    <a:lnTo>
                      <a:pt x="1340" y="26"/>
                    </a:lnTo>
                    <a:lnTo>
                      <a:pt x="1340" y="26"/>
                    </a:lnTo>
                    <a:lnTo>
                      <a:pt x="1338" y="28"/>
                    </a:lnTo>
                    <a:lnTo>
                      <a:pt x="1338" y="28"/>
                    </a:lnTo>
                    <a:lnTo>
                      <a:pt x="1338" y="28"/>
                    </a:lnTo>
                    <a:lnTo>
                      <a:pt x="1336" y="30"/>
                    </a:lnTo>
                    <a:lnTo>
                      <a:pt x="1336" y="30"/>
                    </a:lnTo>
                    <a:lnTo>
                      <a:pt x="1336" y="30"/>
                    </a:lnTo>
                    <a:lnTo>
                      <a:pt x="1336" y="32"/>
                    </a:lnTo>
                    <a:lnTo>
                      <a:pt x="1336" y="32"/>
                    </a:lnTo>
                    <a:lnTo>
                      <a:pt x="1336" y="32"/>
                    </a:lnTo>
                    <a:lnTo>
                      <a:pt x="1336" y="34"/>
                    </a:lnTo>
                    <a:lnTo>
                      <a:pt x="1336" y="34"/>
                    </a:lnTo>
                    <a:lnTo>
                      <a:pt x="1336" y="34"/>
                    </a:lnTo>
                    <a:lnTo>
                      <a:pt x="1334" y="36"/>
                    </a:lnTo>
                    <a:lnTo>
                      <a:pt x="1332" y="36"/>
                    </a:lnTo>
                    <a:lnTo>
                      <a:pt x="1326" y="38"/>
                    </a:lnTo>
                    <a:lnTo>
                      <a:pt x="1326" y="38"/>
                    </a:lnTo>
                    <a:lnTo>
                      <a:pt x="1322" y="38"/>
                    </a:lnTo>
                    <a:lnTo>
                      <a:pt x="1322" y="38"/>
                    </a:lnTo>
                    <a:lnTo>
                      <a:pt x="1322" y="38"/>
                    </a:lnTo>
                    <a:lnTo>
                      <a:pt x="1322" y="36"/>
                    </a:lnTo>
                    <a:lnTo>
                      <a:pt x="1324" y="36"/>
                    </a:lnTo>
                    <a:lnTo>
                      <a:pt x="1324" y="36"/>
                    </a:lnTo>
                    <a:lnTo>
                      <a:pt x="1324" y="36"/>
                    </a:lnTo>
                    <a:lnTo>
                      <a:pt x="1326" y="34"/>
                    </a:lnTo>
                    <a:lnTo>
                      <a:pt x="1326" y="30"/>
                    </a:lnTo>
                    <a:lnTo>
                      <a:pt x="1328" y="28"/>
                    </a:lnTo>
                    <a:lnTo>
                      <a:pt x="1330" y="24"/>
                    </a:lnTo>
                    <a:lnTo>
                      <a:pt x="1330" y="20"/>
                    </a:lnTo>
                    <a:lnTo>
                      <a:pt x="1332" y="16"/>
                    </a:lnTo>
                    <a:lnTo>
                      <a:pt x="1332" y="12"/>
                    </a:lnTo>
                    <a:lnTo>
                      <a:pt x="1332" y="10"/>
                    </a:lnTo>
                    <a:lnTo>
                      <a:pt x="1332" y="10"/>
                    </a:lnTo>
                    <a:lnTo>
                      <a:pt x="1332" y="8"/>
                    </a:lnTo>
                    <a:lnTo>
                      <a:pt x="1332" y="6"/>
                    </a:lnTo>
                    <a:lnTo>
                      <a:pt x="1332" y="6"/>
                    </a:lnTo>
                    <a:lnTo>
                      <a:pt x="1332" y="6"/>
                    </a:lnTo>
                    <a:lnTo>
                      <a:pt x="1330" y="4"/>
                    </a:lnTo>
                    <a:lnTo>
                      <a:pt x="1330" y="4"/>
                    </a:lnTo>
                    <a:lnTo>
                      <a:pt x="1330" y="2"/>
                    </a:lnTo>
                    <a:lnTo>
                      <a:pt x="1328" y="2"/>
                    </a:lnTo>
                    <a:lnTo>
                      <a:pt x="1328" y="2"/>
                    </a:lnTo>
                    <a:lnTo>
                      <a:pt x="1326" y="2"/>
                    </a:lnTo>
                    <a:lnTo>
                      <a:pt x="1324" y="0"/>
                    </a:lnTo>
                    <a:lnTo>
                      <a:pt x="1324" y="0"/>
                    </a:lnTo>
                    <a:lnTo>
                      <a:pt x="1322" y="0"/>
                    </a:lnTo>
                    <a:lnTo>
                      <a:pt x="1318" y="0"/>
                    </a:lnTo>
                    <a:lnTo>
                      <a:pt x="1314" y="0"/>
                    </a:lnTo>
                    <a:lnTo>
                      <a:pt x="1310" y="0"/>
                    </a:lnTo>
                    <a:lnTo>
                      <a:pt x="1304" y="0"/>
                    </a:lnTo>
                    <a:lnTo>
                      <a:pt x="1302" y="0"/>
                    </a:lnTo>
                    <a:lnTo>
                      <a:pt x="1298" y="0"/>
                    </a:lnTo>
                    <a:lnTo>
                      <a:pt x="1294" y="0"/>
                    </a:lnTo>
                    <a:lnTo>
                      <a:pt x="1290" y="0"/>
                    </a:lnTo>
                    <a:lnTo>
                      <a:pt x="1280" y="0"/>
                    </a:lnTo>
                    <a:lnTo>
                      <a:pt x="1270" y="0"/>
                    </a:lnTo>
                    <a:lnTo>
                      <a:pt x="1260" y="0"/>
                    </a:lnTo>
                    <a:lnTo>
                      <a:pt x="1250" y="0"/>
                    </a:lnTo>
                    <a:lnTo>
                      <a:pt x="1246" y="0"/>
                    </a:lnTo>
                    <a:lnTo>
                      <a:pt x="1242" y="0"/>
                    </a:lnTo>
                    <a:lnTo>
                      <a:pt x="1240" y="0"/>
                    </a:lnTo>
                    <a:lnTo>
                      <a:pt x="1236" y="0"/>
                    </a:lnTo>
                    <a:lnTo>
                      <a:pt x="1234" y="0"/>
                    </a:lnTo>
                    <a:lnTo>
                      <a:pt x="1232" y="0"/>
                    </a:lnTo>
                    <a:lnTo>
                      <a:pt x="1232" y="0"/>
                    </a:lnTo>
                    <a:lnTo>
                      <a:pt x="1232" y="0"/>
                    </a:lnTo>
                    <a:lnTo>
                      <a:pt x="1230" y="2"/>
                    </a:lnTo>
                    <a:lnTo>
                      <a:pt x="1230" y="2"/>
                    </a:lnTo>
                    <a:lnTo>
                      <a:pt x="1230" y="2"/>
                    </a:lnTo>
                    <a:lnTo>
                      <a:pt x="1230" y="2"/>
                    </a:lnTo>
                    <a:lnTo>
                      <a:pt x="1228" y="2"/>
                    </a:lnTo>
                    <a:lnTo>
                      <a:pt x="1228" y="2"/>
                    </a:lnTo>
                    <a:lnTo>
                      <a:pt x="1228" y="6"/>
                    </a:lnTo>
                    <a:lnTo>
                      <a:pt x="1228" y="6"/>
                    </a:lnTo>
                    <a:lnTo>
                      <a:pt x="1228" y="6"/>
                    </a:lnTo>
                    <a:lnTo>
                      <a:pt x="1228" y="8"/>
                    </a:lnTo>
                    <a:lnTo>
                      <a:pt x="1230" y="8"/>
                    </a:lnTo>
                    <a:lnTo>
                      <a:pt x="1230" y="10"/>
                    </a:lnTo>
                    <a:lnTo>
                      <a:pt x="1230" y="10"/>
                    </a:lnTo>
                    <a:lnTo>
                      <a:pt x="1230" y="12"/>
                    </a:lnTo>
                    <a:lnTo>
                      <a:pt x="1230" y="14"/>
                    </a:lnTo>
                    <a:lnTo>
                      <a:pt x="1232" y="16"/>
                    </a:lnTo>
                    <a:lnTo>
                      <a:pt x="1232" y="20"/>
                    </a:lnTo>
                    <a:lnTo>
                      <a:pt x="1234" y="24"/>
                    </a:lnTo>
                    <a:lnTo>
                      <a:pt x="1234" y="26"/>
                    </a:lnTo>
                    <a:lnTo>
                      <a:pt x="1234" y="28"/>
                    </a:lnTo>
                    <a:lnTo>
                      <a:pt x="1234" y="28"/>
                    </a:lnTo>
                    <a:lnTo>
                      <a:pt x="1232" y="30"/>
                    </a:lnTo>
                    <a:lnTo>
                      <a:pt x="1232" y="36"/>
                    </a:lnTo>
                    <a:lnTo>
                      <a:pt x="1232" y="34"/>
                    </a:lnTo>
                    <a:lnTo>
                      <a:pt x="1228" y="38"/>
                    </a:lnTo>
                    <a:lnTo>
                      <a:pt x="1230" y="38"/>
                    </a:lnTo>
                    <a:lnTo>
                      <a:pt x="1228" y="40"/>
                    </a:lnTo>
                    <a:lnTo>
                      <a:pt x="1228" y="40"/>
                    </a:lnTo>
                    <a:lnTo>
                      <a:pt x="1226" y="40"/>
                    </a:lnTo>
                    <a:lnTo>
                      <a:pt x="1224" y="42"/>
                    </a:lnTo>
                    <a:lnTo>
                      <a:pt x="1216" y="42"/>
                    </a:lnTo>
                    <a:lnTo>
                      <a:pt x="1214" y="42"/>
                    </a:lnTo>
                    <a:lnTo>
                      <a:pt x="1214" y="42"/>
                    </a:lnTo>
                    <a:lnTo>
                      <a:pt x="1212" y="42"/>
                    </a:lnTo>
                    <a:lnTo>
                      <a:pt x="1210" y="42"/>
                    </a:lnTo>
                    <a:lnTo>
                      <a:pt x="1210" y="42"/>
                    </a:lnTo>
                    <a:lnTo>
                      <a:pt x="1210" y="42"/>
                    </a:lnTo>
                    <a:lnTo>
                      <a:pt x="1208" y="44"/>
                    </a:lnTo>
                    <a:lnTo>
                      <a:pt x="1208" y="44"/>
                    </a:lnTo>
                    <a:lnTo>
                      <a:pt x="1206" y="44"/>
                    </a:lnTo>
                    <a:lnTo>
                      <a:pt x="1206" y="46"/>
                    </a:lnTo>
                    <a:lnTo>
                      <a:pt x="1206" y="46"/>
                    </a:lnTo>
                    <a:lnTo>
                      <a:pt x="1206" y="48"/>
                    </a:lnTo>
                    <a:lnTo>
                      <a:pt x="1206" y="50"/>
                    </a:lnTo>
                    <a:lnTo>
                      <a:pt x="1206" y="50"/>
                    </a:lnTo>
                    <a:lnTo>
                      <a:pt x="1206" y="52"/>
                    </a:lnTo>
                    <a:lnTo>
                      <a:pt x="1208" y="54"/>
                    </a:lnTo>
                    <a:lnTo>
                      <a:pt x="1208" y="58"/>
                    </a:lnTo>
                    <a:lnTo>
                      <a:pt x="1210" y="60"/>
                    </a:lnTo>
                    <a:lnTo>
                      <a:pt x="1210" y="60"/>
                    </a:lnTo>
                    <a:lnTo>
                      <a:pt x="1208" y="60"/>
                    </a:lnTo>
                    <a:lnTo>
                      <a:pt x="1204" y="58"/>
                    </a:lnTo>
                    <a:lnTo>
                      <a:pt x="1204" y="58"/>
                    </a:lnTo>
                    <a:lnTo>
                      <a:pt x="1204" y="58"/>
                    </a:lnTo>
                    <a:lnTo>
                      <a:pt x="1202" y="56"/>
                    </a:lnTo>
                    <a:lnTo>
                      <a:pt x="1202" y="56"/>
                    </a:lnTo>
                    <a:lnTo>
                      <a:pt x="1202" y="56"/>
                    </a:lnTo>
                    <a:lnTo>
                      <a:pt x="1200" y="56"/>
                    </a:lnTo>
                    <a:lnTo>
                      <a:pt x="1198" y="56"/>
                    </a:lnTo>
                    <a:lnTo>
                      <a:pt x="1196" y="56"/>
                    </a:lnTo>
                    <a:lnTo>
                      <a:pt x="1192" y="56"/>
                    </a:lnTo>
                    <a:lnTo>
                      <a:pt x="1188" y="58"/>
                    </a:lnTo>
                    <a:lnTo>
                      <a:pt x="1182" y="62"/>
                    </a:lnTo>
                    <a:lnTo>
                      <a:pt x="1176" y="64"/>
                    </a:lnTo>
                    <a:lnTo>
                      <a:pt x="1176" y="64"/>
                    </a:lnTo>
                    <a:lnTo>
                      <a:pt x="1174" y="64"/>
                    </a:lnTo>
                    <a:lnTo>
                      <a:pt x="1172" y="66"/>
                    </a:lnTo>
                    <a:lnTo>
                      <a:pt x="1170" y="70"/>
                    </a:lnTo>
                    <a:lnTo>
                      <a:pt x="1166" y="74"/>
                    </a:lnTo>
                    <a:lnTo>
                      <a:pt x="1164" y="76"/>
                    </a:lnTo>
                    <a:lnTo>
                      <a:pt x="1162" y="78"/>
                    </a:lnTo>
                    <a:lnTo>
                      <a:pt x="1160" y="78"/>
                    </a:lnTo>
                    <a:lnTo>
                      <a:pt x="1160" y="78"/>
                    </a:lnTo>
                    <a:lnTo>
                      <a:pt x="1158" y="78"/>
                    </a:lnTo>
                    <a:lnTo>
                      <a:pt x="1158" y="78"/>
                    </a:lnTo>
                    <a:lnTo>
                      <a:pt x="1158" y="78"/>
                    </a:lnTo>
                    <a:lnTo>
                      <a:pt x="1156" y="76"/>
                    </a:lnTo>
                    <a:lnTo>
                      <a:pt x="1152" y="72"/>
                    </a:lnTo>
                    <a:lnTo>
                      <a:pt x="1150" y="70"/>
                    </a:lnTo>
                    <a:lnTo>
                      <a:pt x="1148" y="66"/>
                    </a:lnTo>
                    <a:lnTo>
                      <a:pt x="1144" y="62"/>
                    </a:lnTo>
                    <a:lnTo>
                      <a:pt x="1142" y="58"/>
                    </a:lnTo>
                    <a:lnTo>
                      <a:pt x="1142" y="58"/>
                    </a:lnTo>
                    <a:lnTo>
                      <a:pt x="1142" y="58"/>
                    </a:lnTo>
                    <a:lnTo>
                      <a:pt x="1140" y="58"/>
                    </a:lnTo>
                    <a:lnTo>
                      <a:pt x="1140" y="58"/>
                    </a:lnTo>
                    <a:lnTo>
                      <a:pt x="1140" y="58"/>
                    </a:lnTo>
                    <a:lnTo>
                      <a:pt x="1140" y="56"/>
                    </a:lnTo>
                    <a:lnTo>
                      <a:pt x="1140" y="56"/>
                    </a:lnTo>
                    <a:lnTo>
                      <a:pt x="1138" y="56"/>
                    </a:lnTo>
                    <a:lnTo>
                      <a:pt x="1136" y="56"/>
                    </a:lnTo>
                    <a:lnTo>
                      <a:pt x="1136" y="56"/>
                    </a:lnTo>
                    <a:lnTo>
                      <a:pt x="1136" y="56"/>
                    </a:lnTo>
                    <a:lnTo>
                      <a:pt x="1134" y="56"/>
                    </a:lnTo>
                    <a:lnTo>
                      <a:pt x="1134" y="56"/>
                    </a:lnTo>
                    <a:lnTo>
                      <a:pt x="1132" y="56"/>
                    </a:lnTo>
                    <a:lnTo>
                      <a:pt x="1132" y="58"/>
                    </a:lnTo>
                    <a:lnTo>
                      <a:pt x="1132" y="58"/>
                    </a:lnTo>
                    <a:lnTo>
                      <a:pt x="1130" y="58"/>
                    </a:lnTo>
                    <a:lnTo>
                      <a:pt x="1130" y="60"/>
                    </a:lnTo>
                    <a:lnTo>
                      <a:pt x="1130" y="60"/>
                    </a:lnTo>
                    <a:lnTo>
                      <a:pt x="1130" y="60"/>
                    </a:lnTo>
                    <a:lnTo>
                      <a:pt x="1126" y="62"/>
                    </a:lnTo>
                    <a:lnTo>
                      <a:pt x="1124" y="66"/>
                    </a:lnTo>
                    <a:lnTo>
                      <a:pt x="1120" y="70"/>
                    </a:lnTo>
                    <a:lnTo>
                      <a:pt x="1118" y="74"/>
                    </a:lnTo>
                    <a:lnTo>
                      <a:pt x="1114" y="78"/>
                    </a:lnTo>
                    <a:lnTo>
                      <a:pt x="1112" y="82"/>
                    </a:lnTo>
                    <a:lnTo>
                      <a:pt x="1112" y="82"/>
                    </a:lnTo>
                    <a:lnTo>
                      <a:pt x="1112" y="82"/>
                    </a:lnTo>
                    <a:lnTo>
                      <a:pt x="1112" y="84"/>
                    </a:lnTo>
                    <a:lnTo>
                      <a:pt x="1112" y="84"/>
                    </a:lnTo>
                    <a:lnTo>
                      <a:pt x="1112" y="84"/>
                    </a:lnTo>
                    <a:lnTo>
                      <a:pt x="1112" y="86"/>
                    </a:lnTo>
                    <a:lnTo>
                      <a:pt x="1112" y="86"/>
                    </a:lnTo>
                    <a:lnTo>
                      <a:pt x="1112" y="90"/>
                    </a:lnTo>
                    <a:lnTo>
                      <a:pt x="1112" y="92"/>
                    </a:lnTo>
                    <a:lnTo>
                      <a:pt x="1112" y="92"/>
                    </a:lnTo>
                    <a:lnTo>
                      <a:pt x="1112" y="92"/>
                    </a:lnTo>
                    <a:lnTo>
                      <a:pt x="1110" y="92"/>
                    </a:lnTo>
                    <a:lnTo>
                      <a:pt x="1108" y="94"/>
                    </a:lnTo>
                    <a:lnTo>
                      <a:pt x="1106" y="94"/>
                    </a:lnTo>
                    <a:lnTo>
                      <a:pt x="1102" y="94"/>
                    </a:lnTo>
                    <a:lnTo>
                      <a:pt x="1096" y="94"/>
                    </a:lnTo>
                    <a:lnTo>
                      <a:pt x="1086" y="94"/>
                    </a:lnTo>
                    <a:lnTo>
                      <a:pt x="1084" y="94"/>
                    </a:lnTo>
                    <a:lnTo>
                      <a:pt x="1080" y="94"/>
                    </a:lnTo>
                    <a:lnTo>
                      <a:pt x="1076" y="94"/>
                    </a:lnTo>
                    <a:lnTo>
                      <a:pt x="1072" y="94"/>
                    </a:lnTo>
                    <a:lnTo>
                      <a:pt x="1070" y="94"/>
                    </a:lnTo>
                    <a:lnTo>
                      <a:pt x="1064" y="96"/>
                    </a:lnTo>
                    <a:lnTo>
                      <a:pt x="1056" y="98"/>
                    </a:lnTo>
                    <a:lnTo>
                      <a:pt x="1054" y="98"/>
                    </a:lnTo>
                    <a:lnTo>
                      <a:pt x="1050" y="100"/>
                    </a:lnTo>
                    <a:lnTo>
                      <a:pt x="1050" y="100"/>
                    </a:lnTo>
                    <a:lnTo>
                      <a:pt x="1050" y="100"/>
                    </a:lnTo>
                    <a:lnTo>
                      <a:pt x="1048" y="102"/>
                    </a:lnTo>
                    <a:lnTo>
                      <a:pt x="1048" y="102"/>
                    </a:lnTo>
                    <a:lnTo>
                      <a:pt x="1048" y="102"/>
                    </a:lnTo>
                    <a:lnTo>
                      <a:pt x="1046" y="106"/>
                    </a:lnTo>
                    <a:lnTo>
                      <a:pt x="1042" y="110"/>
                    </a:lnTo>
                    <a:lnTo>
                      <a:pt x="1040" y="116"/>
                    </a:lnTo>
                    <a:lnTo>
                      <a:pt x="1038" y="118"/>
                    </a:lnTo>
                    <a:lnTo>
                      <a:pt x="1038" y="118"/>
                    </a:lnTo>
                    <a:lnTo>
                      <a:pt x="1036" y="120"/>
                    </a:lnTo>
                    <a:lnTo>
                      <a:pt x="1036" y="120"/>
                    </a:lnTo>
                    <a:lnTo>
                      <a:pt x="1032" y="122"/>
                    </a:lnTo>
                    <a:lnTo>
                      <a:pt x="1028" y="122"/>
                    </a:lnTo>
                    <a:lnTo>
                      <a:pt x="1028" y="122"/>
                    </a:lnTo>
                    <a:lnTo>
                      <a:pt x="1028" y="124"/>
                    </a:lnTo>
                    <a:lnTo>
                      <a:pt x="1026" y="124"/>
                    </a:lnTo>
                    <a:lnTo>
                      <a:pt x="1026" y="124"/>
                    </a:lnTo>
                    <a:lnTo>
                      <a:pt x="1026" y="124"/>
                    </a:lnTo>
                    <a:lnTo>
                      <a:pt x="1024" y="126"/>
                    </a:lnTo>
                    <a:lnTo>
                      <a:pt x="1024" y="126"/>
                    </a:lnTo>
                    <a:lnTo>
                      <a:pt x="1024" y="126"/>
                    </a:lnTo>
                    <a:lnTo>
                      <a:pt x="1024" y="128"/>
                    </a:lnTo>
                    <a:lnTo>
                      <a:pt x="1024" y="128"/>
                    </a:lnTo>
                    <a:lnTo>
                      <a:pt x="1024" y="130"/>
                    </a:lnTo>
                    <a:lnTo>
                      <a:pt x="1022" y="132"/>
                    </a:lnTo>
                    <a:lnTo>
                      <a:pt x="1024" y="136"/>
                    </a:lnTo>
                    <a:lnTo>
                      <a:pt x="1024" y="138"/>
                    </a:lnTo>
                    <a:lnTo>
                      <a:pt x="1024" y="140"/>
                    </a:lnTo>
                    <a:lnTo>
                      <a:pt x="1022" y="140"/>
                    </a:lnTo>
                    <a:lnTo>
                      <a:pt x="1022" y="140"/>
                    </a:lnTo>
                    <a:lnTo>
                      <a:pt x="1022" y="140"/>
                    </a:lnTo>
                    <a:lnTo>
                      <a:pt x="1022" y="140"/>
                    </a:lnTo>
                    <a:lnTo>
                      <a:pt x="1018" y="140"/>
                    </a:lnTo>
                    <a:lnTo>
                      <a:pt x="1016" y="140"/>
                    </a:lnTo>
                    <a:lnTo>
                      <a:pt x="1012" y="140"/>
                    </a:lnTo>
                    <a:lnTo>
                      <a:pt x="1010" y="140"/>
                    </a:lnTo>
                    <a:lnTo>
                      <a:pt x="1010" y="140"/>
                    </a:lnTo>
                    <a:lnTo>
                      <a:pt x="1008" y="140"/>
                    </a:lnTo>
                    <a:lnTo>
                      <a:pt x="1008" y="140"/>
                    </a:lnTo>
                    <a:lnTo>
                      <a:pt x="1006" y="140"/>
                    </a:lnTo>
                    <a:lnTo>
                      <a:pt x="1006" y="140"/>
                    </a:lnTo>
                    <a:lnTo>
                      <a:pt x="1006" y="140"/>
                    </a:lnTo>
                    <a:lnTo>
                      <a:pt x="1004" y="142"/>
                    </a:lnTo>
                    <a:lnTo>
                      <a:pt x="1004" y="142"/>
                    </a:lnTo>
                    <a:lnTo>
                      <a:pt x="1004" y="142"/>
                    </a:lnTo>
                    <a:lnTo>
                      <a:pt x="1004" y="144"/>
                    </a:lnTo>
                    <a:lnTo>
                      <a:pt x="1004" y="146"/>
                    </a:lnTo>
                    <a:lnTo>
                      <a:pt x="1004" y="146"/>
                    </a:lnTo>
                    <a:lnTo>
                      <a:pt x="1004" y="146"/>
                    </a:lnTo>
                    <a:lnTo>
                      <a:pt x="1004" y="148"/>
                    </a:lnTo>
                    <a:lnTo>
                      <a:pt x="1006" y="150"/>
                    </a:lnTo>
                    <a:lnTo>
                      <a:pt x="1008" y="154"/>
                    </a:lnTo>
                    <a:lnTo>
                      <a:pt x="1010" y="156"/>
                    </a:lnTo>
                    <a:lnTo>
                      <a:pt x="1010" y="158"/>
                    </a:lnTo>
                    <a:lnTo>
                      <a:pt x="1012" y="162"/>
                    </a:lnTo>
                    <a:lnTo>
                      <a:pt x="1014" y="166"/>
                    </a:lnTo>
                    <a:lnTo>
                      <a:pt x="1016" y="172"/>
                    </a:lnTo>
                    <a:lnTo>
                      <a:pt x="1018" y="176"/>
                    </a:lnTo>
                    <a:lnTo>
                      <a:pt x="1020" y="180"/>
                    </a:lnTo>
                    <a:lnTo>
                      <a:pt x="1022" y="184"/>
                    </a:lnTo>
                    <a:lnTo>
                      <a:pt x="1022" y="184"/>
                    </a:lnTo>
                    <a:lnTo>
                      <a:pt x="1022" y="186"/>
                    </a:lnTo>
                    <a:lnTo>
                      <a:pt x="1022" y="188"/>
                    </a:lnTo>
                    <a:lnTo>
                      <a:pt x="1022" y="188"/>
                    </a:lnTo>
                    <a:lnTo>
                      <a:pt x="1020" y="190"/>
                    </a:lnTo>
                    <a:lnTo>
                      <a:pt x="1020" y="188"/>
                    </a:lnTo>
                    <a:lnTo>
                      <a:pt x="1018" y="190"/>
                    </a:lnTo>
                    <a:lnTo>
                      <a:pt x="1016" y="192"/>
                    </a:lnTo>
                    <a:lnTo>
                      <a:pt x="1014" y="192"/>
                    </a:lnTo>
                    <a:lnTo>
                      <a:pt x="1008" y="194"/>
                    </a:lnTo>
                    <a:lnTo>
                      <a:pt x="1004" y="196"/>
                    </a:lnTo>
                    <a:lnTo>
                      <a:pt x="1002" y="196"/>
                    </a:lnTo>
                    <a:lnTo>
                      <a:pt x="996" y="198"/>
                    </a:lnTo>
                    <a:lnTo>
                      <a:pt x="990" y="198"/>
                    </a:lnTo>
                    <a:lnTo>
                      <a:pt x="984" y="200"/>
                    </a:lnTo>
                    <a:lnTo>
                      <a:pt x="978" y="202"/>
                    </a:lnTo>
                    <a:lnTo>
                      <a:pt x="972" y="204"/>
                    </a:lnTo>
                    <a:lnTo>
                      <a:pt x="968" y="206"/>
                    </a:lnTo>
                    <a:lnTo>
                      <a:pt x="964" y="208"/>
                    </a:lnTo>
                    <a:lnTo>
                      <a:pt x="962" y="208"/>
                    </a:lnTo>
                    <a:lnTo>
                      <a:pt x="960" y="208"/>
                    </a:lnTo>
                    <a:lnTo>
                      <a:pt x="956" y="208"/>
                    </a:lnTo>
                    <a:lnTo>
                      <a:pt x="952" y="208"/>
                    </a:lnTo>
                    <a:lnTo>
                      <a:pt x="944" y="208"/>
                    </a:lnTo>
                    <a:lnTo>
                      <a:pt x="940" y="208"/>
                    </a:lnTo>
                    <a:lnTo>
                      <a:pt x="936" y="208"/>
                    </a:lnTo>
                    <a:lnTo>
                      <a:pt x="932" y="208"/>
                    </a:lnTo>
                    <a:lnTo>
                      <a:pt x="928" y="208"/>
                    </a:lnTo>
                    <a:lnTo>
                      <a:pt x="928" y="208"/>
                    </a:lnTo>
                    <a:lnTo>
                      <a:pt x="928" y="210"/>
                    </a:lnTo>
                    <a:lnTo>
                      <a:pt x="926" y="210"/>
                    </a:lnTo>
                    <a:lnTo>
                      <a:pt x="926" y="210"/>
                    </a:lnTo>
                    <a:lnTo>
                      <a:pt x="924" y="210"/>
                    </a:lnTo>
                    <a:lnTo>
                      <a:pt x="924" y="212"/>
                    </a:lnTo>
                    <a:lnTo>
                      <a:pt x="924" y="212"/>
                    </a:lnTo>
                    <a:lnTo>
                      <a:pt x="922" y="212"/>
                    </a:lnTo>
                    <a:lnTo>
                      <a:pt x="920" y="216"/>
                    </a:lnTo>
                    <a:lnTo>
                      <a:pt x="920" y="216"/>
                    </a:lnTo>
                    <a:lnTo>
                      <a:pt x="920" y="216"/>
                    </a:lnTo>
                    <a:lnTo>
                      <a:pt x="918" y="220"/>
                    </a:lnTo>
                    <a:lnTo>
                      <a:pt x="918" y="220"/>
                    </a:lnTo>
                    <a:lnTo>
                      <a:pt x="918" y="220"/>
                    </a:lnTo>
                    <a:lnTo>
                      <a:pt x="918" y="224"/>
                    </a:lnTo>
                    <a:lnTo>
                      <a:pt x="918" y="224"/>
                    </a:lnTo>
                    <a:lnTo>
                      <a:pt x="918" y="226"/>
                    </a:lnTo>
                    <a:lnTo>
                      <a:pt x="918" y="226"/>
                    </a:lnTo>
                    <a:lnTo>
                      <a:pt x="918" y="226"/>
                    </a:lnTo>
                    <a:lnTo>
                      <a:pt x="920" y="228"/>
                    </a:lnTo>
                    <a:lnTo>
                      <a:pt x="920" y="228"/>
                    </a:lnTo>
                    <a:lnTo>
                      <a:pt x="920" y="228"/>
                    </a:lnTo>
                    <a:lnTo>
                      <a:pt x="922" y="232"/>
                    </a:lnTo>
                    <a:lnTo>
                      <a:pt x="924" y="234"/>
                    </a:lnTo>
                    <a:lnTo>
                      <a:pt x="924" y="234"/>
                    </a:lnTo>
                    <a:lnTo>
                      <a:pt x="926" y="234"/>
                    </a:lnTo>
                    <a:lnTo>
                      <a:pt x="926" y="236"/>
                    </a:lnTo>
                    <a:lnTo>
                      <a:pt x="926" y="236"/>
                    </a:lnTo>
                    <a:lnTo>
                      <a:pt x="926" y="238"/>
                    </a:lnTo>
                    <a:lnTo>
                      <a:pt x="926" y="236"/>
                    </a:lnTo>
                    <a:lnTo>
                      <a:pt x="926" y="240"/>
                    </a:lnTo>
                    <a:lnTo>
                      <a:pt x="924" y="244"/>
                    </a:lnTo>
                    <a:lnTo>
                      <a:pt x="924" y="248"/>
                    </a:lnTo>
                    <a:lnTo>
                      <a:pt x="924" y="252"/>
                    </a:lnTo>
                    <a:lnTo>
                      <a:pt x="924" y="256"/>
                    </a:lnTo>
                    <a:lnTo>
                      <a:pt x="924" y="260"/>
                    </a:lnTo>
                    <a:lnTo>
                      <a:pt x="924" y="262"/>
                    </a:lnTo>
                    <a:lnTo>
                      <a:pt x="924" y="262"/>
                    </a:lnTo>
                    <a:lnTo>
                      <a:pt x="924" y="262"/>
                    </a:lnTo>
                    <a:lnTo>
                      <a:pt x="924" y="264"/>
                    </a:lnTo>
                    <a:lnTo>
                      <a:pt x="924" y="264"/>
                    </a:lnTo>
                    <a:lnTo>
                      <a:pt x="924" y="264"/>
                    </a:lnTo>
                    <a:lnTo>
                      <a:pt x="926" y="266"/>
                    </a:lnTo>
                    <a:lnTo>
                      <a:pt x="926" y="266"/>
                    </a:lnTo>
                    <a:lnTo>
                      <a:pt x="926" y="266"/>
                    </a:lnTo>
                    <a:lnTo>
                      <a:pt x="928" y="268"/>
                    </a:lnTo>
                    <a:lnTo>
                      <a:pt x="928" y="268"/>
                    </a:lnTo>
                    <a:lnTo>
                      <a:pt x="930" y="268"/>
                    </a:lnTo>
                    <a:lnTo>
                      <a:pt x="932" y="270"/>
                    </a:lnTo>
                    <a:lnTo>
                      <a:pt x="934" y="272"/>
                    </a:lnTo>
                    <a:lnTo>
                      <a:pt x="938" y="272"/>
                    </a:lnTo>
                    <a:lnTo>
                      <a:pt x="940" y="274"/>
                    </a:lnTo>
                    <a:lnTo>
                      <a:pt x="944" y="274"/>
                    </a:lnTo>
                    <a:lnTo>
                      <a:pt x="946" y="274"/>
                    </a:lnTo>
                    <a:lnTo>
                      <a:pt x="946" y="276"/>
                    </a:lnTo>
                    <a:lnTo>
                      <a:pt x="946" y="276"/>
                    </a:lnTo>
                    <a:lnTo>
                      <a:pt x="948" y="278"/>
                    </a:lnTo>
                    <a:lnTo>
                      <a:pt x="948" y="278"/>
                    </a:lnTo>
                    <a:lnTo>
                      <a:pt x="948" y="282"/>
                    </a:lnTo>
                    <a:lnTo>
                      <a:pt x="948" y="282"/>
                    </a:lnTo>
                    <a:lnTo>
                      <a:pt x="948" y="282"/>
                    </a:lnTo>
                    <a:lnTo>
                      <a:pt x="948" y="284"/>
                    </a:lnTo>
                    <a:lnTo>
                      <a:pt x="948" y="284"/>
                    </a:lnTo>
                    <a:lnTo>
                      <a:pt x="948" y="284"/>
                    </a:lnTo>
                    <a:lnTo>
                      <a:pt x="948" y="288"/>
                    </a:lnTo>
                    <a:lnTo>
                      <a:pt x="948" y="288"/>
                    </a:lnTo>
                    <a:lnTo>
                      <a:pt x="950" y="288"/>
                    </a:lnTo>
                    <a:lnTo>
                      <a:pt x="952" y="290"/>
                    </a:lnTo>
                    <a:lnTo>
                      <a:pt x="954" y="292"/>
                    </a:lnTo>
                    <a:lnTo>
                      <a:pt x="954" y="292"/>
                    </a:lnTo>
                    <a:lnTo>
                      <a:pt x="954" y="292"/>
                    </a:lnTo>
                    <a:lnTo>
                      <a:pt x="956" y="294"/>
                    </a:lnTo>
                    <a:lnTo>
                      <a:pt x="956" y="294"/>
                    </a:lnTo>
                    <a:lnTo>
                      <a:pt x="956" y="296"/>
                    </a:lnTo>
                    <a:lnTo>
                      <a:pt x="958" y="296"/>
                    </a:lnTo>
                    <a:lnTo>
                      <a:pt x="958" y="296"/>
                    </a:lnTo>
                    <a:lnTo>
                      <a:pt x="956" y="298"/>
                    </a:lnTo>
                    <a:lnTo>
                      <a:pt x="954" y="298"/>
                    </a:lnTo>
                    <a:lnTo>
                      <a:pt x="948" y="300"/>
                    </a:lnTo>
                    <a:lnTo>
                      <a:pt x="946" y="302"/>
                    </a:lnTo>
                    <a:lnTo>
                      <a:pt x="944" y="302"/>
                    </a:lnTo>
                    <a:lnTo>
                      <a:pt x="944" y="302"/>
                    </a:lnTo>
                    <a:lnTo>
                      <a:pt x="944" y="302"/>
                    </a:lnTo>
                    <a:lnTo>
                      <a:pt x="942" y="300"/>
                    </a:lnTo>
                    <a:lnTo>
                      <a:pt x="940" y="298"/>
                    </a:lnTo>
                    <a:lnTo>
                      <a:pt x="938" y="296"/>
                    </a:lnTo>
                    <a:lnTo>
                      <a:pt x="936" y="296"/>
                    </a:lnTo>
                    <a:lnTo>
                      <a:pt x="934" y="294"/>
                    </a:lnTo>
                    <a:lnTo>
                      <a:pt x="932" y="292"/>
                    </a:lnTo>
                    <a:lnTo>
                      <a:pt x="928" y="288"/>
                    </a:lnTo>
                    <a:lnTo>
                      <a:pt x="926" y="284"/>
                    </a:lnTo>
                    <a:lnTo>
                      <a:pt x="922" y="282"/>
                    </a:lnTo>
                    <a:lnTo>
                      <a:pt x="918" y="278"/>
                    </a:lnTo>
                    <a:lnTo>
                      <a:pt x="914" y="274"/>
                    </a:lnTo>
                    <a:lnTo>
                      <a:pt x="910" y="272"/>
                    </a:lnTo>
                    <a:lnTo>
                      <a:pt x="908" y="270"/>
                    </a:lnTo>
                    <a:lnTo>
                      <a:pt x="904" y="268"/>
                    </a:lnTo>
                    <a:lnTo>
                      <a:pt x="902" y="266"/>
                    </a:lnTo>
                    <a:lnTo>
                      <a:pt x="900" y="266"/>
                    </a:lnTo>
                    <a:lnTo>
                      <a:pt x="900" y="266"/>
                    </a:lnTo>
                    <a:lnTo>
                      <a:pt x="900" y="266"/>
                    </a:lnTo>
                    <a:lnTo>
                      <a:pt x="898" y="264"/>
                    </a:lnTo>
                    <a:lnTo>
                      <a:pt x="896" y="264"/>
                    </a:lnTo>
                    <a:lnTo>
                      <a:pt x="892" y="264"/>
                    </a:lnTo>
                    <a:lnTo>
                      <a:pt x="892" y="264"/>
                    </a:lnTo>
                    <a:lnTo>
                      <a:pt x="892" y="264"/>
                    </a:lnTo>
                    <a:lnTo>
                      <a:pt x="892" y="264"/>
                    </a:lnTo>
                    <a:lnTo>
                      <a:pt x="890" y="262"/>
                    </a:lnTo>
                    <a:lnTo>
                      <a:pt x="888" y="260"/>
                    </a:lnTo>
                    <a:lnTo>
                      <a:pt x="886" y="258"/>
                    </a:lnTo>
                    <a:lnTo>
                      <a:pt x="886" y="258"/>
                    </a:lnTo>
                    <a:lnTo>
                      <a:pt x="886" y="258"/>
                    </a:lnTo>
                    <a:lnTo>
                      <a:pt x="884" y="258"/>
                    </a:lnTo>
                    <a:lnTo>
                      <a:pt x="884" y="256"/>
                    </a:lnTo>
                    <a:lnTo>
                      <a:pt x="884" y="256"/>
                    </a:lnTo>
                    <a:lnTo>
                      <a:pt x="882" y="256"/>
                    </a:lnTo>
                    <a:lnTo>
                      <a:pt x="882" y="256"/>
                    </a:lnTo>
                    <a:lnTo>
                      <a:pt x="882" y="256"/>
                    </a:lnTo>
                    <a:lnTo>
                      <a:pt x="880" y="256"/>
                    </a:lnTo>
                    <a:lnTo>
                      <a:pt x="878" y="256"/>
                    </a:lnTo>
                    <a:lnTo>
                      <a:pt x="878" y="256"/>
                    </a:lnTo>
                    <a:lnTo>
                      <a:pt x="878" y="256"/>
                    </a:lnTo>
                    <a:lnTo>
                      <a:pt x="876" y="258"/>
                    </a:lnTo>
                    <a:lnTo>
                      <a:pt x="874" y="258"/>
                    </a:lnTo>
                    <a:lnTo>
                      <a:pt x="872" y="260"/>
                    </a:lnTo>
                    <a:lnTo>
                      <a:pt x="870" y="262"/>
                    </a:lnTo>
                    <a:lnTo>
                      <a:pt x="868" y="264"/>
                    </a:lnTo>
                    <a:lnTo>
                      <a:pt x="866" y="266"/>
                    </a:lnTo>
                    <a:lnTo>
                      <a:pt x="866" y="266"/>
                    </a:lnTo>
                    <a:lnTo>
                      <a:pt x="866" y="266"/>
                    </a:lnTo>
                    <a:lnTo>
                      <a:pt x="866" y="268"/>
                    </a:lnTo>
                    <a:lnTo>
                      <a:pt x="866" y="268"/>
                    </a:lnTo>
                    <a:lnTo>
                      <a:pt x="866" y="268"/>
                    </a:lnTo>
                    <a:lnTo>
                      <a:pt x="866" y="270"/>
                    </a:lnTo>
                    <a:lnTo>
                      <a:pt x="866" y="270"/>
                    </a:lnTo>
                    <a:lnTo>
                      <a:pt x="866" y="272"/>
                    </a:lnTo>
                    <a:lnTo>
                      <a:pt x="866" y="272"/>
                    </a:lnTo>
                    <a:lnTo>
                      <a:pt x="866" y="272"/>
                    </a:lnTo>
                    <a:lnTo>
                      <a:pt x="868" y="272"/>
                    </a:lnTo>
                    <a:lnTo>
                      <a:pt x="868" y="274"/>
                    </a:lnTo>
                    <a:lnTo>
                      <a:pt x="868" y="274"/>
                    </a:lnTo>
                    <a:lnTo>
                      <a:pt x="870" y="274"/>
                    </a:lnTo>
                    <a:lnTo>
                      <a:pt x="870" y="274"/>
                    </a:lnTo>
                    <a:lnTo>
                      <a:pt x="874" y="276"/>
                    </a:lnTo>
                    <a:lnTo>
                      <a:pt x="876" y="276"/>
                    </a:lnTo>
                    <a:lnTo>
                      <a:pt x="876" y="278"/>
                    </a:lnTo>
                    <a:lnTo>
                      <a:pt x="878" y="278"/>
                    </a:lnTo>
                    <a:lnTo>
                      <a:pt x="880" y="280"/>
                    </a:lnTo>
                    <a:lnTo>
                      <a:pt x="882" y="284"/>
                    </a:lnTo>
                    <a:lnTo>
                      <a:pt x="882" y="284"/>
                    </a:lnTo>
                    <a:lnTo>
                      <a:pt x="882" y="286"/>
                    </a:lnTo>
                    <a:lnTo>
                      <a:pt x="882" y="286"/>
                    </a:lnTo>
                    <a:lnTo>
                      <a:pt x="882" y="286"/>
                    </a:lnTo>
                    <a:lnTo>
                      <a:pt x="882" y="290"/>
                    </a:lnTo>
                    <a:lnTo>
                      <a:pt x="882" y="290"/>
                    </a:lnTo>
                    <a:lnTo>
                      <a:pt x="882" y="292"/>
                    </a:lnTo>
                    <a:lnTo>
                      <a:pt x="882" y="292"/>
                    </a:lnTo>
                    <a:lnTo>
                      <a:pt x="880" y="292"/>
                    </a:lnTo>
                    <a:lnTo>
                      <a:pt x="878" y="290"/>
                    </a:lnTo>
                    <a:lnTo>
                      <a:pt x="878" y="288"/>
                    </a:lnTo>
                    <a:lnTo>
                      <a:pt x="874" y="286"/>
                    </a:lnTo>
                    <a:lnTo>
                      <a:pt x="872" y="284"/>
                    </a:lnTo>
                    <a:lnTo>
                      <a:pt x="870" y="282"/>
                    </a:lnTo>
                    <a:lnTo>
                      <a:pt x="870" y="282"/>
                    </a:lnTo>
                    <a:lnTo>
                      <a:pt x="870" y="282"/>
                    </a:lnTo>
                    <a:lnTo>
                      <a:pt x="868" y="280"/>
                    </a:lnTo>
                    <a:lnTo>
                      <a:pt x="868" y="280"/>
                    </a:lnTo>
                    <a:lnTo>
                      <a:pt x="868" y="280"/>
                    </a:lnTo>
                    <a:lnTo>
                      <a:pt x="866" y="280"/>
                    </a:lnTo>
                    <a:lnTo>
                      <a:pt x="866" y="280"/>
                    </a:lnTo>
                    <a:lnTo>
                      <a:pt x="866" y="280"/>
                    </a:lnTo>
                    <a:lnTo>
                      <a:pt x="864" y="282"/>
                    </a:lnTo>
                    <a:lnTo>
                      <a:pt x="864" y="282"/>
                    </a:lnTo>
                    <a:lnTo>
                      <a:pt x="864" y="282"/>
                    </a:lnTo>
                    <a:lnTo>
                      <a:pt x="862" y="282"/>
                    </a:lnTo>
                    <a:lnTo>
                      <a:pt x="862" y="282"/>
                    </a:lnTo>
                    <a:lnTo>
                      <a:pt x="862" y="282"/>
                    </a:lnTo>
                    <a:lnTo>
                      <a:pt x="860" y="284"/>
                    </a:lnTo>
                    <a:lnTo>
                      <a:pt x="860" y="284"/>
                    </a:lnTo>
                    <a:lnTo>
                      <a:pt x="858" y="286"/>
                    </a:lnTo>
                    <a:lnTo>
                      <a:pt x="858" y="286"/>
                    </a:lnTo>
                    <a:lnTo>
                      <a:pt x="858" y="288"/>
                    </a:lnTo>
                    <a:lnTo>
                      <a:pt x="856" y="290"/>
                    </a:lnTo>
                    <a:lnTo>
                      <a:pt x="856" y="290"/>
                    </a:lnTo>
                    <a:lnTo>
                      <a:pt x="856" y="288"/>
                    </a:lnTo>
                    <a:lnTo>
                      <a:pt x="856" y="286"/>
                    </a:lnTo>
                    <a:lnTo>
                      <a:pt x="856" y="282"/>
                    </a:lnTo>
                    <a:lnTo>
                      <a:pt x="856" y="278"/>
                    </a:lnTo>
                    <a:lnTo>
                      <a:pt x="856" y="274"/>
                    </a:lnTo>
                    <a:lnTo>
                      <a:pt x="856" y="268"/>
                    </a:lnTo>
                    <a:lnTo>
                      <a:pt x="854" y="264"/>
                    </a:lnTo>
                    <a:lnTo>
                      <a:pt x="854" y="260"/>
                    </a:lnTo>
                    <a:lnTo>
                      <a:pt x="854" y="256"/>
                    </a:lnTo>
                    <a:lnTo>
                      <a:pt x="852" y="252"/>
                    </a:lnTo>
                    <a:lnTo>
                      <a:pt x="850" y="250"/>
                    </a:lnTo>
                    <a:lnTo>
                      <a:pt x="848" y="244"/>
                    </a:lnTo>
                    <a:lnTo>
                      <a:pt x="846" y="240"/>
                    </a:lnTo>
                    <a:lnTo>
                      <a:pt x="844" y="238"/>
                    </a:lnTo>
                    <a:lnTo>
                      <a:pt x="842" y="236"/>
                    </a:lnTo>
                    <a:lnTo>
                      <a:pt x="840" y="236"/>
                    </a:lnTo>
                    <a:lnTo>
                      <a:pt x="840" y="236"/>
                    </a:lnTo>
                    <a:lnTo>
                      <a:pt x="840" y="234"/>
                    </a:lnTo>
                    <a:lnTo>
                      <a:pt x="838" y="234"/>
                    </a:lnTo>
                    <a:lnTo>
                      <a:pt x="838" y="234"/>
                    </a:lnTo>
                    <a:lnTo>
                      <a:pt x="836" y="234"/>
                    </a:lnTo>
                    <a:lnTo>
                      <a:pt x="836" y="234"/>
                    </a:lnTo>
                    <a:lnTo>
                      <a:pt x="836" y="234"/>
                    </a:lnTo>
                    <a:lnTo>
                      <a:pt x="834" y="236"/>
                    </a:lnTo>
                    <a:lnTo>
                      <a:pt x="834" y="236"/>
                    </a:lnTo>
                    <a:lnTo>
                      <a:pt x="834" y="236"/>
                    </a:lnTo>
                    <a:lnTo>
                      <a:pt x="832" y="236"/>
                    </a:lnTo>
                    <a:lnTo>
                      <a:pt x="832" y="238"/>
                    </a:lnTo>
                    <a:lnTo>
                      <a:pt x="832" y="238"/>
                    </a:lnTo>
                    <a:lnTo>
                      <a:pt x="832" y="238"/>
                    </a:lnTo>
                    <a:lnTo>
                      <a:pt x="830" y="242"/>
                    </a:lnTo>
                    <a:lnTo>
                      <a:pt x="830" y="242"/>
                    </a:lnTo>
                    <a:lnTo>
                      <a:pt x="830" y="242"/>
                    </a:lnTo>
                    <a:lnTo>
                      <a:pt x="830" y="244"/>
                    </a:lnTo>
                    <a:lnTo>
                      <a:pt x="830" y="244"/>
                    </a:lnTo>
                    <a:lnTo>
                      <a:pt x="830" y="246"/>
                    </a:lnTo>
                    <a:lnTo>
                      <a:pt x="830" y="246"/>
                    </a:lnTo>
                    <a:lnTo>
                      <a:pt x="830" y="246"/>
                    </a:lnTo>
                    <a:lnTo>
                      <a:pt x="830" y="248"/>
                    </a:lnTo>
                    <a:lnTo>
                      <a:pt x="830" y="250"/>
                    </a:lnTo>
                    <a:lnTo>
                      <a:pt x="830" y="250"/>
                    </a:lnTo>
                    <a:lnTo>
                      <a:pt x="832" y="250"/>
                    </a:lnTo>
                    <a:lnTo>
                      <a:pt x="834" y="252"/>
                    </a:lnTo>
                    <a:lnTo>
                      <a:pt x="836" y="254"/>
                    </a:lnTo>
                    <a:lnTo>
                      <a:pt x="838" y="256"/>
                    </a:lnTo>
                    <a:lnTo>
                      <a:pt x="840" y="256"/>
                    </a:lnTo>
                    <a:lnTo>
                      <a:pt x="842" y="258"/>
                    </a:lnTo>
                    <a:lnTo>
                      <a:pt x="842" y="258"/>
                    </a:lnTo>
                    <a:lnTo>
                      <a:pt x="844" y="260"/>
                    </a:lnTo>
                    <a:lnTo>
                      <a:pt x="844" y="262"/>
                    </a:lnTo>
                    <a:lnTo>
                      <a:pt x="844" y="264"/>
                    </a:lnTo>
                    <a:lnTo>
                      <a:pt x="844" y="266"/>
                    </a:lnTo>
                    <a:lnTo>
                      <a:pt x="842" y="270"/>
                    </a:lnTo>
                    <a:lnTo>
                      <a:pt x="840" y="274"/>
                    </a:lnTo>
                    <a:lnTo>
                      <a:pt x="836" y="280"/>
                    </a:lnTo>
                    <a:lnTo>
                      <a:pt x="834" y="282"/>
                    </a:lnTo>
                    <a:lnTo>
                      <a:pt x="834" y="284"/>
                    </a:lnTo>
                    <a:lnTo>
                      <a:pt x="832" y="286"/>
                    </a:lnTo>
                    <a:lnTo>
                      <a:pt x="832" y="286"/>
                    </a:lnTo>
                    <a:lnTo>
                      <a:pt x="830" y="286"/>
                    </a:lnTo>
                    <a:lnTo>
                      <a:pt x="828" y="286"/>
                    </a:lnTo>
                    <a:lnTo>
                      <a:pt x="828" y="286"/>
                    </a:lnTo>
                    <a:lnTo>
                      <a:pt x="828" y="286"/>
                    </a:lnTo>
                    <a:lnTo>
                      <a:pt x="826" y="286"/>
                    </a:lnTo>
                    <a:lnTo>
                      <a:pt x="826" y="286"/>
                    </a:lnTo>
                    <a:lnTo>
                      <a:pt x="824" y="288"/>
                    </a:lnTo>
                    <a:lnTo>
                      <a:pt x="824" y="288"/>
                    </a:lnTo>
                    <a:lnTo>
                      <a:pt x="824" y="288"/>
                    </a:lnTo>
                    <a:lnTo>
                      <a:pt x="822" y="290"/>
                    </a:lnTo>
                    <a:lnTo>
                      <a:pt x="822" y="290"/>
                    </a:lnTo>
                    <a:lnTo>
                      <a:pt x="820" y="292"/>
                    </a:lnTo>
                    <a:lnTo>
                      <a:pt x="820" y="292"/>
                    </a:lnTo>
                    <a:lnTo>
                      <a:pt x="820" y="292"/>
                    </a:lnTo>
                    <a:lnTo>
                      <a:pt x="820" y="294"/>
                    </a:lnTo>
                    <a:lnTo>
                      <a:pt x="820" y="298"/>
                    </a:lnTo>
                    <a:lnTo>
                      <a:pt x="820" y="300"/>
                    </a:lnTo>
                    <a:lnTo>
                      <a:pt x="820" y="304"/>
                    </a:lnTo>
                    <a:lnTo>
                      <a:pt x="818" y="308"/>
                    </a:lnTo>
                    <a:lnTo>
                      <a:pt x="818" y="318"/>
                    </a:lnTo>
                    <a:lnTo>
                      <a:pt x="820" y="324"/>
                    </a:lnTo>
                    <a:lnTo>
                      <a:pt x="820" y="334"/>
                    </a:lnTo>
                    <a:lnTo>
                      <a:pt x="820" y="346"/>
                    </a:lnTo>
                    <a:lnTo>
                      <a:pt x="820" y="356"/>
                    </a:lnTo>
                    <a:lnTo>
                      <a:pt x="820" y="360"/>
                    </a:lnTo>
                    <a:lnTo>
                      <a:pt x="820" y="364"/>
                    </a:lnTo>
                    <a:lnTo>
                      <a:pt x="820" y="370"/>
                    </a:lnTo>
                    <a:lnTo>
                      <a:pt x="820" y="372"/>
                    </a:lnTo>
                    <a:lnTo>
                      <a:pt x="820" y="378"/>
                    </a:lnTo>
                    <a:lnTo>
                      <a:pt x="820" y="382"/>
                    </a:lnTo>
                    <a:lnTo>
                      <a:pt x="820" y="386"/>
                    </a:lnTo>
                    <a:lnTo>
                      <a:pt x="820" y="390"/>
                    </a:lnTo>
                    <a:lnTo>
                      <a:pt x="818" y="392"/>
                    </a:lnTo>
                    <a:lnTo>
                      <a:pt x="818" y="394"/>
                    </a:lnTo>
                    <a:lnTo>
                      <a:pt x="818" y="396"/>
                    </a:lnTo>
                    <a:lnTo>
                      <a:pt x="818" y="400"/>
                    </a:lnTo>
                    <a:lnTo>
                      <a:pt x="818" y="404"/>
                    </a:lnTo>
                    <a:lnTo>
                      <a:pt x="816" y="410"/>
                    </a:lnTo>
                    <a:lnTo>
                      <a:pt x="818" y="412"/>
                    </a:lnTo>
                    <a:lnTo>
                      <a:pt x="818" y="412"/>
                    </a:lnTo>
                    <a:lnTo>
                      <a:pt x="818" y="414"/>
                    </a:lnTo>
                    <a:lnTo>
                      <a:pt x="818" y="416"/>
                    </a:lnTo>
                    <a:lnTo>
                      <a:pt x="818" y="416"/>
                    </a:lnTo>
                    <a:lnTo>
                      <a:pt x="818" y="416"/>
                    </a:lnTo>
                    <a:lnTo>
                      <a:pt x="820" y="418"/>
                    </a:lnTo>
                    <a:lnTo>
                      <a:pt x="820" y="418"/>
                    </a:lnTo>
                    <a:lnTo>
                      <a:pt x="820" y="418"/>
                    </a:lnTo>
                    <a:lnTo>
                      <a:pt x="822" y="420"/>
                    </a:lnTo>
                    <a:lnTo>
                      <a:pt x="822" y="420"/>
                    </a:lnTo>
                    <a:lnTo>
                      <a:pt x="824" y="420"/>
                    </a:lnTo>
                    <a:lnTo>
                      <a:pt x="826" y="420"/>
                    </a:lnTo>
                    <a:lnTo>
                      <a:pt x="826" y="420"/>
                    </a:lnTo>
                    <a:lnTo>
                      <a:pt x="826" y="420"/>
                    </a:lnTo>
                    <a:lnTo>
                      <a:pt x="830" y="420"/>
                    </a:lnTo>
                    <a:lnTo>
                      <a:pt x="836" y="420"/>
                    </a:lnTo>
                    <a:lnTo>
                      <a:pt x="834" y="422"/>
                    </a:lnTo>
                    <a:lnTo>
                      <a:pt x="832" y="426"/>
                    </a:lnTo>
                    <a:lnTo>
                      <a:pt x="830" y="430"/>
                    </a:lnTo>
                    <a:lnTo>
                      <a:pt x="828" y="434"/>
                    </a:lnTo>
                    <a:lnTo>
                      <a:pt x="828" y="438"/>
                    </a:lnTo>
                    <a:lnTo>
                      <a:pt x="826" y="442"/>
                    </a:lnTo>
                    <a:lnTo>
                      <a:pt x="826" y="444"/>
                    </a:lnTo>
                    <a:lnTo>
                      <a:pt x="826" y="444"/>
                    </a:lnTo>
                    <a:lnTo>
                      <a:pt x="826" y="446"/>
                    </a:lnTo>
                    <a:lnTo>
                      <a:pt x="826" y="446"/>
                    </a:lnTo>
                    <a:lnTo>
                      <a:pt x="826" y="448"/>
                    </a:lnTo>
                    <a:lnTo>
                      <a:pt x="828" y="450"/>
                    </a:lnTo>
                    <a:lnTo>
                      <a:pt x="828" y="450"/>
                    </a:lnTo>
                    <a:lnTo>
                      <a:pt x="828" y="450"/>
                    </a:lnTo>
                    <a:lnTo>
                      <a:pt x="828" y="452"/>
                    </a:lnTo>
                    <a:lnTo>
                      <a:pt x="828" y="454"/>
                    </a:lnTo>
                    <a:lnTo>
                      <a:pt x="828" y="454"/>
                    </a:lnTo>
                    <a:lnTo>
                      <a:pt x="828" y="456"/>
                    </a:lnTo>
                    <a:lnTo>
                      <a:pt x="828" y="460"/>
                    </a:lnTo>
                    <a:lnTo>
                      <a:pt x="828" y="462"/>
                    </a:lnTo>
                    <a:lnTo>
                      <a:pt x="828" y="466"/>
                    </a:lnTo>
                    <a:lnTo>
                      <a:pt x="828" y="470"/>
                    </a:lnTo>
                    <a:lnTo>
                      <a:pt x="826" y="476"/>
                    </a:lnTo>
                    <a:lnTo>
                      <a:pt x="826" y="482"/>
                    </a:lnTo>
                    <a:lnTo>
                      <a:pt x="824" y="486"/>
                    </a:lnTo>
                    <a:lnTo>
                      <a:pt x="824" y="488"/>
                    </a:lnTo>
                    <a:lnTo>
                      <a:pt x="822" y="490"/>
                    </a:lnTo>
                    <a:lnTo>
                      <a:pt x="820" y="492"/>
                    </a:lnTo>
                    <a:lnTo>
                      <a:pt x="820" y="492"/>
                    </a:lnTo>
                    <a:lnTo>
                      <a:pt x="818" y="494"/>
                    </a:lnTo>
                    <a:lnTo>
                      <a:pt x="818" y="494"/>
                    </a:lnTo>
                    <a:lnTo>
                      <a:pt x="816" y="496"/>
                    </a:lnTo>
                    <a:lnTo>
                      <a:pt x="814" y="496"/>
                    </a:lnTo>
                    <a:lnTo>
                      <a:pt x="812" y="498"/>
                    </a:lnTo>
                    <a:lnTo>
                      <a:pt x="806" y="500"/>
                    </a:lnTo>
                    <a:lnTo>
                      <a:pt x="802" y="502"/>
                    </a:lnTo>
                    <a:lnTo>
                      <a:pt x="796" y="506"/>
                    </a:lnTo>
                    <a:lnTo>
                      <a:pt x="790" y="508"/>
                    </a:lnTo>
                    <a:lnTo>
                      <a:pt x="788" y="510"/>
                    </a:lnTo>
                    <a:lnTo>
                      <a:pt x="790" y="508"/>
                    </a:lnTo>
                    <a:lnTo>
                      <a:pt x="792" y="504"/>
                    </a:lnTo>
                    <a:lnTo>
                      <a:pt x="796" y="500"/>
                    </a:lnTo>
                    <a:lnTo>
                      <a:pt x="798" y="496"/>
                    </a:lnTo>
                    <a:lnTo>
                      <a:pt x="800" y="494"/>
                    </a:lnTo>
                    <a:lnTo>
                      <a:pt x="800" y="494"/>
                    </a:lnTo>
                    <a:lnTo>
                      <a:pt x="800" y="494"/>
                    </a:lnTo>
                    <a:lnTo>
                      <a:pt x="800" y="492"/>
                    </a:lnTo>
                    <a:lnTo>
                      <a:pt x="800" y="492"/>
                    </a:lnTo>
                    <a:lnTo>
                      <a:pt x="802" y="490"/>
                    </a:lnTo>
                    <a:lnTo>
                      <a:pt x="802" y="488"/>
                    </a:lnTo>
                    <a:lnTo>
                      <a:pt x="802" y="488"/>
                    </a:lnTo>
                    <a:lnTo>
                      <a:pt x="802" y="488"/>
                    </a:lnTo>
                    <a:lnTo>
                      <a:pt x="802" y="484"/>
                    </a:lnTo>
                    <a:lnTo>
                      <a:pt x="800" y="480"/>
                    </a:lnTo>
                    <a:lnTo>
                      <a:pt x="800" y="476"/>
                    </a:lnTo>
                    <a:lnTo>
                      <a:pt x="800" y="472"/>
                    </a:lnTo>
                    <a:lnTo>
                      <a:pt x="800" y="470"/>
                    </a:lnTo>
                    <a:lnTo>
                      <a:pt x="800" y="470"/>
                    </a:lnTo>
                    <a:lnTo>
                      <a:pt x="800" y="468"/>
                    </a:lnTo>
                    <a:lnTo>
                      <a:pt x="800" y="466"/>
                    </a:lnTo>
                    <a:lnTo>
                      <a:pt x="800" y="462"/>
                    </a:lnTo>
                    <a:lnTo>
                      <a:pt x="800" y="458"/>
                    </a:lnTo>
                    <a:lnTo>
                      <a:pt x="800" y="454"/>
                    </a:lnTo>
                    <a:lnTo>
                      <a:pt x="800" y="452"/>
                    </a:lnTo>
                    <a:lnTo>
                      <a:pt x="800" y="448"/>
                    </a:lnTo>
                    <a:lnTo>
                      <a:pt x="800" y="442"/>
                    </a:lnTo>
                    <a:lnTo>
                      <a:pt x="800" y="436"/>
                    </a:lnTo>
                    <a:lnTo>
                      <a:pt x="800" y="430"/>
                    </a:lnTo>
                    <a:lnTo>
                      <a:pt x="800" y="424"/>
                    </a:lnTo>
                    <a:lnTo>
                      <a:pt x="802" y="418"/>
                    </a:lnTo>
                    <a:lnTo>
                      <a:pt x="802" y="402"/>
                    </a:lnTo>
                    <a:lnTo>
                      <a:pt x="802" y="388"/>
                    </a:lnTo>
                    <a:lnTo>
                      <a:pt x="804" y="382"/>
                    </a:lnTo>
                    <a:lnTo>
                      <a:pt x="804" y="376"/>
                    </a:lnTo>
                    <a:lnTo>
                      <a:pt x="804" y="370"/>
                    </a:lnTo>
                    <a:lnTo>
                      <a:pt x="804" y="364"/>
                    </a:lnTo>
                    <a:lnTo>
                      <a:pt x="804" y="360"/>
                    </a:lnTo>
                    <a:lnTo>
                      <a:pt x="804" y="354"/>
                    </a:lnTo>
                    <a:lnTo>
                      <a:pt x="804" y="352"/>
                    </a:lnTo>
                    <a:lnTo>
                      <a:pt x="804" y="350"/>
                    </a:lnTo>
                    <a:lnTo>
                      <a:pt x="804" y="348"/>
                    </a:lnTo>
                    <a:lnTo>
                      <a:pt x="804" y="348"/>
                    </a:lnTo>
                    <a:lnTo>
                      <a:pt x="804" y="348"/>
                    </a:lnTo>
                    <a:lnTo>
                      <a:pt x="804" y="348"/>
                    </a:lnTo>
                    <a:lnTo>
                      <a:pt x="804" y="348"/>
                    </a:lnTo>
                    <a:lnTo>
                      <a:pt x="800" y="346"/>
                    </a:lnTo>
                    <a:lnTo>
                      <a:pt x="800" y="346"/>
                    </a:lnTo>
                    <a:lnTo>
                      <a:pt x="800" y="346"/>
                    </a:lnTo>
                    <a:lnTo>
                      <a:pt x="800" y="346"/>
                    </a:lnTo>
                    <a:lnTo>
                      <a:pt x="800" y="342"/>
                    </a:lnTo>
                    <a:lnTo>
                      <a:pt x="802" y="338"/>
                    </a:lnTo>
                    <a:lnTo>
                      <a:pt x="802" y="332"/>
                    </a:lnTo>
                    <a:lnTo>
                      <a:pt x="802" y="326"/>
                    </a:lnTo>
                    <a:lnTo>
                      <a:pt x="802" y="320"/>
                    </a:lnTo>
                    <a:lnTo>
                      <a:pt x="802" y="320"/>
                    </a:lnTo>
                    <a:lnTo>
                      <a:pt x="802" y="316"/>
                    </a:lnTo>
                    <a:lnTo>
                      <a:pt x="802" y="316"/>
                    </a:lnTo>
                    <a:lnTo>
                      <a:pt x="802" y="314"/>
                    </a:lnTo>
                    <a:lnTo>
                      <a:pt x="802" y="312"/>
                    </a:lnTo>
                    <a:lnTo>
                      <a:pt x="802" y="312"/>
                    </a:lnTo>
                    <a:lnTo>
                      <a:pt x="800" y="312"/>
                    </a:lnTo>
                    <a:lnTo>
                      <a:pt x="800" y="310"/>
                    </a:lnTo>
                    <a:lnTo>
                      <a:pt x="800" y="310"/>
                    </a:lnTo>
                    <a:lnTo>
                      <a:pt x="800" y="310"/>
                    </a:lnTo>
                    <a:lnTo>
                      <a:pt x="798" y="310"/>
                    </a:lnTo>
                    <a:lnTo>
                      <a:pt x="798" y="310"/>
                    </a:lnTo>
                    <a:lnTo>
                      <a:pt x="798" y="308"/>
                    </a:lnTo>
                    <a:lnTo>
                      <a:pt x="796" y="308"/>
                    </a:lnTo>
                    <a:lnTo>
                      <a:pt x="796" y="308"/>
                    </a:lnTo>
                    <a:lnTo>
                      <a:pt x="796" y="308"/>
                    </a:lnTo>
                    <a:lnTo>
                      <a:pt x="792" y="308"/>
                    </a:lnTo>
                    <a:lnTo>
                      <a:pt x="790" y="306"/>
                    </a:lnTo>
                    <a:lnTo>
                      <a:pt x="784" y="306"/>
                    </a:lnTo>
                    <a:lnTo>
                      <a:pt x="778" y="306"/>
                    </a:lnTo>
                    <a:lnTo>
                      <a:pt x="770" y="308"/>
                    </a:lnTo>
                    <a:lnTo>
                      <a:pt x="764" y="310"/>
                    </a:lnTo>
                    <a:lnTo>
                      <a:pt x="762" y="310"/>
                    </a:lnTo>
                    <a:lnTo>
                      <a:pt x="762" y="310"/>
                    </a:lnTo>
                    <a:lnTo>
                      <a:pt x="762" y="310"/>
                    </a:lnTo>
                    <a:lnTo>
                      <a:pt x="760" y="312"/>
                    </a:lnTo>
                    <a:lnTo>
                      <a:pt x="758" y="312"/>
                    </a:lnTo>
                    <a:lnTo>
                      <a:pt x="758" y="312"/>
                    </a:lnTo>
                    <a:lnTo>
                      <a:pt x="758" y="314"/>
                    </a:lnTo>
                    <a:lnTo>
                      <a:pt x="756" y="314"/>
                    </a:lnTo>
                    <a:lnTo>
                      <a:pt x="756" y="314"/>
                    </a:lnTo>
                    <a:lnTo>
                      <a:pt x="756" y="316"/>
                    </a:lnTo>
                    <a:lnTo>
                      <a:pt x="756" y="318"/>
                    </a:lnTo>
                    <a:lnTo>
                      <a:pt x="756" y="318"/>
                    </a:lnTo>
                    <a:lnTo>
                      <a:pt x="754" y="318"/>
                    </a:lnTo>
                    <a:lnTo>
                      <a:pt x="754" y="320"/>
                    </a:lnTo>
                    <a:lnTo>
                      <a:pt x="754" y="320"/>
                    </a:lnTo>
                    <a:lnTo>
                      <a:pt x="754" y="322"/>
                    </a:lnTo>
                    <a:lnTo>
                      <a:pt x="754" y="322"/>
                    </a:lnTo>
                    <a:lnTo>
                      <a:pt x="754" y="322"/>
                    </a:lnTo>
                    <a:lnTo>
                      <a:pt x="756" y="326"/>
                    </a:lnTo>
                    <a:lnTo>
                      <a:pt x="758" y="330"/>
                    </a:lnTo>
                    <a:lnTo>
                      <a:pt x="760" y="336"/>
                    </a:lnTo>
                    <a:lnTo>
                      <a:pt x="762" y="342"/>
                    </a:lnTo>
                    <a:lnTo>
                      <a:pt x="764" y="348"/>
                    </a:lnTo>
                    <a:lnTo>
                      <a:pt x="766" y="354"/>
                    </a:lnTo>
                    <a:lnTo>
                      <a:pt x="766" y="356"/>
                    </a:lnTo>
                    <a:lnTo>
                      <a:pt x="766" y="358"/>
                    </a:lnTo>
                    <a:lnTo>
                      <a:pt x="766" y="370"/>
                    </a:lnTo>
                    <a:lnTo>
                      <a:pt x="764" y="380"/>
                    </a:lnTo>
                    <a:lnTo>
                      <a:pt x="762" y="392"/>
                    </a:lnTo>
                    <a:lnTo>
                      <a:pt x="760" y="398"/>
                    </a:lnTo>
                    <a:lnTo>
                      <a:pt x="758" y="404"/>
                    </a:lnTo>
                    <a:lnTo>
                      <a:pt x="758" y="408"/>
                    </a:lnTo>
                    <a:lnTo>
                      <a:pt x="756" y="412"/>
                    </a:lnTo>
                    <a:lnTo>
                      <a:pt x="754" y="420"/>
                    </a:lnTo>
                    <a:lnTo>
                      <a:pt x="750" y="430"/>
                    </a:lnTo>
                    <a:lnTo>
                      <a:pt x="746" y="440"/>
                    </a:lnTo>
                    <a:lnTo>
                      <a:pt x="742" y="450"/>
                    </a:lnTo>
                    <a:lnTo>
                      <a:pt x="740" y="454"/>
                    </a:lnTo>
                    <a:lnTo>
                      <a:pt x="740" y="458"/>
                    </a:lnTo>
                    <a:lnTo>
                      <a:pt x="738" y="460"/>
                    </a:lnTo>
                    <a:lnTo>
                      <a:pt x="736" y="462"/>
                    </a:lnTo>
                    <a:lnTo>
                      <a:pt x="736" y="452"/>
                    </a:lnTo>
                    <a:lnTo>
                      <a:pt x="736" y="448"/>
                    </a:lnTo>
                    <a:lnTo>
                      <a:pt x="736" y="446"/>
                    </a:lnTo>
                    <a:lnTo>
                      <a:pt x="736" y="442"/>
                    </a:lnTo>
                    <a:lnTo>
                      <a:pt x="736" y="440"/>
                    </a:lnTo>
                    <a:lnTo>
                      <a:pt x="736" y="440"/>
                    </a:lnTo>
                    <a:lnTo>
                      <a:pt x="736" y="440"/>
                    </a:lnTo>
                    <a:lnTo>
                      <a:pt x="736" y="440"/>
                    </a:lnTo>
                    <a:lnTo>
                      <a:pt x="736" y="440"/>
                    </a:lnTo>
                    <a:lnTo>
                      <a:pt x="734" y="438"/>
                    </a:lnTo>
                    <a:lnTo>
                      <a:pt x="734" y="436"/>
                    </a:lnTo>
                    <a:lnTo>
                      <a:pt x="734" y="436"/>
                    </a:lnTo>
                    <a:lnTo>
                      <a:pt x="732" y="436"/>
                    </a:lnTo>
                    <a:lnTo>
                      <a:pt x="730" y="436"/>
                    </a:lnTo>
                    <a:lnTo>
                      <a:pt x="730" y="436"/>
                    </a:lnTo>
                    <a:lnTo>
                      <a:pt x="730" y="434"/>
                    </a:lnTo>
                    <a:lnTo>
                      <a:pt x="728" y="434"/>
                    </a:lnTo>
                    <a:lnTo>
                      <a:pt x="728" y="434"/>
                    </a:lnTo>
                    <a:lnTo>
                      <a:pt x="726" y="434"/>
                    </a:lnTo>
                    <a:lnTo>
                      <a:pt x="722" y="434"/>
                    </a:lnTo>
                    <a:lnTo>
                      <a:pt x="722" y="434"/>
                    </a:lnTo>
                    <a:lnTo>
                      <a:pt x="722" y="434"/>
                    </a:lnTo>
                    <a:lnTo>
                      <a:pt x="720" y="434"/>
                    </a:lnTo>
                    <a:lnTo>
                      <a:pt x="718" y="434"/>
                    </a:lnTo>
                    <a:lnTo>
                      <a:pt x="716" y="434"/>
                    </a:lnTo>
                    <a:lnTo>
                      <a:pt x="716" y="432"/>
                    </a:lnTo>
                    <a:lnTo>
                      <a:pt x="716" y="432"/>
                    </a:lnTo>
                    <a:lnTo>
                      <a:pt x="716" y="432"/>
                    </a:lnTo>
                    <a:lnTo>
                      <a:pt x="716" y="430"/>
                    </a:lnTo>
                    <a:lnTo>
                      <a:pt x="714" y="428"/>
                    </a:lnTo>
                    <a:lnTo>
                      <a:pt x="710" y="428"/>
                    </a:lnTo>
                    <a:lnTo>
                      <a:pt x="708" y="426"/>
                    </a:lnTo>
                    <a:lnTo>
                      <a:pt x="702" y="424"/>
                    </a:lnTo>
                    <a:lnTo>
                      <a:pt x="698" y="422"/>
                    </a:lnTo>
                    <a:lnTo>
                      <a:pt x="694" y="418"/>
                    </a:lnTo>
                    <a:lnTo>
                      <a:pt x="690" y="412"/>
                    </a:lnTo>
                    <a:lnTo>
                      <a:pt x="684" y="408"/>
                    </a:lnTo>
                    <a:lnTo>
                      <a:pt x="680" y="402"/>
                    </a:lnTo>
                    <a:lnTo>
                      <a:pt x="674" y="398"/>
                    </a:lnTo>
                    <a:lnTo>
                      <a:pt x="674" y="398"/>
                    </a:lnTo>
                    <a:lnTo>
                      <a:pt x="672" y="398"/>
                    </a:lnTo>
                    <a:lnTo>
                      <a:pt x="670" y="398"/>
                    </a:lnTo>
                    <a:lnTo>
                      <a:pt x="666" y="398"/>
                    </a:lnTo>
                    <a:lnTo>
                      <a:pt x="662" y="396"/>
                    </a:lnTo>
                    <a:lnTo>
                      <a:pt x="656" y="392"/>
                    </a:lnTo>
                    <a:lnTo>
                      <a:pt x="654" y="392"/>
                    </a:lnTo>
                    <a:lnTo>
                      <a:pt x="650" y="390"/>
                    </a:lnTo>
                    <a:lnTo>
                      <a:pt x="650" y="390"/>
                    </a:lnTo>
                    <a:lnTo>
                      <a:pt x="650" y="390"/>
                    </a:lnTo>
                    <a:lnTo>
                      <a:pt x="638" y="390"/>
                    </a:lnTo>
                    <a:lnTo>
                      <a:pt x="626" y="388"/>
                    </a:lnTo>
                    <a:lnTo>
                      <a:pt x="622" y="388"/>
                    </a:lnTo>
                    <a:lnTo>
                      <a:pt x="620" y="386"/>
                    </a:lnTo>
                    <a:lnTo>
                      <a:pt x="616" y="384"/>
                    </a:lnTo>
                    <a:lnTo>
                      <a:pt x="614" y="380"/>
                    </a:lnTo>
                    <a:lnTo>
                      <a:pt x="610" y="374"/>
                    </a:lnTo>
                    <a:lnTo>
                      <a:pt x="606" y="372"/>
                    </a:lnTo>
                    <a:lnTo>
                      <a:pt x="606" y="372"/>
                    </a:lnTo>
                    <a:lnTo>
                      <a:pt x="606" y="372"/>
                    </a:lnTo>
                    <a:lnTo>
                      <a:pt x="604" y="368"/>
                    </a:lnTo>
                    <a:lnTo>
                      <a:pt x="602" y="368"/>
                    </a:lnTo>
                    <a:lnTo>
                      <a:pt x="602" y="368"/>
                    </a:lnTo>
                    <a:lnTo>
                      <a:pt x="600" y="368"/>
                    </a:lnTo>
                    <a:lnTo>
                      <a:pt x="600" y="366"/>
                    </a:lnTo>
                    <a:lnTo>
                      <a:pt x="600" y="366"/>
                    </a:lnTo>
                    <a:lnTo>
                      <a:pt x="598" y="366"/>
                    </a:lnTo>
                    <a:lnTo>
                      <a:pt x="596" y="366"/>
                    </a:lnTo>
                    <a:lnTo>
                      <a:pt x="596" y="366"/>
                    </a:lnTo>
                    <a:lnTo>
                      <a:pt x="596" y="366"/>
                    </a:lnTo>
                    <a:lnTo>
                      <a:pt x="594" y="366"/>
                    </a:lnTo>
                    <a:lnTo>
                      <a:pt x="594" y="366"/>
                    </a:lnTo>
                    <a:lnTo>
                      <a:pt x="594" y="368"/>
                    </a:lnTo>
                    <a:lnTo>
                      <a:pt x="592" y="368"/>
                    </a:lnTo>
                    <a:lnTo>
                      <a:pt x="592" y="368"/>
                    </a:lnTo>
                    <a:lnTo>
                      <a:pt x="592" y="368"/>
                    </a:lnTo>
                    <a:lnTo>
                      <a:pt x="592" y="370"/>
                    </a:lnTo>
                    <a:lnTo>
                      <a:pt x="590" y="372"/>
                    </a:lnTo>
                    <a:lnTo>
                      <a:pt x="590" y="372"/>
                    </a:lnTo>
                    <a:lnTo>
                      <a:pt x="590" y="376"/>
                    </a:lnTo>
                    <a:lnTo>
                      <a:pt x="592" y="380"/>
                    </a:lnTo>
                    <a:lnTo>
                      <a:pt x="594" y="382"/>
                    </a:lnTo>
                    <a:lnTo>
                      <a:pt x="594" y="386"/>
                    </a:lnTo>
                    <a:lnTo>
                      <a:pt x="596" y="388"/>
                    </a:lnTo>
                    <a:lnTo>
                      <a:pt x="596" y="388"/>
                    </a:lnTo>
                    <a:lnTo>
                      <a:pt x="598" y="390"/>
                    </a:lnTo>
                    <a:lnTo>
                      <a:pt x="600" y="392"/>
                    </a:lnTo>
                    <a:lnTo>
                      <a:pt x="602" y="396"/>
                    </a:lnTo>
                    <a:lnTo>
                      <a:pt x="606" y="398"/>
                    </a:lnTo>
                    <a:lnTo>
                      <a:pt x="610" y="402"/>
                    </a:lnTo>
                    <a:lnTo>
                      <a:pt x="614" y="406"/>
                    </a:lnTo>
                    <a:lnTo>
                      <a:pt x="616" y="408"/>
                    </a:lnTo>
                    <a:lnTo>
                      <a:pt x="618" y="412"/>
                    </a:lnTo>
                    <a:lnTo>
                      <a:pt x="620" y="414"/>
                    </a:lnTo>
                    <a:lnTo>
                      <a:pt x="620" y="418"/>
                    </a:lnTo>
                    <a:lnTo>
                      <a:pt x="622" y="422"/>
                    </a:lnTo>
                    <a:lnTo>
                      <a:pt x="622" y="422"/>
                    </a:lnTo>
                    <a:lnTo>
                      <a:pt x="622" y="424"/>
                    </a:lnTo>
                    <a:lnTo>
                      <a:pt x="622" y="424"/>
                    </a:lnTo>
                    <a:lnTo>
                      <a:pt x="620" y="424"/>
                    </a:lnTo>
                    <a:lnTo>
                      <a:pt x="618" y="426"/>
                    </a:lnTo>
                    <a:lnTo>
                      <a:pt x="616" y="426"/>
                    </a:lnTo>
                    <a:lnTo>
                      <a:pt x="614" y="426"/>
                    </a:lnTo>
                    <a:lnTo>
                      <a:pt x="610" y="426"/>
                    </a:lnTo>
                    <a:lnTo>
                      <a:pt x="608" y="426"/>
                    </a:lnTo>
                    <a:lnTo>
                      <a:pt x="606" y="424"/>
                    </a:lnTo>
                    <a:lnTo>
                      <a:pt x="606" y="424"/>
                    </a:lnTo>
                    <a:lnTo>
                      <a:pt x="606" y="424"/>
                    </a:lnTo>
                    <a:lnTo>
                      <a:pt x="606" y="424"/>
                    </a:lnTo>
                    <a:lnTo>
                      <a:pt x="606" y="422"/>
                    </a:lnTo>
                    <a:lnTo>
                      <a:pt x="604" y="422"/>
                    </a:lnTo>
                    <a:lnTo>
                      <a:pt x="604" y="422"/>
                    </a:lnTo>
                    <a:lnTo>
                      <a:pt x="604" y="420"/>
                    </a:lnTo>
                    <a:lnTo>
                      <a:pt x="602" y="416"/>
                    </a:lnTo>
                    <a:lnTo>
                      <a:pt x="600" y="414"/>
                    </a:lnTo>
                    <a:lnTo>
                      <a:pt x="598" y="412"/>
                    </a:lnTo>
                    <a:lnTo>
                      <a:pt x="598" y="412"/>
                    </a:lnTo>
                    <a:lnTo>
                      <a:pt x="596" y="410"/>
                    </a:lnTo>
                    <a:lnTo>
                      <a:pt x="596" y="410"/>
                    </a:lnTo>
                    <a:lnTo>
                      <a:pt x="596" y="410"/>
                    </a:lnTo>
                    <a:lnTo>
                      <a:pt x="596" y="410"/>
                    </a:lnTo>
                    <a:lnTo>
                      <a:pt x="596" y="410"/>
                    </a:lnTo>
                    <a:lnTo>
                      <a:pt x="594" y="410"/>
                    </a:lnTo>
                    <a:lnTo>
                      <a:pt x="592" y="410"/>
                    </a:lnTo>
                    <a:lnTo>
                      <a:pt x="592" y="410"/>
                    </a:lnTo>
                    <a:lnTo>
                      <a:pt x="590" y="412"/>
                    </a:lnTo>
                    <a:lnTo>
                      <a:pt x="590" y="412"/>
                    </a:lnTo>
                    <a:lnTo>
                      <a:pt x="590" y="412"/>
                    </a:lnTo>
                    <a:lnTo>
                      <a:pt x="590" y="412"/>
                    </a:lnTo>
                    <a:lnTo>
                      <a:pt x="590" y="414"/>
                    </a:lnTo>
                    <a:lnTo>
                      <a:pt x="590" y="414"/>
                    </a:lnTo>
                    <a:lnTo>
                      <a:pt x="590" y="414"/>
                    </a:lnTo>
                    <a:lnTo>
                      <a:pt x="590" y="416"/>
                    </a:lnTo>
                    <a:lnTo>
                      <a:pt x="588" y="418"/>
                    </a:lnTo>
                    <a:lnTo>
                      <a:pt x="588" y="422"/>
                    </a:lnTo>
                    <a:lnTo>
                      <a:pt x="588" y="426"/>
                    </a:lnTo>
                    <a:lnTo>
                      <a:pt x="588" y="430"/>
                    </a:lnTo>
                    <a:lnTo>
                      <a:pt x="586" y="432"/>
                    </a:lnTo>
                    <a:lnTo>
                      <a:pt x="582" y="434"/>
                    </a:lnTo>
                    <a:lnTo>
                      <a:pt x="576" y="436"/>
                    </a:lnTo>
                    <a:lnTo>
                      <a:pt x="572" y="440"/>
                    </a:lnTo>
                    <a:lnTo>
                      <a:pt x="568" y="440"/>
                    </a:lnTo>
                    <a:lnTo>
                      <a:pt x="562" y="438"/>
                    </a:lnTo>
                    <a:lnTo>
                      <a:pt x="556" y="438"/>
                    </a:lnTo>
                    <a:lnTo>
                      <a:pt x="550" y="438"/>
                    </a:lnTo>
                    <a:lnTo>
                      <a:pt x="544" y="438"/>
                    </a:lnTo>
                    <a:lnTo>
                      <a:pt x="544" y="438"/>
                    </a:lnTo>
                    <a:lnTo>
                      <a:pt x="544" y="438"/>
                    </a:lnTo>
                    <a:lnTo>
                      <a:pt x="540" y="440"/>
                    </a:lnTo>
                    <a:lnTo>
                      <a:pt x="540" y="440"/>
                    </a:lnTo>
                    <a:lnTo>
                      <a:pt x="538" y="440"/>
                    </a:lnTo>
                    <a:lnTo>
                      <a:pt x="534" y="442"/>
                    </a:lnTo>
                    <a:lnTo>
                      <a:pt x="534" y="442"/>
                    </a:lnTo>
                    <a:lnTo>
                      <a:pt x="534" y="444"/>
                    </a:lnTo>
                    <a:lnTo>
                      <a:pt x="532" y="444"/>
                    </a:lnTo>
                    <a:lnTo>
                      <a:pt x="532" y="444"/>
                    </a:lnTo>
                    <a:lnTo>
                      <a:pt x="532" y="446"/>
                    </a:lnTo>
                    <a:lnTo>
                      <a:pt x="530" y="446"/>
                    </a:lnTo>
                    <a:lnTo>
                      <a:pt x="528" y="446"/>
                    </a:lnTo>
                    <a:lnTo>
                      <a:pt x="524" y="448"/>
                    </a:lnTo>
                    <a:lnTo>
                      <a:pt x="522" y="448"/>
                    </a:lnTo>
                    <a:lnTo>
                      <a:pt x="520" y="448"/>
                    </a:lnTo>
                    <a:lnTo>
                      <a:pt x="520" y="448"/>
                    </a:lnTo>
                    <a:lnTo>
                      <a:pt x="520" y="448"/>
                    </a:lnTo>
                    <a:lnTo>
                      <a:pt x="518" y="446"/>
                    </a:lnTo>
                    <a:lnTo>
                      <a:pt x="520" y="442"/>
                    </a:lnTo>
                    <a:lnTo>
                      <a:pt x="520" y="442"/>
                    </a:lnTo>
                    <a:lnTo>
                      <a:pt x="520" y="440"/>
                    </a:lnTo>
                    <a:lnTo>
                      <a:pt x="522" y="438"/>
                    </a:lnTo>
                    <a:lnTo>
                      <a:pt x="524" y="436"/>
                    </a:lnTo>
                    <a:lnTo>
                      <a:pt x="524" y="436"/>
                    </a:lnTo>
                    <a:lnTo>
                      <a:pt x="524" y="434"/>
                    </a:lnTo>
                    <a:lnTo>
                      <a:pt x="524" y="434"/>
                    </a:lnTo>
                    <a:lnTo>
                      <a:pt x="524" y="434"/>
                    </a:lnTo>
                    <a:lnTo>
                      <a:pt x="524" y="432"/>
                    </a:lnTo>
                    <a:lnTo>
                      <a:pt x="522" y="430"/>
                    </a:lnTo>
                    <a:lnTo>
                      <a:pt x="522" y="430"/>
                    </a:lnTo>
                    <a:lnTo>
                      <a:pt x="522" y="430"/>
                    </a:lnTo>
                    <a:lnTo>
                      <a:pt x="522" y="430"/>
                    </a:lnTo>
                    <a:lnTo>
                      <a:pt x="522" y="430"/>
                    </a:lnTo>
                    <a:lnTo>
                      <a:pt x="520" y="430"/>
                    </a:lnTo>
                    <a:lnTo>
                      <a:pt x="520" y="430"/>
                    </a:lnTo>
                    <a:lnTo>
                      <a:pt x="518" y="430"/>
                    </a:lnTo>
                    <a:lnTo>
                      <a:pt x="516" y="430"/>
                    </a:lnTo>
                    <a:lnTo>
                      <a:pt x="514" y="430"/>
                    </a:lnTo>
                    <a:lnTo>
                      <a:pt x="510" y="428"/>
                    </a:lnTo>
                    <a:lnTo>
                      <a:pt x="506" y="428"/>
                    </a:lnTo>
                    <a:lnTo>
                      <a:pt x="506" y="428"/>
                    </a:lnTo>
                    <a:lnTo>
                      <a:pt x="504" y="428"/>
                    </a:lnTo>
                    <a:lnTo>
                      <a:pt x="498" y="434"/>
                    </a:lnTo>
                    <a:lnTo>
                      <a:pt x="494" y="436"/>
                    </a:lnTo>
                    <a:lnTo>
                      <a:pt x="490" y="438"/>
                    </a:lnTo>
                    <a:lnTo>
                      <a:pt x="490" y="438"/>
                    </a:lnTo>
                    <a:lnTo>
                      <a:pt x="486" y="438"/>
                    </a:lnTo>
                    <a:lnTo>
                      <a:pt x="484" y="438"/>
                    </a:lnTo>
                    <a:lnTo>
                      <a:pt x="476" y="440"/>
                    </a:lnTo>
                    <a:lnTo>
                      <a:pt x="474" y="442"/>
                    </a:lnTo>
                    <a:lnTo>
                      <a:pt x="474" y="442"/>
                    </a:lnTo>
                    <a:lnTo>
                      <a:pt x="474" y="442"/>
                    </a:lnTo>
                    <a:lnTo>
                      <a:pt x="472" y="442"/>
                    </a:lnTo>
                    <a:lnTo>
                      <a:pt x="472" y="442"/>
                    </a:lnTo>
                    <a:lnTo>
                      <a:pt x="470" y="444"/>
                    </a:lnTo>
                    <a:lnTo>
                      <a:pt x="468" y="446"/>
                    </a:lnTo>
                    <a:lnTo>
                      <a:pt x="468" y="446"/>
                    </a:lnTo>
                    <a:lnTo>
                      <a:pt x="468" y="446"/>
                    </a:lnTo>
                    <a:lnTo>
                      <a:pt x="466" y="448"/>
                    </a:lnTo>
                    <a:lnTo>
                      <a:pt x="462" y="454"/>
                    </a:lnTo>
                    <a:lnTo>
                      <a:pt x="460" y="460"/>
                    </a:lnTo>
                    <a:lnTo>
                      <a:pt x="458" y="462"/>
                    </a:lnTo>
                    <a:lnTo>
                      <a:pt x="456" y="464"/>
                    </a:lnTo>
                    <a:lnTo>
                      <a:pt x="452" y="464"/>
                    </a:lnTo>
                    <a:lnTo>
                      <a:pt x="452" y="464"/>
                    </a:lnTo>
                    <a:lnTo>
                      <a:pt x="452" y="464"/>
                    </a:lnTo>
                    <a:lnTo>
                      <a:pt x="446" y="466"/>
                    </a:lnTo>
                    <a:lnTo>
                      <a:pt x="446" y="466"/>
                    </a:lnTo>
                    <a:lnTo>
                      <a:pt x="446" y="466"/>
                    </a:lnTo>
                    <a:lnTo>
                      <a:pt x="442" y="470"/>
                    </a:lnTo>
                    <a:lnTo>
                      <a:pt x="438" y="472"/>
                    </a:lnTo>
                    <a:lnTo>
                      <a:pt x="434" y="476"/>
                    </a:lnTo>
                    <a:lnTo>
                      <a:pt x="430" y="480"/>
                    </a:lnTo>
                    <a:lnTo>
                      <a:pt x="424" y="488"/>
                    </a:lnTo>
                    <a:lnTo>
                      <a:pt x="422" y="490"/>
                    </a:lnTo>
                    <a:lnTo>
                      <a:pt x="420" y="492"/>
                    </a:lnTo>
                    <a:lnTo>
                      <a:pt x="420" y="492"/>
                    </a:lnTo>
                    <a:lnTo>
                      <a:pt x="420" y="492"/>
                    </a:lnTo>
                    <a:lnTo>
                      <a:pt x="418" y="494"/>
                    </a:lnTo>
                    <a:lnTo>
                      <a:pt x="418" y="494"/>
                    </a:lnTo>
                    <a:lnTo>
                      <a:pt x="418" y="494"/>
                    </a:lnTo>
                    <a:lnTo>
                      <a:pt x="416" y="496"/>
                    </a:lnTo>
                    <a:lnTo>
                      <a:pt x="416" y="496"/>
                    </a:lnTo>
                    <a:lnTo>
                      <a:pt x="416" y="496"/>
                    </a:lnTo>
                    <a:lnTo>
                      <a:pt x="416" y="498"/>
                    </a:lnTo>
                    <a:lnTo>
                      <a:pt x="416" y="498"/>
                    </a:lnTo>
                    <a:lnTo>
                      <a:pt x="416" y="498"/>
                    </a:lnTo>
                    <a:lnTo>
                      <a:pt x="416" y="500"/>
                    </a:lnTo>
                    <a:lnTo>
                      <a:pt x="414" y="502"/>
                    </a:lnTo>
                    <a:lnTo>
                      <a:pt x="414" y="502"/>
                    </a:lnTo>
                    <a:lnTo>
                      <a:pt x="414" y="502"/>
                    </a:lnTo>
                    <a:lnTo>
                      <a:pt x="414" y="502"/>
                    </a:lnTo>
                    <a:lnTo>
                      <a:pt x="414" y="502"/>
                    </a:lnTo>
                    <a:lnTo>
                      <a:pt x="412" y="504"/>
                    </a:lnTo>
                    <a:lnTo>
                      <a:pt x="408" y="504"/>
                    </a:lnTo>
                    <a:lnTo>
                      <a:pt x="404" y="504"/>
                    </a:lnTo>
                    <a:lnTo>
                      <a:pt x="400" y="506"/>
                    </a:lnTo>
                    <a:lnTo>
                      <a:pt x="398" y="504"/>
                    </a:lnTo>
                    <a:lnTo>
                      <a:pt x="396" y="502"/>
                    </a:lnTo>
                    <a:lnTo>
                      <a:pt x="392" y="502"/>
                    </a:lnTo>
                    <a:lnTo>
                      <a:pt x="390" y="500"/>
                    </a:lnTo>
                    <a:lnTo>
                      <a:pt x="388" y="498"/>
                    </a:lnTo>
                    <a:lnTo>
                      <a:pt x="388" y="496"/>
                    </a:lnTo>
                    <a:lnTo>
                      <a:pt x="388" y="494"/>
                    </a:lnTo>
                    <a:lnTo>
                      <a:pt x="388" y="490"/>
                    </a:lnTo>
                    <a:lnTo>
                      <a:pt x="388" y="488"/>
                    </a:lnTo>
                    <a:lnTo>
                      <a:pt x="388" y="486"/>
                    </a:lnTo>
                    <a:lnTo>
                      <a:pt x="388" y="484"/>
                    </a:lnTo>
                    <a:lnTo>
                      <a:pt x="388" y="482"/>
                    </a:lnTo>
                    <a:lnTo>
                      <a:pt x="390" y="480"/>
                    </a:lnTo>
                    <a:lnTo>
                      <a:pt x="396" y="476"/>
                    </a:lnTo>
                    <a:lnTo>
                      <a:pt x="398" y="474"/>
                    </a:lnTo>
                    <a:lnTo>
                      <a:pt x="400" y="472"/>
                    </a:lnTo>
                    <a:lnTo>
                      <a:pt x="400" y="472"/>
                    </a:lnTo>
                    <a:lnTo>
                      <a:pt x="402" y="472"/>
                    </a:lnTo>
                    <a:lnTo>
                      <a:pt x="404" y="468"/>
                    </a:lnTo>
                    <a:lnTo>
                      <a:pt x="404" y="468"/>
                    </a:lnTo>
                    <a:lnTo>
                      <a:pt x="404" y="468"/>
                    </a:lnTo>
                    <a:lnTo>
                      <a:pt x="406" y="464"/>
                    </a:lnTo>
                    <a:lnTo>
                      <a:pt x="406" y="464"/>
                    </a:lnTo>
                    <a:lnTo>
                      <a:pt x="406" y="462"/>
                    </a:lnTo>
                    <a:lnTo>
                      <a:pt x="404" y="460"/>
                    </a:lnTo>
                    <a:lnTo>
                      <a:pt x="402" y="460"/>
                    </a:lnTo>
                    <a:lnTo>
                      <a:pt x="402" y="460"/>
                    </a:lnTo>
                    <a:lnTo>
                      <a:pt x="400" y="458"/>
                    </a:lnTo>
                    <a:lnTo>
                      <a:pt x="400" y="458"/>
                    </a:lnTo>
                    <a:lnTo>
                      <a:pt x="400" y="454"/>
                    </a:lnTo>
                    <a:lnTo>
                      <a:pt x="400" y="454"/>
                    </a:lnTo>
                    <a:lnTo>
                      <a:pt x="400" y="454"/>
                    </a:lnTo>
                    <a:lnTo>
                      <a:pt x="398" y="452"/>
                    </a:lnTo>
                    <a:lnTo>
                      <a:pt x="396" y="450"/>
                    </a:lnTo>
                    <a:lnTo>
                      <a:pt x="396" y="450"/>
                    </a:lnTo>
                    <a:lnTo>
                      <a:pt x="396" y="448"/>
                    </a:lnTo>
                    <a:lnTo>
                      <a:pt x="394" y="448"/>
                    </a:lnTo>
                    <a:lnTo>
                      <a:pt x="394" y="448"/>
                    </a:lnTo>
                    <a:lnTo>
                      <a:pt x="392" y="448"/>
                    </a:lnTo>
                    <a:lnTo>
                      <a:pt x="390" y="446"/>
                    </a:lnTo>
                    <a:lnTo>
                      <a:pt x="384" y="446"/>
                    </a:lnTo>
                    <a:lnTo>
                      <a:pt x="378" y="444"/>
                    </a:lnTo>
                    <a:lnTo>
                      <a:pt x="376" y="444"/>
                    </a:lnTo>
                    <a:lnTo>
                      <a:pt x="372" y="444"/>
                    </a:lnTo>
                    <a:lnTo>
                      <a:pt x="370" y="442"/>
                    </a:lnTo>
                    <a:lnTo>
                      <a:pt x="368" y="442"/>
                    </a:lnTo>
                    <a:lnTo>
                      <a:pt x="368" y="440"/>
                    </a:lnTo>
                    <a:lnTo>
                      <a:pt x="366" y="438"/>
                    </a:lnTo>
                    <a:lnTo>
                      <a:pt x="364" y="438"/>
                    </a:lnTo>
                    <a:lnTo>
                      <a:pt x="364" y="438"/>
                    </a:lnTo>
                    <a:lnTo>
                      <a:pt x="362" y="438"/>
                    </a:lnTo>
                    <a:lnTo>
                      <a:pt x="362" y="438"/>
                    </a:lnTo>
                    <a:lnTo>
                      <a:pt x="362" y="438"/>
                    </a:lnTo>
                    <a:lnTo>
                      <a:pt x="360" y="440"/>
                    </a:lnTo>
                    <a:lnTo>
                      <a:pt x="360" y="440"/>
                    </a:lnTo>
                    <a:lnTo>
                      <a:pt x="360" y="440"/>
                    </a:lnTo>
                    <a:lnTo>
                      <a:pt x="360" y="440"/>
                    </a:lnTo>
                    <a:lnTo>
                      <a:pt x="358" y="442"/>
                    </a:lnTo>
                    <a:lnTo>
                      <a:pt x="358" y="442"/>
                    </a:lnTo>
                    <a:lnTo>
                      <a:pt x="358" y="444"/>
                    </a:lnTo>
                    <a:lnTo>
                      <a:pt x="358" y="444"/>
                    </a:lnTo>
                    <a:lnTo>
                      <a:pt x="358" y="446"/>
                    </a:lnTo>
                    <a:lnTo>
                      <a:pt x="358" y="446"/>
                    </a:lnTo>
                    <a:lnTo>
                      <a:pt x="358" y="448"/>
                    </a:lnTo>
                    <a:lnTo>
                      <a:pt x="360" y="448"/>
                    </a:lnTo>
                    <a:lnTo>
                      <a:pt x="360" y="452"/>
                    </a:lnTo>
                    <a:lnTo>
                      <a:pt x="362" y="454"/>
                    </a:lnTo>
                    <a:lnTo>
                      <a:pt x="364" y="458"/>
                    </a:lnTo>
                    <a:lnTo>
                      <a:pt x="366" y="462"/>
                    </a:lnTo>
                    <a:lnTo>
                      <a:pt x="366" y="464"/>
                    </a:lnTo>
                    <a:lnTo>
                      <a:pt x="368" y="466"/>
                    </a:lnTo>
                    <a:lnTo>
                      <a:pt x="368" y="470"/>
                    </a:lnTo>
                    <a:lnTo>
                      <a:pt x="368" y="474"/>
                    </a:lnTo>
                    <a:lnTo>
                      <a:pt x="366" y="476"/>
                    </a:lnTo>
                    <a:lnTo>
                      <a:pt x="366" y="478"/>
                    </a:lnTo>
                    <a:lnTo>
                      <a:pt x="364" y="480"/>
                    </a:lnTo>
                    <a:lnTo>
                      <a:pt x="362" y="482"/>
                    </a:lnTo>
                    <a:lnTo>
                      <a:pt x="362" y="482"/>
                    </a:lnTo>
                    <a:lnTo>
                      <a:pt x="362" y="482"/>
                    </a:lnTo>
                    <a:lnTo>
                      <a:pt x="360" y="486"/>
                    </a:lnTo>
                    <a:lnTo>
                      <a:pt x="360" y="486"/>
                    </a:lnTo>
                    <a:lnTo>
                      <a:pt x="360" y="486"/>
                    </a:lnTo>
                    <a:lnTo>
                      <a:pt x="360" y="490"/>
                    </a:lnTo>
                    <a:lnTo>
                      <a:pt x="360" y="490"/>
                    </a:lnTo>
                    <a:lnTo>
                      <a:pt x="360" y="492"/>
                    </a:lnTo>
                    <a:lnTo>
                      <a:pt x="362" y="496"/>
                    </a:lnTo>
                    <a:lnTo>
                      <a:pt x="364" y="500"/>
                    </a:lnTo>
                    <a:lnTo>
                      <a:pt x="366" y="502"/>
                    </a:lnTo>
                    <a:lnTo>
                      <a:pt x="368" y="504"/>
                    </a:lnTo>
                    <a:lnTo>
                      <a:pt x="368" y="506"/>
                    </a:lnTo>
                    <a:lnTo>
                      <a:pt x="370" y="510"/>
                    </a:lnTo>
                    <a:lnTo>
                      <a:pt x="370" y="514"/>
                    </a:lnTo>
                    <a:lnTo>
                      <a:pt x="370" y="518"/>
                    </a:lnTo>
                    <a:lnTo>
                      <a:pt x="370" y="520"/>
                    </a:lnTo>
                    <a:lnTo>
                      <a:pt x="368" y="524"/>
                    </a:lnTo>
                    <a:lnTo>
                      <a:pt x="368" y="528"/>
                    </a:lnTo>
                    <a:lnTo>
                      <a:pt x="366" y="530"/>
                    </a:lnTo>
                    <a:lnTo>
                      <a:pt x="364" y="530"/>
                    </a:lnTo>
                    <a:lnTo>
                      <a:pt x="360" y="530"/>
                    </a:lnTo>
                    <a:lnTo>
                      <a:pt x="358" y="530"/>
                    </a:lnTo>
                    <a:lnTo>
                      <a:pt x="354" y="530"/>
                    </a:lnTo>
                    <a:lnTo>
                      <a:pt x="352" y="530"/>
                    </a:lnTo>
                    <a:lnTo>
                      <a:pt x="348" y="530"/>
                    </a:lnTo>
                    <a:lnTo>
                      <a:pt x="344" y="530"/>
                    </a:lnTo>
                    <a:lnTo>
                      <a:pt x="338" y="530"/>
                    </a:lnTo>
                    <a:lnTo>
                      <a:pt x="338" y="530"/>
                    </a:lnTo>
                    <a:lnTo>
                      <a:pt x="338" y="530"/>
                    </a:lnTo>
                    <a:lnTo>
                      <a:pt x="334" y="530"/>
                    </a:lnTo>
                    <a:lnTo>
                      <a:pt x="332" y="530"/>
                    </a:lnTo>
                    <a:lnTo>
                      <a:pt x="332" y="530"/>
                    </a:lnTo>
                    <a:lnTo>
                      <a:pt x="332" y="530"/>
                    </a:lnTo>
                    <a:lnTo>
                      <a:pt x="328" y="534"/>
                    </a:lnTo>
                    <a:lnTo>
                      <a:pt x="324" y="536"/>
                    </a:lnTo>
                    <a:lnTo>
                      <a:pt x="320" y="538"/>
                    </a:lnTo>
                    <a:lnTo>
                      <a:pt x="316" y="538"/>
                    </a:lnTo>
                    <a:lnTo>
                      <a:pt x="314" y="540"/>
                    </a:lnTo>
                    <a:lnTo>
                      <a:pt x="314" y="540"/>
                    </a:lnTo>
                    <a:lnTo>
                      <a:pt x="314" y="540"/>
                    </a:lnTo>
                    <a:lnTo>
                      <a:pt x="312" y="542"/>
                    </a:lnTo>
                    <a:lnTo>
                      <a:pt x="312" y="542"/>
                    </a:lnTo>
                    <a:lnTo>
                      <a:pt x="310" y="542"/>
                    </a:lnTo>
                    <a:lnTo>
                      <a:pt x="308" y="544"/>
                    </a:lnTo>
                    <a:lnTo>
                      <a:pt x="306" y="546"/>
                    </a:lnTo>
                    <a:lnTo>
                      <a:pt x="306" y="548"/>
                    </a:lnTo>
                    <a:lnTo>
                      <a:pt x="302" y="548"/>
                    </a:lnTo>
                    <a:lnTo>
                      <a:pt x="302" y="548"/>
                    </a:lnTo>
                    <a:lnTo>
                      <a:pt x="302" y="548"/>
                    </a:lnTo>
                    <a:lnTo>
                      <a:pt x="300" y="550"/>
                    </a:lnTo>
                    <a:lnTo>
                      <a:pt x="300" y="550"/>
                    </a:lnTo>
                    <a:lnTo>
                      <a:pt x="300" y="550"/>
                    </a:lnTo>
                    <a:lnTo>
                      <a:pt x="298" y="550"/>
                    </a:lnTo>
                    <a:lnTo>
                      <a:pt x="298" y="550"/>
                    </a:lnTo>
                    <a:lnTo>
                      <a:pt x="298" y="550"/>
                    </a:lnTo>
                    <a:lnTo>
                      <a:pt x="296" y="552"/>
                    </a:lnTo>
                    <a:lnTo>
                      <a:pt x="296" y="552"/>
                    </a:lnTo>
                    <a:lnTo>
                      <a:pt x="296" y="554"/>
                    </a:lnTo>
                    <a:lnTo>
                      <a:pt x="296" y="554"/>
                    </a:lnTo>
                    <a:lnTo>
                      <a:pt x="296" y="554"/>
                    </a:lnTo>
                    <a:lnTo>
                      <a:pt x="296" y="556"/>
                    </a:lnTo>
                    <a:lnTo>
                      <a:pt x="296" y="558"/>
                    </a:lnTo>
                    <a:lnTo>
                      <a:pt x="296" y="558"/>
                    </a:lnTo>
                    <a:lnTo>
                      <a:pt x="296" y="558"/>
                    </a:lnTo>
                    <a:lnTo>
                      <a:pt x="298" y="562"/>
                    </a:lnTo>
                    <a:lnTo>
                      <a:pt x="298" y="562"/>
                    </a:lnTo>
                    <a:lnTo>
                      <a:pt x="298" y="562"/>
                    </a:lnTo>
                    <a:lnTo>
                      <a:pt x="302" y="564"/>
                    </a:lnTo>
                    <a:lnTo>
                      <a:pt x="302" y="564"/>
                    </a:lnTo>
                    <a:lnTo>
                      <a:pt x="304" y="566"/>
                    </a:lnTo>
                    <a:lnTo>
                      <a:pt x="306" y="568"/>
                    </a:lnTo>
                    <a:lnTo>
                      <a:pt x="306" y="570"/>
                    </a:lnTo>
                    <a:lnTo>
                      <a:pt x="306" y="572"/>
                    </a:lnTo>
                    <a:lnTo>
                      <a:pt x="308" y="576"/>
                    </a:lnTo>
                    <a:lnTo>
                      <a:pt x="308" y="578"/>
                    </a:lnTo>
                    <a:lnTo>
                      <a:pt x="308" y="580"/>
                    </a:lnTo>
                    <a:lnTo>
                      <a:pt x="304" y="580"/>
                    </a:lnTo>
                    <a:lnTo>
                      <a:pt x="298" y="580"/>
                    </a:lnTo>
                    <a:lnTo>
                      <a:pt x="290" y="580"/>
                    </a:lnTo>
                    <a:lnTo>
                      <a:pt x="288" y="580"/>
                    </a:lnTo>
                    <a:lnTo>
                      <a:pt x="284" y="578"/>
                    </a:lnTo>
                    <a:lnTo>
                      <a:pt x="280" y="576"/>
                    </a:lnTo>
                    <a:lnTo>
                      <a:pt x="276" y="576"/>
                    </a:lnTo>
                    <a:lnTo>
                      <a:pt x="270" y="572"/>
                    </a:lnTo>
                    <a:lnTo>
                      <a:pt x="266" y="570"/>
                    </a:lnTo>
                    <a:lnTo>
                      <a:pt x="266" y="570"/>
                    </a:lnTo>
                    <a:lnTo>
                      <a:pt x="266" y="570"/>
                    </a:lnTo>
                    <a:lnTo>
                      <a:pt x="266" y="568"/>
                    </a:lnTo>
                    <a:lnTo>
                      <a:pt x="264" y="568"/>
                    </a:lnTo>
                    <a:lnTo>
                      <a:pt x="260" y="568"/>
                    </a:lnTo>
                    <a:lnTo>
                      <a:pt x="258" y="568"/>
                    </a:lnTo>
                    <a:lnTo>
                      <a:pt x="254" y="566"/>
                    </a:lnTo>
                    <a:lnTo>
                      <a:pt x="250" y="566"/>
                    </a:lnTo>
                    <a:lnTo>
                      <a:pt x="246" y="568"/>
                    </a:lnTo>
                    <a:lnTo>
                      <a:pt x="246" y="568"/>
                    </a:lnTo>
                    <a:lnTo>
                      <a:pt x="246" y="568"/>
                    </a:lnTo>
                    <a:lnTo>
                      <a:pt x="244" y="568"/>
                    </a:lnTo>
                    <a:lnTo>
                      <a:pt x="242" y="568"/>
                    </a:lnTo>
                    <a:lnTo>
                      <a:pt x="240" y="568"/>
                    </a:lnTo>
                    <a:lnTo>
                      <a:pt x="238" y="570"/>
                    </a:lnTo>
                    <a:lnTo>
                      <a:pt x="238" y="570"/>
                    </a:lnTo>
                    <a:lnTo>
                      <a:pt x="236" y="570"/>
                    </a:lnTo>
                    <a:lnTo>
                      <a:pt x="236" y="570"/>
                    </a:lnTo>
                    <a:lnTo>
                      <a:pt x="236" y="570"/>
                    </a:lnTo>
                    <a:lnTo>
                      <a:pt x="236" y="574"/>
                    </a:lnTo>
                    <a:lnTo>
                      <a:pt x="236" y="574"/>
                    </a:lnTo>
                    <a:lnTo>
                      <a:pt x="236" y="574"/>
                    </a:lnTo>
                    <a:lnTo>
                      <a:pt x="238" y="576"/>
                    </a:lnTo>
                    <a:lnTo>
                      <a:pt x="238" y="576"/>
                    </a:lnTo>
                    <a:lnTo>
                      <a:pt x="240" y="578"/>
                    </a:lnTo>
                    <a:lnTo>
                      <a:pt x="242" y="578"/>
                    </a:lnTo>
                    <a:lnTo>
                      <a:pt x="242" y="578"/>
                    </a:lnTo>
                    <a:lnTo>
                      <a:pt x="242" y="580"/>
                    </a:lnTo>
                    <a:lnTo>
                      <a:pt x="242" y="580"/>
                    </a:lnTo>
                    <a:lnTo>
                      <a:pt x="244" y="580"/>
                    </a:lnTo>
                    <a:lnTo>
                      <a:pt x="246" y="582"/>
                    </a:lnTo>
                    <a:lnTo>
                      <a:pt x="250" y="584"/>
                    </a:lnTo>
                    <a:lnTo>
                      <a:pt x="252" y="586"/>
                    </a:lnTo>
                    <a:lnTo>
                      <a:pt x="254" y="588"/>
                    </a:lnTo>
                    <a:lnTo>
                      <a:pt x="254" y="588"/>
                    </a:lnTo>
                    <a:lnTo>
                      <a:pt x="254" y="588"/>
                    </a:lnTo>
                    <a:lnTo>
                      <a:pt x="256" y="590"/>
                    </a:lnTo>
                    <a:lnTo>
                      <a:pt x="262" y="592"/>
                    </a:lnTo>
                    <a:lnTo>
                      <a:pt x="268" y="596"/>
                    </a:lnTo>
                    <a:lnTo>
                      <a:pt x="272" y="600"/>
                    </a:lnTo>
                    <a:lnTo>
                      <a:pt x="274" y="602"/>
                    </a:lnTo>
                    <a:lnTo>
                      <a:pt x="276" y="606"/>
                    </a:lnTo>
                    <a:lnTo>
                      <a:pt x="276" y="606"/>
                    </a:lnTo>
                    <a:lnTo>
                      <a:pt x="278" y="608"/>
                    </a:lnTo>
                    <a:lnTo>
                      <a:pt x="278" y="610"/>
                    </a:lnTo>
                    <a:lnTo>
                      <a:pt x="278" y="610"/>
                    </a:lnTo>
                    <a:lnTo>
                      <a:pt x="278" y="610"/>
                    </a:lnTo>
                    <a:lnTo>
                      <a:pt x="278" y="610"/>
                    </a:lnTo>
                    <a:lnTo>
                      <a:pt x="272" y="612"/>
                    </a:lnTo>
                    <a:lnTo>
                      <a:pt x="268" y="612"/>
                    </a:lnTo>
                    <a:lnTo>
                      <a:pt x="262" y="612"/>
                    </a:lnTo>
                    <a:lnTo>
                      <a:pt x="256" y="612"/>
                    </a:lnTo>
                    <a:lnTo>
                      <a:pt x="252" y="610"/>
                    </a:lnTo>
                    <a:lnTo>
                      <a:pt x="250" y="610"/>
                    </a:lnTo>
                    <a:lnTo>
                      <a:pt x="250" y="610"/>
                    </a:lnTo>
                    <a:lnTo>
                      <a:pt x="248" y="610"/>
                    </a:lnTo>
                    <a:lnTo>
                      <a:pt x="248" y="608"/>
                    </a:lnTo>
                    <a:lnTo>
                      <a:pt x="246" y="606"/>
                    </a:lnTo>
                    <a:lnTo>
                      <a:pt x="244" y="602"/>
                    </a:lnTo>
                    <a:lnTo>
                      <a:pt x="244" y="600"/>
                    </a:lnTo>
                    <a:lnTo>
                      <a:pt x="242" y="598"/>
                    </a:lnTo>
                    <a:lnTo>
                      <a:pt x="242" y="594"/>
                    </a:lnTo>
                    <a:lnTo>
                      <a:pt x="240" y="592"/>
                    </a:lnTo>
                    <a:lnTo>
                      <a:pt x="238" y="584"/>
                    </a:lnTo>
                    <a:lnTo>
                      <a:pt x="236" y="576"/>
                    </a:lnTo>
                    <a:lnTo>
                      <a:pt x="232" y="566"/>
                    </a:lnTo>
                    <a:lnTo>
                      <a:pt x="230" y="558"/>
                    </a:lnTo>
                    <a:lnTo>
                      <a:pt x="228" y="552"/>
                    </a:lnTo>
                    <a:lnTo>
                      <a:pt x="228" y="548"/>
                    </a:lnTo>
                    <a:lnTo>
                      <a:pt x="226" y="546"/>
                    </a:lnTo>
                    <a:lnTo>
                      <a:pt x="226" y="546"/>
                    </a:lnTo>
                    <a:lnTo>
                      <a:pt x="226" y="544"/>
                    </a:lnTo>
                    <a:lnTo>
                      <a:pt x="222" y="542"/>
                    </a:lnTo>
                    <a:lnTo>
                      <a:pt x="220" y="540"/>
                    </a:lnTo>
                    <a:lnTo>
                      <a:pt x="220" y="538"/>
                    </a:lnTo>
                    <a:lnTo>
                      <a:pt x="218" y="536"/>
                    </a:lnTo>
                    <a:lnTo>
                      <a:pt x="218" y="530"/>
                    </a:lnTo>
                    <a:lnTo>
                      <a:pt x="216" y="524"/>
                    </a:lnTo>
                    <a:lnTo>
                      <a:pt x="216" y="524"/>
                    </a:lnTo>
                    <a:lnTo>
                      <a:pt x="214" y="522"/>
                    </a:lnTo>
                    <a:lnTo>
                      <a:pt x="210" y="520"/>
                    </a:lnTo>
                    <a:lnTo>
                      <a:pt x="206" y="518"/>
                    </a:lnTo>
                    <a:lnTo>
                      <a:pt x="200" y="516"/>
                    </a:lnTo>
                    <a:lnTo>
                      <a:pt x="196" y="512"/>
                    </a:lnTo>
                    <a:lnTo>
                      <a:pt x="196" y="512"/>
                    </a:lnTo>
                    <a:lnTo>
                      <a:pt x="192" y="508"/>
                    </a:lnTo>
                    <a:lnTo>
                      <a:pt x="190" y="506"/>
                    </a:lnTo>
                    <a:lnTo>
                      <a:pt x="188" y="504"/>
                    </a:lnTo>
                    <a:lnTo>
                      <a:pt x="188" y="504"/>
                    </a:lnTo>
                    <a:lnTo>
                      <a:pt x="188" y="500"/>
                    </a:lnTo>
                    <a:lnTo>
                      <a:pt x="188" y="500"/>
                    </a:lnTo>
                    <a:lnTo>
                      <a:pt x="188" y="498"/>
                    </a:lnTo>
                    <a:lnTo>
                      <a:pt x="188" y="498"/>
                    </a:lnTo>
                    <a:lnTo>
                      <a:pt x="190" y="498"/>
                    </a:lnTo>
                    <a:lnTo>
                      <a:pt x="192" y="498"/>
                    </a:lnTo>
                    <a:lnTo>
                      <a:pt x="192" y="498"/>
                    </a:lnTo>
                    <a:lnTo>
                      <a:pt x="192" y="498"/>
                    </a:lnTo>
                    <a:lnTo>
                      <a:pt x="192" y="500"/>
                    </a:lnTo>
                    <a:lnTo>
                      <a:pt x="196" y="502"/>
                    </a:lnTo>
                    <a:lnTo>
                      <a:pt x="198" y="506"/>
                    </a:lnTo>
                    <a:lnTo>
                      <a:pt x="200" y="510"/>
                    </a:lnTo>
                    <a:lnTo>
                      <a:pt x="200" y="510"/>
                    </a:lnTo>
                    <a:lnTo>
                      <a:pt x="202" y="510"/>
                    </a:lnTo>
                    <a:lnTo>
                      <a:pt x="206" y="512"/>
                    </a:lnTo>
                    <a:lnTo>
                      <a:pt x="212" y="512"/>
                    </a:lnTo>
                    <a:lnTo>
                      <a:pt x="218" y="514"/>
                    </a:lnTo>
                    <a:lnTo>
                      <a:pt x="222" y="516"/>
                    </a:lnTo>
                    <a:lnTo>
                      <a:pt x="222" y="516"/>
                    </a:lnTo>
                    <a:lnTo>
                      <a:pt x="222" y="516"/>
                    </a:lnTo>
                    <a:lnTo>
                      <a:pt x="224" y="518"/>
                    </a:lnTo>
                    <a:lnTo>
                      <a:pt x="226" y="518"/>
                    </a:lnTo>
                    <a:lnTo>
                      <a:pt x="228" y="518"/>
                    </a:lnTo>
                    <a:lnTo>
                      <a:pt x="228" y="520"/>
                    </a:lnTo>
                    <a:lnTo>
                      <a:pt x="230" y="522"/>
                    </a:lnTo>
                    <a:lnTo>
                      <a:pt x="232" y="524"/>
                    </a:lnTo>
                    <a:lnTo>
                      <a:pt x="234" y="526"/>
                    </a:lnTo>
                    <a:lnTo>
                      <a:pt x="234" y="526"/>
                    </a:lnTo>
                    <a:lnTo>
                      <a:pt x="236" y="526"/>
                    </a:lnTo>
                    <a:lnTo>
                      <a:pt x="240" y="526"/>
                    </a:lnTo>
                    <a:lnTo>
                      <a:pt x="244" y="528"/>
                    </a:lnTo>
                    <a:lnTo>
                      <a:pt x="248" y="530"/>
                    </a:lnTo>
                    <a:lnTo>
                      <a:pt x="252" y="532"/>
                    </a:lnTo>
                    <a:lnTo>
                      <a:pt x="252" y="532"/>
                    </a:lnTo>
                    <a:lnTo>
                      <a:pt x="254" y="532"/>
                    </a:lnTo>
                    <a:lnTo>
                      <a:pt x="258" y="532"/>
                    </a:lnTo>
                    <a:lnTo>
                      <a:pt x="264" y="534"/>
                    </a:lnTo>
                    <a:lnTo>
                      <a:pt x="272" y="536"/>
                    </a:lnTo>
                    <a:lnTo>
                      <a:pt x="276" y="536"/>
                    </a:lnTo>
                    <a:lnTo>
                      <a:pt x="282" y="536"/>
                    </a:lnTo>
                    <a:lnTo>
                      <a:pt x="286" y="538"/>
                    </a:lnTo>
                    <a:lnTo>
                      <a:pt x="292" y="538"/>
                    </a:lnTo>
                    <a:lnTo>
                      <a:pt x="292" y="538"/>
                    </a:lnTo>
                    <a:lnTo>
                      <a:pt x="294" y="538"/>
                    </a:lnTo>
                    <a:lnTo>
                      <a:pt x="298" y="534"/>
                    </a:lnTo>
                    <a:lnTo>
                      <a:pt x="302" y="532"/>
                    </a:lnTo>
                    <a:lnTo>
                      <a:pt x="306" y="530"/>
                    </a:lnTo>
                    <a:lnTo>
                      <a:pt x="312" y="526"/>
                    </a:lnTo>
                    <a:lnTo>
                      <a:pt x="316" y="522"/>
                    </a:lnTo>
                    <a:lnTo>
                      <a:pt x="316" y="522"/>
                    </a:lnTo>
                    <a:lnTo>
                      <a:pt x="316" y="522"/>
                    </a:lnTo>
                    <a:lnTo>
                      <a:pt x="318" y="518"/>
                    </a:lnTo>
                    <a:lnTo>
                      <a:pt x="318" y="518"/>
                    </a:lnTo>
                    <a:lnTo>
                      <a:pt x="320" y="518"/>
                    </a:lnTo>
                    <a:lnTo>
                      <a:pt x="320" y="516"/>
                    </a:lnTo>
                    <a:lnTo>
                      <a:pt x="322" y="512"/>
                    </a:lnTo>
                    <a:lnTo>
                      <a:pt x="322" y="510"/>
                    </a:lnTo>
                    <a:lnTo>
                      <a:pt x="324" y="506"/>
                    </a:lnTo>
                    <a:lnTo>
                      <a:pt x="324" y="502"/>
                    </a:lnTo>
                    <a:lnTo>
                      <a:pt x="324" y="496"/>
                    </a:lnTo>
                    <a:lnTo>
                      <a:pt x="324" y="496"/>
                    </a:lnTo>
                    <a:lnTo>
                      <a:pt x="324" y="496"/>
                    </a:lnTo>
                    <a:lnTo>
                      <a:pt x="324" y="492"/>
                    </a:lnTo>
                    <a:lnTo>
                      <a:pt x="322" y="490"/>
                    </a:lnTo>
                    <a:lnTo>
                      <a:pt x="322" y="486"/>
                    </a:lnTo>
                    <a:lnTo>
                      <a:pt x="322" y="486"/>
                    </a:lnTo>
                    <a:lnTo>
                      <a:pt x="322" y="486"/>
                    </a:lnTo>
                    <a:lnTo>
                      <a:pt x="318" y="482"/>
                    </a:lnTo>
                    <a:lnTo>
                      <a:pt x="316" y="480"/>
                    </a:lnTo>
                    <a:lnTo>
                      <a:pt x="316" y="480"/>
                    </a:lnTo>
                    <a:lnTo>
                      <a:pt x="316" y="478"/>
                    </a:lnTo>
                    <a:lnTo>
                      <a:pt x="312" y="476"/>
                    </a:lnTo>
                    <a:lnTo>
                      <a:pt x="308" y="474"/>
                    </a:lnTo>
                    <a:lnTo>
                      <a:pt x="306" y="472"/>
                    </a:lnTo>
                    <a:lnTo>
                      <a:pt x="304" y="468"/>
                    </a:lnTo>
                    <a:lnTo>
                      <a:pt x="300" y="462"/>
                    </a:lnTo>
                    <a:lnTo>
                      <a:pt x="298" y="458"/>
                    </a:lnTo>
                    <a:lnTo>
                      <a:pt x="296" y="454"/>
                    </a:lnTo>
                    <a:lnTo>
                      <a:pt x="292" y="448"/>
                    </a:lnTo>
                    <a:lnTo>
                      <a:pt x="292" y="448"/>
                    </a:lnTo>
                    <a:lnTo>
                      <a:pt x="286" y="442"/>
                    </a:lnTo>
                    <a:lnTo>
                      <a:pt x="282" y="438"/>
                    </a:lnTo>
                    <a:lnTo>
                      <a:pt x="276" y="434"/>
                    </a:lnTo>
                    <a:lnTo>
                      <a:pt x="276" y="434"/>
                    </a:lnTo>
                    <a:lnTo>
                      <a:pt x="274" y="434"/>
                    </a:lnTo>
                    <a:lnTo>
                      <a:pt x="270" y="434"/>
                    </a:lnTo>
                    <a:lnTo>
                      <a:pt x="266" y="432"/>
                    </a:lnTo>
                    <a:lnTo>
                      <a:pt x="262" y="430"/>
                    </a:lnTo>
                    <a:lnTo>
                      <a:pt x="258" y="428"/>
                    </a:lnTo>
                    <a:lnTo>
                      <a:pt x="248" y="424"/>
                    </a:lnTo>
                    <a:lnTo>
                      <a:pt x="244" y="422"/>
                    </a:lnTo>
                    <a:lnTo>
                      <a:pt x="240" y="418"/>
                    </a:lnTo>
                    <a:lnTo>
                      <a:pt x="240" y="418"/>
                    </a:lnTo>
                    <a:lnTo>
                      <a:pt x="238" y="418"/>
                    </a:lnTo>
                    <a:lnTo>
                      <a:pt x="234" y="418"/>
                    </a:lnTo>
                    <a:lnTo>
                      <a:pt x="230" y="418"/>
                    </a:lnTo>
                    <a:lnTo>
                      <a:pt x="224" y="418"/>
                    </a:lnTo>
                    <a:lnTo>
                      <a:pt x="218" y="418"/>
                    </a:lnTo>
                    <a:lnTo>
                      <a:pt x="214" y="418"/>
                    </a:lnTo>
                    <a:lnTo>
                      <a:pt x="210" y="418"/>
                    </a:lnTo>
                    <a:lnTo>
                      <a:pt x="206" y="418"/>
                    </a:lnTo>
                    <a:lnTo>
                      <a:pt x="206" y="418"/>
                    </a:lnTo>
                    <a:lnTo>
                      <a:pt x="206" y="418"/>
                    </a:lnTo>
                    <a:lnTo>
                      <a:pt x="204" y="418"/>
                    </a:lnTo>
                    <a:lnTo>
                      <a:pt x="204" y="416"/>
                    </a:lnTo>
                    <a:lnTo>
                      <a:pt x="204" y="414"/>
                    </a:lnTo>
                    <a:lnTo>
                      <a:pt x="204" y="410"/>
                    </a:lnTo>
                    <a:lnTo>
                      <a:pt x="204" y="406"/>
                    </a:lnTo>
                    <a:lnTo>
                      <a:pt x="202" y="402"/>
                    </a:lnTo>
                    <a:lnTo>
                      <a:pt x="202" y="402"/>
                    </a:lnTo>
                    <a:lnTo>
                      <a:pt x="200" y="400"/>
                    </a:lnTo>
                    <a:lnTo>
                      <a:pt x="196" y="400"/>
                    </a:lnTo>
                    <a:lnTo>
                      <a:pt x="194" y="398"/>
                    </a:lnTo>
                    <a:lnTo>
                      <a:pt x="186" y="396"/>
                    </a:lnTo>
                    <a:lnTo>
                      <a:pt x="180" y="396"/>
                    </a:lnTo>
                    <a:lnTo>
                      <a:pt x="174" y="396"/>
                    </a:lnTo>
                    <a:lnTo>
                      <a:pt x="174" y="396"/>
                    </a:lnTo>
                    <a:lnTo>
                      <a:pt x="172" y="396"/>
                    </a:lnTo>
                    <a:lnTo>
                      <a:pt x="164" y="400"/>
                    </a:lnTo>
                    <a:lnTo>
                      <a:pt x="156" y="406"/>
                    </a:lnTo>
                    <a:lnTo>
                      <a:pt x="152" y="410"/>
                    </a:lnTo>
                    <a:lnTo>
                      <a:pt x="148" y="412"/>
                    </a:lnTo>
                    <a:lnTo>
                      <a:pt x="144" y="416"/>
                    </a:lnTo>
                    <a:lnTo>
                      <a:pt x="142" y="420"/>
                    </a:lnTo>
                    <a:lnTo>
                      <a:pt x="140" y="422"/>
                    </a:lnTo>
                    <a:lnTo>
                      <a:pt x="138" y="424"/>
                    </a:lnTo>
                    <a:lnTo>
                      <a:pt x="134" y="426"/>
                    </a:lnTo>
                    <a:lnTo>
                      <a:pt x="132" y="428"/>
                    </a:lnTo>
                    <a:lnTo>
                      <a:pt x="132" y="428"/>
                    </a:lnTo>
                    <a:lnTo>
                      <a:pt x="132" y="428"/>
                    </a:lnTo>
                    <a:lnTo>
                      <a:pt x="130" y="428"/>
                    </a:lnTo>
                    <a:lnTo>
                      <a:pt x="130" y="428"/>
                    </a:lnTo>
                    <a:lnTo>
                      <a:pt x="130" y="430"/>
                    </a:lnTo>
                    <a:lnTo>
                      <a:pt x="128" y="432"/>
                    </a:lnTo>
                    <a:lnTo>
                      <a:pt x="128" y="432"/>
                    </a:lnTo>
                    <a:lnTo>
                      <a:pt x="128" y="432"/>
                    </a:lnTo>
                    <a:lnTo>
                      <a:pt x="128" y="434"/>
                    </a:lnTo>
                    <a:lnTo>
                      <a:pt x="128" y="434"/>
                    </a:lnTo>
                    <a:lnTo>
                      <a:pt x="128" y="434"/>
                    </a:lnTo>
                    <a:lnTo>
                      <a:pt x="128" y="436"/>
                    </a:lnTo>
                    <a:lnTo>
                      <a:pt x="128" y="436"/>
                    </a:lnTo>
                    <a:lnTo>
                      <a:pt x="130" y="438"/>
                    </a:lnTo>
                    <a:lnTo>
                      <a:pt x="130" y="440"/>
                    </a:lnTo>
                    <a:lnTo>
                      <a:pt x="132" y="442"/>
                    </a:lnTo>
                    <a:lnTo>
                      <a:pt x="134" y="446"/>
                    </a:lnTo>
                    <a:lnTo>
                      <a:pt x="138" y="448"/>
                    </a:lnTo>
                    <a:lnTo>
                      <a:pt x="138" y="450"/>
                    </a:lnTo>
                    <a:lnTo>
                      <a:pt x="140" y="452"/>
                    </a:lnTo>
                    <a:lnTo>
                      <a:pt x="140" y="452"/>
                    </a:lnTo>
                    <a:lnTo>
                      <a:pt x="140" y="452"/>
                    </a:lnTo>
                    <a:lnTo>
                      <a:pt x="140" y="454"/>
                    </a:lnTo>
                    <a:lnTo>
                      <a:pt x="142" y="454"/>
                    </a:lnTo>
                    <a:lnTo>
                      <a:pt x="142" y="454"/>
                    </a:lnTo>
                    <a:lnTo>
                      <a:pt x="142" y="456"/>
                    </a:lnTo>
                    <a:lnTo>
                      <a:pt x="142" y="456"/>
                    </a:lnTo>
                    <a:lnTo>
                      <a:pt x="142" y="456"/>
                    </a:lnTo>
                    <a:lnTo>
                      <a:pt x="142" y="458"/>
                    </a:lnTo>
                    <a:lnTo>
                      <a:pt x="142" y="458"/>
                    </a:lnTo>
                    <a:lnTo>
                      <a:pt x="142" y="460"/>
                    </a:lnTo>
                    <a:lnTo>
                      <a:pt x="142" y="460"/>
                    </a:lnTo>
                    <a:lnTo>
                      <a:pt x="142" y="460"/>
                    </a:lnTo>
                    <a:lnTo>
                      <a:pt x="142" y="464"/>
                    </a:lnTo>
                    <a:lnTo>
                      <a:pt x="144" y="466"/>
                    </a:lnTo>
                    <a:lnTo>
                      <a:pt x="146" y="472"/>
                    </a:lnTo>
                    <a:lnTo>
                      <a:pt x="148" y="476"/>
                    </a:lnTo>
                    <a:lnTo>
                      <a:pt x="148" y="478"/>
                    </a:lnTo>
                    <a:lnTo>
                      <a:pt x="150" y="482"/>
                    </a:lnTo>
                    <a:lnTo>
                      <a:pt x="150" y="484"/>
                    </a:lnTo>
                    <a:lnTo>
                      <a:pt x="148" y="486"/>
                    </a:lnTo>
                    <a:lnTo>
                      <a:pt x="146" y="490"/>
                    </a:lnTo>
                    <a:lnTo>
                      <a:pt x="144" y="492"/>
                    </a:lnTo>
                    <a:lnTo>
                      <a:pt x="144" y="492"/>
                    </a:lnTo>
                    <a:lnTo>
                      <a:pt x="144" y="492"/>
                    </a:lnTo>
                    <a:lnTo>
                      <a:pt x="144" y="494"/>
                    </a:lnTo>
                    <a:lnTo>
                      <a:pt x="144" y="494"/>
                    </a:lnTo>
                    <a:lnTo>
                      <a:pt x="144" y="496"/>
                    </a:lnTo>
                    <a:lnTo>
                      <a:pt x="144" y="498"/>
                    </a:lnTo>
                    <a:lnTo>
                      <a:pt x="144" y="502"/>
                    </a:lnTo>
                    <a:lnTo>
                      <a:pt x="144" y="504"/>
                    </a:lnTo>
                    <a:lnTo>
                      <a:pt x="144" y="508"/>
                    </a:lnTo>
                    <a:lnTo>
                      <a:pt x="144" y="508"/>
                    </a:lnTo>
                    <a:lnTo>
                      <a:pt x="144" y="510"/>
                    </a:lnTo>
                    <a:lnTo>
                      <a:pt x="148" y="514"/>
                    </a:lnTo>
                    <a:lnTo>
                      <a:pt x="148" y="516"/>
                    </a:lnTo>
                    <a:lnTo>
                      <a:pt x="150" y="520"/>
                    </a:lnTo>
                    <a:lnTo>
                      <a:pt x="150" y="524"/>
                    </a:lnTo>
                    <a:lnTo>
                      <a:pt x="152" y="532"/>
                    </a:lnTo>
                    <a:lnTo>
                      <a:pt x="154" y="542"/>
                    </a:lnTo>
                    <a:lnTo>
                      <a:pt x="154" y="544"/>
                    </a:lnTo>
                    <a:lnTo>
                      <a:pt x="154" y="544"/>
                    </a:lnTo>
                    <a:lnTo>
                      <a:pt x="154" y="546"/>
                    </a:lnTo>
                    <a:lnTo>
                      <a:pt x="156" y="546"/>
                    </a:lnTo>
                    <a:lnTo>
                      <a:pt x="156" y="550"/>
                    </a:lnTo>
                    <a:lnTo>
                      <a:pt x="158" y="552"/>
                    </a:lnTo>
                    <a:lnTo>
                      <a:pt x="158" y="554"/>
                    </a:lnTo>
                    <a:lnTo>
                      <a:pt x="158" y="556"/>
                    </a:lnTo>
                    <a:lnTo>
                      <a:pt x="158" y="560"/>
                    </a:lnTo>
                    <a:lnTo>
                      <a:pt x="158" y="564"/>
                    </a:lnTo>
                    <a:lnTo>
                      <a:pt x="158" y="570"/>
                    </a:lnTo>
                    <a:lnTo>
                      <a:pt x="156" y="576"/>
                    </a:lnTo>
                    <a:lnTo>
                      <a:pt x="156" y="584"/>
                    </a:lnTo>
                    <a:lnTo>
                      <a:pt x="154" y="592"/>
                    </a:lnTo>
                    <a:lnTo>
                      <a:pt x="154" y="598"/>
                    </a:lnTo>
                    <a:lnTo>
                      <a:pt x="154" y="606"/>
                    </a:lnTo>
                    <a:lnTo>
                      <a:pt x="154" y="612"/>
                    </a:lnTo>
                    <a:lnTo>
                      <a:pt x="154" y="612"/>
                    </a:lnTo>
                    <a:lnTo>
                      <a:pt x="154" y="612"/>
                    </a:lnTo>
                    <a:lnTo>
                      <a:pt x="156" y="616"/>
                    </a:lnTo>
                    <a:lnTo>
                      <a:pt x="158" y="622"/>
                    </a:lnTo>
                    <a:lnTo>
                      <a:pt x="164" y="628"/>
                    </a:lnTo>
                    <a:lnTo>
                      <a:pt x="166" y="632"/>
                    </a:lnTo>
                    <a:lnTo>
                      <a:pt x="168" y="636"/>
                    </a:lnTo>
                    <a:lnTo>
                      <a:pt x="170" y="640"/>
                    </a:lnTo>
                    <a:lnTo>
                      <a:pt x="172" y="644"/>
                    </a:lnTo>
                    <a:lnTo>
                      <a:pt x="170" y="648"/>
                    </a:lnTo>
                    <a:lnTo>
                      <a:pt x="170" y="648"/>
                    </a:lnTo>
                    <a:lnTo>
                      <a:pt x="170" y="650"/>
                    </a:lnTo>
                    <a:lnTo>
                      <a:pt x="170" y="656"/>
                    </a:lnTo>
                    <a:lnTo>
                      <a:pt x="168" y="662"/>
                    </a:lnTo>
                    <a:lnTo>
                      <a:pt x="168" y="666"/>
                    </a:lnTo>
                    <a:lnTo>
                      <a:pt x="168" y="668"/>
                    </a:lnTo>
                    <a:lnTo>
                      <a:pt x="166" y="668"/>
                    </a:lnTo>
                    <a:lnTo>
                      <a:pt x="166" y="668"/>
                    </a:lnTo>
                    <a:lnTo>
                      <a:pt x="164" y="668"/>
                    </a:lnTo>
                    <a:lnTo>
                      <a:pt x="160" y="670"/>
                    </a:lnTo>
                    <a:lnTo>
                      <a:pt x="160" y="670"/>
                    </a:lnTo>
                    <a:lnTo>
                      <a:pt x="160" y="670"/>
                    </a:lnTo>
                    <a:lnTo>
                      <a:pt x="160" y="670"/>
                    </a:lnTo>
                    <a:lnTo>
                      <a:pt x="160" y="670"/>
                    </a:lnTo>
                    <a:lnTo>
                      <a:pt x="158" y="670"/>
                    </a:lnTo>
                    <a:lnTo>
                      <a:pt x="158" y="672"/>
                    </a:lnTo>
                    <a:lnTo>
                      <a:pt x="158" y="672"/>
                    </a:lnTo>
                    <a:lnTo>
                      <a:pt x="156" y="672"/>
                    </a:lnTo>
                    <a:lnTo>
                      <a:pt x="156" y="674"/>
                    </a:lnTo>
                    <a:lnTo>
                      <a:pt x="156" y="674"/>
                    </a:lnTo>
                    <a:lnTo>
                      <a:pt x="156" y="674"/>
                    </a:lnTo>
                    <a:lnTo>
                      <a:pt x="156" y="676"/>
                    </a:lnTo>
                    <a:lnTo>
                      <a:pt x="156" y="680"/>
                    </a:lnTo>
                    <a:lnTo>
                      <a:pt x="156" y="684"/>
                    </a:lnTo>
                    <a:lnTo>
                      <a:pt x="154" y="686"/>
                    </a:lnTo>
                    <a:lnTo>
                      <a:pt x="154" y="686"/>
                    </a:lnTo>
                    <a:lnTo>
                      <a:pt x="150" y="688"/>
                    </a:lnTo>
                    <a:lnTo>
                      <a:pt x="146" y="692"/>
                    </a:lnTo>
                    <a:lnTo>
                      <a:pt x="144" y="696"/>
                    </a:lnTo>
                    <a:lnTo>
                      <a:pt x="144" y="696"/>
                    </a:lnTo>
                    <a:lnTo>
                      <a:pt x="144" y="698"/>
                    </a:lnTo>
                    <a:lnTo>
                      <a:pt x="142" y="700"/>
                    </a:lnTo>
                    <a:lnTo>
                      <a:pt x="140" y="702"/>
                    </a:lnTo>
                    <a:lnTo>
                      <a:pt x="138" y="704"/>
                    </a:lnTo>
                    <a:lnTo>
                      <a:pt x="136" y="706"/>
                    </a:lnTo>
                    <a:lnTo>
                      <a:pt x="134" y="708"/>
                    </a:lnTo>
                    <a:lnTo>
                      <a:pt x="134" y="710"/>
                    </a:lnTo>
                    <a:lnTo>
                      <a:pt x="134" y="710"/>
                    </a:lnTo>
                    <a:lnTo>
                      <a:pt x="134" y="710"/>
                    </a:lnTo>
                    <a:lnTo>
                      <a:pt x="132" y="712"/>
                    </a:lnTo>
                    <a:lnTo>
                      <a:pt x="132" y="712"/>
                    </a:lnTo>
                    <a:lnTo>
                      <a:pt x="132" y="712"/>
                    </a:lnTo>
                    <a:lnTo>
                      <a:pt x="132" y="714"/>
                    </a:lnTo>
                    <a:lnTo>
                      <a:pt x="132" y="714"/>
                    </a:lnTo>
                    <a:lnTo>
                      <a:pt x="132" y="716"/>
                    </a:lnTo>
                    <a:lnTo>
                      <a:pt x="134" y="718"/>
                    </a:lnTo>
                    <a:lnTo>
                      <a:pt x="134" y="718"/>
                    </a:lnTo>
                    <a:lnTo>
                      <a:pt x="134" y="718"/>
                    </a:lnTo>
                    <a:lnTo>
                      <a:pt x="136" y="722"/>
                    </a:lnTo>
                    <a:lnTo>
                      <a:pt x="138" y="724"/>
                    </a:lnTo>
                    <a:lnTo>
                      <a:pt x="140" y="728"/>
                    </a:lnTo>
                    <a:lnTo>
                      <a:pt x="140" y="728"/>
                    </a:lnTo>
                    <a:lnTo>
                      <a:pt x="142" y="728"/>
                    </a:lnTo>
                    <a:lnTo>
                      <a:pt x="144" y="732"/>
                    </a:lnTo>
                    <a:lnTo>
                      <a:pt x="146" y="734"/>
                    </a:lnTo>
                    <a:lnTo>
                      <a:pt x="148" y="736"/>
                    </a:lnTo>
                    <a:lnTo>
                      <a:pt x="150" y="738"/>
                    </a:lnTo>
                    <a:lnTo>
                      <a:pt x="146" y="738"/>
                    </a:lnTo>
                    <a:lnTo>
                      <a:pt x="142" y="738"/>
                    </a:lnTo>
                    <a:lnTo>
                      <a:pt x="140" y="740"/>
                    </a:lnTo>
                    <a:lnTo>
                      <a:pt x="140" y="740"/>
                    </a:lnTo>
                    <a:lnTo>
                      <a:pt x="140" y="740"/>
                    </a:lnTo>
                    <a:lnTo>
                      <a:pt x="138" y="740"/>
                    </a:lnTo>
                    <a:lnTo>
                      <a:pt x="138" y="740"/>
                    </a:lnTo>
                    <a:lnTo>
                      <a:pt x="136" y="740"/>
                    </a:lnTo>
                    <a:lnTo>
                      <a:pt x="134" y="742"/>
                    </a:lnTo>
                    <a:lnTo>
                      <a:pt x="134" y="742"/>
                    </a:lnTo>
                    <a:lnTo>
                      <a:pt x="134" y="742"/>
                    </a:lnTo>
                    <a:lnTo>
                      <a:pt x="132" y="744"/>
                    </a:lnTo>
                    <a:lnTo>
                      <a:pt x="132" y="744"/>
                    </a:lnTo>
                    <a:lnTo>
                      <a:pt x="132" y="746"/>
                    </a:lnTo>
                    <a:lnTo>
                      <a:pt x="132" y="748"/>
                    </a:lnTo>
                    <a:lnTo>
                      <a:pt x="130" y="748"/>
                    </a:lnTo>
                    <a:lnTo>
                      <a:pt x="130" y="748"/>
                    </a:lnTo>
                    <a:lnTo>
                      <a:pt x="130" y="750"/>
                    </a:lnTo>
                    <a:lnTo>
                      <a:pt x="130" y="750"/>
                    </a:lnTo>
                    <a:lnTo>
                      <a:pt x="130" y="750"/>
                    </a:lnTo>
                    <a:lnTo>
                      <a:pt x="130" y="752"/>
                    </a:lnTo>
                    <a:lnTo>
                      <a:pt x="128" y="756"/>
                    </a:lnTo>
                    <a:lnTo>
                      <a:pt x="128" y="756"/>
                    </a:lnTo>
                    <a:lnTo>
                      <a:pt x="128" y="756"/>
                    </a:lnTo>
                    <a:lnTo>
                      <a:pt x="128" y="760"/>
                    </a:lnTo>
                    <a:lnTo>
                      <a:pt x="128" y="762"/>
                    </a:lnTo>
                    <a:lnTo>
                      <a:pt x="128" y="766"/>
                    </a:lnTo>
                    <a:lnTo>
                      <a:pt x="126" y="768"/>
                    </a:lnTo>
                    <a:lnTo>
                      <a:pt x="126" y="772"/>
                    </a:lnTo>
                    <a:lnTo>
                      <a:pt x="126" y="772"/>
                    </a:lnTo>
                    <a:lnTo>
                      <a:pt x="126" y="772"/>
                    </a:lnTo>
                    <a:lnTo>
                      <a:pt x="124" y="774"/>
                    </a:lnTo>
                    <a:lnTo>
                      <a:pt x="124" y="774"/>
                    </a:lnTo>
                    <a:lnTo>
                      <a:pt x="124" y="776"/>
                    </a:lnTo>
                    <a:lnTo>
                      <a:pt x="124" y="778"/>
                    </a:lnTo>
                    <a:lnTo>
                      <a:pt x="124" y="778"/>
                    </a:lnTo>
                    <a:lnTo>
                      <a:pt x="124" y="778"/>
                    </a:lnTo>
                    <a:lnTo>
                      <a:pt x="124" y="780"/>
                    </a:lnTo>
                    <a:lnTo>
                      <a:pt x="124" y="782"/>
                    </a:lnTo>
                    <a:lnTo>
                      <a:pt x="122" y="784"/>
                    </a:lnTo>
                    <a:lnTo>
                      <a:pt x="122" y="788"/>
                    </a:lnTo>
                    <a:lnTo>
                      <a:pt x="122" y="790"/>
                    </a:lnTo>
                    <a:lnTo>
                      <a:pt x="122" y="792"/>
                    </a:lnTo>
                    <a:lnTo>
                      <a:pt x="122" y="792"/>
                    </a:lnTo>
                    <a:lnTo>
                      <a:pt x="122" y="792"/>
                    </a:lnTo>
                    <a:lnTo>
                      <a:pt x="124" y="794"/>
                    </a:lnTo>
                    <a:lnTo>
                      <a:pt x="124" y="794"/>
                    </a:lnTo>
                    <a:lnTo>
                      <a:pt x="124" y="794"/>
                    </a:lnTo>
                    <a:lnTo>
                      <a:pt x="124" y="796"/>
                    </a:lnTo>
                    <a:lnTo>
                      <a:pt x="124" y="796"/>
                    </a:lnTo>
                    <a:lnTo>
                      <a:pt x="126" y="796"/>
                    </a:lnTo>
                    <a:lnTo>
                      <a:pt x="126" y="796"/>
                    </a:lnTo>
                    <a:lnTo>
                      <a:pt x="126" y="796"/>
                    </a:lnTo>
                    <a:lnTo>
                      <a:pt x="126" y="796"/>
                    </a:lnTo>
                    <a:lnTo>
                      <a:pt x="128" y="796"/>
                    </a:lnTo>
                    <a:lnTo>
                      <a:pt x="128" y="796"/>
                    </a:lnTo>
                    <a:lnTo>
                      <a:pt x="128" y="796"/>
                    </a:lnTo>
                    <a:lnTo>
                      <a:pt x="128" y="798"/>
                    </a:lnTo>
                    <a:lnTo>
                      <a:pt x="130" y="800"/>
                    </a:lnTo>
                    <a:lnTo>
                      <a:pt x="130" y="800"/>
                    </a:lnTo>
                    <a:lnTo>
                      <a:pt x="130" y="800"/>
                    </a:lnTo>
                    <a:lnTo>
                      <a:pt x="132" y="802"/>
                    </a:lnTo>
                    <a:lnTo>
                      <a:pt x="134" y="802"/>
                    </a:lnTo>
                    <a:lnTo>
                      <a:pt x="134" y="804"/>
                    </a:lnTo>
                    <a:lnTo>
                      <a:pt x="134" y="804"/>
                    </a:lnTo>
                    <a:lnTo>
                      <a:pt x="132" y="806"/>
                    </a:lnTo>
                    <a:lnTo>
                      <a:pt x="132" y="808"/>
                    </a:lnTo>
                    <a:lnTo>
                      <a:pt x="132" y="810"/>
                    </a:lnTo>
                    <a:lnTo>
                      <a:pt x="130" y="814"/>
                    </a:lnTo>
                    <a:lnTo>
                      <a:pt x="130" y="818"/>
                    </a:lnTo>
                    <a:lnTo>
                      <a:pt x="128" y="822"/>
                    </a:lnTo>
                    <a:lnTo>
                      <a:pt x="128" y="826"/>
                    </a:lnTo>
                    <a:lnTo>
                      <a:pt x="128" y="828"/>
                    </a:lnTo>
                    <a:lnTo>
                      <a:pt x="128" y="828"/>
                    </a:lnTo>
                    <a:lnTo>
                      <a:pt x="128" y="830"/>
                    </a:lnTo>
                    <a:lnTo>
                      <a:pt x="128" y="832"/>
                    </a:lnTo>
                    <a:lnTo>
                      <a:pt x="128" y="832"/>
                    </a:lnTo>
                    <a:lnTo>
                      <a:pt x="128" y="832"/>
                    </a:lnTo>
                    <a:lnTo>
                      <a:pt x="130" y="834"/>
                    </a:lnTo>
                    <a:lnTo>
                      <a:pt x="130" y="834"/>
                    </a:lnTo>
                    <a:lnTo>
                      <a:pt x="130" y="836"/>
                    </a:lnTo>
                    <a:lnTo>
                      <a:pt x="132" y="838"/>
                    </a:lnTo>
                    <a:lnTo>
                      <a:pt x="132" y="838"/>
                    </a:lnTo>
                    <a:lnTo>
                      <a:pt x="132" y="838"/>
                    </a:lnTo>
                    <a:lnTo>
                      <a:pt x="136" y="840"/>
                    </a:lnTo>
                    <a:lnTo>
                      <a:pt x="140" y="844"/>
                    </a:lnTo>
                    <a:lnTo>
                      <a:pt x="144" y="846"/>
                    </a:lnTo>
                    <a:lnTo>
                      <a:pt x="148" y="848"/>
                    </a:lnTo>
                    <a:lnTo>
                      <a:pt x="152" y="852"/>
                    </a:lnTo>
                    <a:lnTo>
                      <a:pt x="154" y="856"/>
                    </a:lnTo>
                    <a:lnTo>
                      <a:pt x="158" y="858"/>
                    </a:lnTo>
                    <a:lnTo>
                      <a:pt x="160" y="860"/>
                    </a:lnTo>
                    <a:lnTo>
                      <a:pt x="160" y="860"/>
                    </a:lnTo>
                    <a:lnTo>
                      <a:pt x="162" y="862"/>
                    </a:lnTo>
                    <a:lnTo>
                      <a:pt x="162" y="862"/>
                    </a:lnTo>
                    <a:lnTo>
                      <a:pt x="164" y="864"/>
                    </a:lnTo>
                    <a:lnTo>
                      <a:pt x="164" y="866"/>
                    </a:lnTo>
                    <a:lnTo>
                      <a:pt x="164" y="868"/>
                    </a:lnTo>
                    <a:lnTo>
                      <a:pt x="166" y="872"/>
                    </a:lnTo>
                    <a:lnTo>
                      <a:pt x="168" y="878"/>
                    </a:lnTo>
                    <a:lnTo>
                      <a:pt x="170" y="882"/>
                    </a:lnTo>
                    <a:lnTo>
                      <a:pt x="172" y="886"/>
                    </a:lnTo>
                    <a:lnTo>
                      <a:pt x="172" y="890"/>
                    </a:lnTo>
                    <a:lnTo>
                      <a:pt x="172" y="892"/>
                    </a:lnTo>
                    <a:lnTo>
                      <a:pt x="172" y="898"/>
                    </a:lnTo>
                    <a:lnTo>
                      <a:pt x="172" y="902"/>
                    </a:lnTo>
                    <a:lnTo>
                      <a:pt x="172" y="906"/>
                    </a:lnTo>
                    <a:lnTo>
                      <a:pt x="172" y="906"/>
                    </a:lnTo>
                    <a:lnTo>
                      <a:pt x="172" y="906"/>
                    </a:lnTo>
                    <a:lnTo>
                      <a:pt x="172" y="908"/>
                    </a:lnTo>
                    <a:lnTo>
                      <a:pt x="172" y="910"/>
                    </a:lnTo>
                    <a:lnTo>
                      <a:pt x="172" y="912"/>
                    </a:lnTo>
                    <a:lnTo>
                      <a:pt x="174" y="916"/>
                    </a:lnTo>
                    <a:lnTo>
                      <a:pt x="174" y="918"/>
                    </a:lnTo>
                    <a:lnTo>
                      <a:pt x="174" y="920"/>
                    </a:lnTo>
                    <a:lnTo>
                      <a:pt x="174" y="922"/>
                    </a:lnTo>
                    <a:lnTo>
                      <a:pt x="174" y="922"/>
                    </a:lnTo>
                    <a:lnTo>
                      <a:pt x="174" y="924"/>
                    </a:lnTo>
                    <a:lnTo>
                      <a:pt x="172" y="926"/>
                    </a:lnTo>
                    <a:lnTo>
                      <a:pt x="170" y="928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70" y="930"/>
                    </a:lnTo>
                    <a:lnTo>
                      <a:pt x="168" y="932"/>
                    </a:lnTo>
                    <a:lnTo>
                      <a:pt x="168" y="932"/>
                    </a:lnTo>
                    <a:lnTo>
                      <a:pt x="168" y="934"/>
                    </a:lnTo>
                    <a:lnTo>
                      <a:pt x="168" y="936"/>
                    </a:lnTo>
                    <a:lnTo>
                      <a:pt x="168" y="936"/>
                    </a:lnTo>
                    <a:lnTo>
                      <a:pt x="170" y="936"/>
                    </a:lnTo>
                    <a:lnTo>
                      <a:pt x="170" y="938"/>
                    </a:lnTo>
                    <a:lnTo>
                      <a:pt x="170" y="938"/>
                    </a:lnTo>
                    <a:lnTo>
                      <a:pt x="170" y="938"/>
                    </a:lnTo>
                    <a:lnTo>
                      <a:pt x="172" y="940"/>
                    </a:lnTo>
                    <a:lnTo>
                      <a:pt x="172" y="940"/>
                    </a:lnTo>
                    <a:lnTo>
                      <a:pt x="172" y="940"/>
                    </a:lnTo>
                    <a:lnTo>
                      <a:pt x="174" y="940"/>
                    </a:lnTo>
                    <a:lnTo>
                      <a:pt x="176" y="942"/>
                    </a:lnTo>
                    <a:lnTo>
                      <a:pt x="178" y="942"/>
                    </a:lnTo>
                    <a:lnTo>
                      <a:pt x="182" y="942"/>
                    </a:lnTo>
                    <a:lnTo>
                      <a:pt x="188" y="942"/>
                    </a:lnTo>
                    <a:lnTo>
                      <a:pt x="194" y="942"/>
                    </a:lnTo>
                    <a:lnTo>
                      <a:pt x="200" y="942"/>
                    </a:lnTo>
                    <a:lnTo>
                      <a:pt x="206" y="942"/>
                    </a:lnTo>
                    <a:lnTo>
                      <a:pt x="210" y="942"/>
                    </a:lnTo>
                    <a:lnTo>
                      <a:pt x="212" y="942"/>
                    </a:lnTo>
                    <a:lnTo>
                      <a:pt x="214" y="942"/>
                    </a:lnTo>
                    <a:lnTo>
                      <a:pt x="216" y="942"/>
                    </a:lnTo>
                    <a:lnTo>
                      <a:pt x="216" y="944"/>
                    </a:lnTo>
                    <a:lnTo>
                      <a:pt x="218" y="946"/>
                    </a:lnTo>
                    <a:lnTo>
                      <a:pt x="218" y="946"/>
                    </a:lnTo>
                    <a:lnTo>
                      <a:pt x="218" y="952"/>
                    </a:lnTo>
                    <a:lnTo>
                      <a:pt x="218" y="954"/>
                    </a:lnTo>
                    <a:lnTo>
                      <a:pt x="218" y="954"/>
                    </a:lnTo>
                    <a:lnTo>
                      <a:pt x="220" y="954"/>
                    </a:lnTo>
                    <a:lnTo>
                      <a:pt x="220" y="956"/>
                    </a:lnTo>
                    <a:lnTo>
                      <a:pt x="220" y="956"/>
                    </a:lnTo>
                    <a:lnTo>
                      <a:pt x="220" y="956"/>
                    </a:lnTo>
                    <a:lnTo>
                      <a:pt x="222" y="958"/>
                    </a:lnTo>
                    <a:lnTo>
                      <a:pt x="222" y="958"/>
                    </a:lnTo>
                    <a:lnTo>
                      <a:pt x="222" y="958"/>
                    </a:lnTo>
                    <a:lnTo>
                      <a:pt x="224" y="960"/>
                    </a:lnTo>
                    <a:lnTo>
                      <a:pt x="224" y="960"/>
                    </a:lnTo>
                    <a:lnTo>
                      <a:pt x="224" y="960"/>
                    </a:lnTo>
                    <a:lnTo>
                      <a:pt x="228" y="962"/>
                    </a:lnTo>
                    <a:lnTo>
                      <a:pt x="232" y="964"/>
                    </a:lnTo>
                    <a:lnTo>
                      <a:pt x="232" y="964"/>
                    </a:lnTo>
                    <a:lnTo>
                      <a:pt x="234" y="966"/>
                    </a:lnTo>
                    <a:lnTo>
                      <a:pt x="234" y="966"/>
                    </a:lnTo>
                    <a:lnTo>
                      <a:pt x="234" y="966"/>
                    </a:lnTo>
                    <a:lnTo>
                      <a:pt x="238" y="970"/>
                    </a:lnTo>
                    <a:lnTo>
                      <a:pt x="242" y="974"/>
                    </a:lnTo>
                    <a:lnTo>
                      <a:pt x="248" y="978"/>
                    </a:lnTo>
                    <a:lnTo>
                      <a:pt x="252" y="980"/>
                    </a:lnTo>
                    <a:lnTo>
                      <a:pt x="252" y="980"/>
                    </a:lnTo>
                    <a:lnTo>
                      <a:pt x="252" y="982"/>
                    </a:lnTo>
                    <a:lnTo>
                      <a:pt x="254" y="982"/>
                    </a:lnTo>
                    <a:lnTo>
                      <a:pt x="254" y="982"/>
                    </a:lnTo>
                    <a:lnTo>
                      <a:pt x="256" y="982"/>
                    </a:lnTo>
                    <a:lnTo>
                      <a:pt x="260" y="982"/>
                    </a:lnTo>
                    <a:lnTo>
                      <a:pt x="266" y="984"/>
                    </a:lnTo>
                    <a:lnTo>
                      <a:pt x="268" y="986"/>
                    </a:lnTo>
                    <a:lnTo>
                      <a:pt x="270" y="986"/>
                    </a:lnTo>
                    <a:lnTo>
                      <a:pt x="272" y="988"/>
                    </a:lnTo>
                    <a:lnTo>
                      <a:pt x="272" y="988"/>
                    </a:lnTo>
                    <a:lnTo>
                      <a:pt x="274" y="988"/>
                    </a:lnTo>
                    <a:lnTo>
                      <a:pt x="274" y="990"/>
                    </a:lnTo>
                    <a:lnTo>
                      <a:pt x="274" y="990"/>
                    </a:lnTo>
                    <a:lnTo>
                      <a:pt x="276" y="990"/>
                    </a:lnTo>
                    <a:lnTo>
                      <a:pt x="278" y="990"/>
                    </a:lnTo>
                    <a:lnTo>
                      <a:pt x="278" y="990"/>
                    </a:lnTo>
                    <a:lnTo>
                      <a:pt x="278" y="990"/>
                    </a:lnTo>
                    <a:lnTo>
                      <a:pt x="280" y="990"/>
                    </a:lnTo>
                    <a:lnTo>
                      <a:pt x="280" y="988"/>
                    </a:lnTo>
                    <a:lnTo>
                      <a:pt x="282" y="988"/>
                    </a:lnTo>
                    <a:lnTo>
                      <a:pt x="284" y="988"/>
                    </a:lnTo>
                    <a:lnTo>
                      <a:pt x="286" y="988"/>
                    </a:lnTo>
                    <a:lnTo>
                      <a:pt x="288" y="988"/>
                    </a:lnTo>
                    <a:lnTo>
                      <a:pt x="290" y="990"/>
                    </a:lnTo>
                    <a:lnTo>
                      <a:pt x="296" y="992"/>
                    </a:lnTo>
                    <a:lnTo>
                      <a:pt x="300" y="994"/>
                    </a:lnTo>
                    <a:lnTo>
                      <a:pt x="304" y="996"/>
                    </a:lnTo>
                    <a:lnTo>
                      <a:pt x="306" y="998"/>
                    </a:lnTo>
                    <a:lnTo>
                      <a:pt x="306" y="998"/>
                    </a:lnTo>
                    <a:lnTo>
                      <a:pt x="308" y="1000"/>
                    </a:lnTo>
                    <a:lnTo>
                      <a:pt x="308" y="1004"/>
                    </a:lnTo>
                    <a:lnTo>
                      <a:pt x="308" y="1004"/>
                    </a:lnTo>
                    <a:lnTo>
                      <a:pt x="310" y="1006"/>
                    </a:lnTo>
                    <a:lnTo>
                      <a:pt x="308" y="1008"/>
                    </a:lnTo>
                    <a:lnTo>
                      <a:pt x="308" y="1010"/>
                    </a:lnTo>
                    <a:lnTo>
                      <a:pt x="308" y="1014"/>
                    </a:lnTo>
                    <a:lnTo>
                      <a:pt x="306" y="1018"/>
                    </a:lnTo>
                    <a:lnTo>
                      <a:pt x="304" y="1024"/>
                    </a:lnTo>
                    <a:lnTo>
                      <a:pt x="302" y="1028"/>
                    </a:lnTo>
                    <a:lnTo>
                      <a:pt x="302" y="1030"/>
                    </a:lnTo>
                    <a:lnTo>
                      <a:pt x="298" y="1036"/>
                    </a:lnTo>
                    <a:lnTo>
                      <a:pt x="298" y="1036"/>
                    </a:lnTo>
                    <a:lnTo>
                      <a:pt x="296" y="1040"/>
                    </a:lnTo>
                    <a:lnTo>
                      <a:pt x="292" y="1042"/>
                    </a:lnTo>
                    <a:lnTo>
                      <a:pt x="290" y="1044"/>
                    </a:lnTo>
                    <a:lnTo>
                      <a:pt x="290" y="1044"/>
                    </a:lnTo>
                    <a:lnTo>
                      <a:pt x="288" y="1044"/>
                    </a:lnTo>
                    <a:lnTo>
                      <a:pt x="288" y="1044"/>
                    </a:lnTo>
                    <a:lnTo>
                      <a:pt x="286" y="1044"/>
                    </a:lnTo>
                    <a:lnTo>
                      <a:pt x="284" y="1042"/>
                    </a:lnTo>
                    <a:lnTo>
                      <a:pt x="284" y="1042"/>
                    </a:lnTo>
                    <a:lnTo>
                      <a:pt x="284" y="1042"/>
                    </a:lnTo>
                    <a:lnTo>
                      <a:pt x="282" y="1042"/>
                    </a:lnTo>
                    <a:lnTo>
                      <a:pt x="282" y="1042"/>
                    </a:lnTo>
                    <a:lnTo>
                      <a:pt x="280" y="1044"/>
                    </a:lnTo>
                    <a:lnTo>
                      <a:pt x="280" y="1044"/>
                    </a:lnTo>
                    <a:lnTo>
                      <a:pt x="280" y="1044"/>
                    </a:lnTo>
                    <a:lnTo>
                      <a:pt x="278" y="1046"/>
                    </a:lnTo>
                    <a:lnTo>
                      <a:pt x="278" y="1046"/>
                    </a:lnTo>
                    <a:lnTo>
                      <a:pt x="278" y="1046"/>
                    </a:lnTo>
                    <a:lnTo>
                      <a:pt x="278" y="1048"/>
                    </a:lnTo>
                    <a:lnTo>
                      <a:pt x="280" y="1050"/>
                    </a:lnTo>
                    <a:lnTo>
                      <a:pt x="284" y="1052"/>
                    </a:lnTo>
                    <a:lnTo>
                      <a:pt x="286" y="1052"/>
                    </a:lnTo>
                    <a:lnTo>
                      <a:pt x="286" y="1054"/>
                    </a:lnTo>
                    <a:lnTo>
                      <a:pt x="288" y="1056"/>
                    </a:lnTo>
                    <a:lnTo>
                      <a:pt x="288" y="1058"/>
                    </a:lnTo>
                    <a:lnTo>
                      <a:pt x="288" y="1058"/>
                    </a:lnTo>
                    <a:lnTo>
                      <a:pt x="288" y="1062"/>
                    </a:lnTo>
                    <a:lnTo>
                      <a:pt x="288" y="1064"/>
                    </a:lnTo>
                    <a:lnTo>
                      <a:pt x="288" y="1066"/>
                    </a:lnTo>
                    <a:lnTo>
                      <a:pt x="288" y="1066"/>
                    </a:lnTo>
                    <a:lnTo>
                      <a:pt x="286" y="1066"/>
                    </a:lnTo>
                    <a:lnTo>
                      <a:pt x="282" y="1066"/>
                    </a:lnTo>
                    <a:lnTo>
                      <a:pt x="282" y="1066"/>
                    </a:lnTo>
                    <a:lnTo>
                      <a:pt x="282" y="1066"/>
                    </a:lnTo>
                    <a:lnTo>
                      <a:pt x="280" y="1068"/>
                    </a:lnTo>
                    <a:lnTo>
                      <a:pt x="280" y="1068"/>
                    </a:lnTo>
                    <a:lnTo>
                      <a:pt x="280" y="1068"/>
                    </a:lnTo>
                    <a:lnTo>
                      <a:pt x="280" y="1070"/>
                    </a:lnTo>
                    <a:lnTo>
                      <a:pt x="280" y="1070"/>
                    </a:lnTo>
                    <a:lnTo>
                      <a:pt x="278" y="1070"/>
                    </a:lnTo>
                    <a:lnTo>
                      <a:pt x="278" y="1072"/>
                    </a:lnTo>
                    <a:lnTo>
                      <a:pt x="278" y="1078"/>
                    </a:lnTo>
                    <a:lnTo>
                      <a:pt x="278" y="1080"/>
                    </a:lnTo>
                    <a:lnTo>
                      <a:pt x="278" y="1082"/>
                    </a:lnTo>
                    <a:lnTo>
                      <a:pt x="278" y="1086"/>
                    </a:lnTo>
                    <a:lnTo>
                      <a:pt x="276" y="1090"/>
                    </a:lnTo>
                    <a:lnTo>
                      <a:pt x="276" y="1092"/>
                    </a:lnTo>
                    <a:lnTo>
                      <a:pt x="276" y="1092"/>
                    </a:lnTo>
                    <a:lnTo>
                      <a:pt x="276" y="1092"/>
                    </a:lnTo>
                    <a:lnTo>
                      <a:pt x="274" y="1092"/>
                    </a:lnTo>
                    <a:lnTo>
                      <a:pt x="272" y="1092"/>
                    </a:lnTo>
                    <a:lnTo>
                      <a:pt x="272" y="1092"/>
                    </a:lnTo>
                    <a:lnTo>
                      <a:pt x="272" y="1092"/>
                    </a:lnTo>
                    <a:lnTo>
                      <a:pt x="270" y="1094"/>
                    </a:lnTo>
                    <a:lnTo>
                      <a:pt x="270" y="1094"/>
                    </a:lnTo>
                    <a:lnTo>
                      <a:pt x="270" y="1094"/>
                    </a:lnTo>
                    <a:lnTo>
                      <a:pt x="268" y="1096"/>
                    </a:lnTo>
                    <a:lnTo>
                      <a:pt x="268" y="1096"/>
                    </a:lnTo>
                    <a:lnTo>
                      <a:pt x="268" y="1096"/>
                    </a:lnTo>
                    <a:lnTo>
                      <a:pt x="266" y="1098"/>
                    </a:lnTo>
                    <a:lnTo>
                      <a:pt x="266" y="1100"/>
                    </a:lnTo>
                    <a:lnTo>
                      <a:pt x="266" y="1102"/>
                    </a:lnTo>
                    <a:lnTo>
                      <a:pt x="266" y="1102"/>
                    </a:lnTo>
                    <a:lnTo>
                      <a:pt x="266" y="1104"/>
                    </a:lnTo>
                    <a:lnTo>
                      <a:pt x="266" y="1104"/>
                    </a:lnTo>
                    <a:lnTo>
                      <a:pt x="274" y="1108"/>
                    </a:lnTo>
                    <a:lnTo>
                      <a:pt x="280" y="1112"/>
                    </a:lnTo>
                    <a:lnTo>
                      <a:pt x="284" y="1116"/>
                    </a:lnTo>
                    <a:lnTo>
                      <a:pt x="286" y="1118"/>
                    </a:lnTo>
                    <a:lnTo>
                      <a:pt x="288" y="1120"/>
                    </a:lnTo>
                    <a:lnTo>
                      <a:pt x="292" y="1124"/>
                    </a:lnTo>
                    <a:lnTo>
                      <a:pt x="292" y="1124"/>
                    </a:lnTo>
                    <a:lnTo>
                      <a:pt x="294" y="1124"/>
                    </a:lnTo>
                    <a:lnTo>
                      <a:pt x="296" y="1126"/>
                    </a:lnTo>
                    <a:lnTo>
                      <a:pt x="298" y="1126"/>
                    </a:lnTo>
                    <a:lnTo>
                      <a:pt x="302" y="1128"/>
                    </a:lnTo>
                    <a:lnTo>
                      <a:pt x="306" y="1132"/>
                    </a:lnTo>
                    <a:lnTo>
                      <a:pt x="310" y="1134"/>
                    </a:lnTo>
                    <a:lnTo>
                      <a:pt x="310" y="1134"/>
                    </a:lnTo>
                    <a:lnTo>
                      <a:pt x="312" y="1134"/>
                    </a:lnTo>
                    <a:lnTo>
                      <a:pt x="318" y="1136"/>
                    </a:lnTo>
                    <a:lnTo>
                      <a:pt x="324" y="1138"/>
                    </a:lnTo>
                    <a:lnTo>
                      <a:pt x="330" y="1140"/>
                    </a:lnTo>
                    <a:lnTo>
                      <a:pt x="332" y="1140"/>
                    </a:lnTo>
                    <a:lnTo>
                      <a:pt x="334" y="1142"/>
                    </a:lnTo>
                    <a:lnTo>
                      <a:pt x="334" y="1142"/>
                    </a:lnTo>
                    <a:lnTo>
                      <a:pt x="336" y="1144"/>
                    </a:lnTo>
                    <a:lnTo>
                      <a:pt x="336" y="1144"/>
                    </a:lnTo>
                    <a:lnTo>
                      <a:pt x="338" y="1144"/>
                    </a:lnTo>
                    <a:lnTo>
                      <a:pt x="340" y="1144"/>
                    </a:lnTo>
                    <a:lnTo>
                      <a:pt x="342" y="1144"/>
                    </a:lnTo>
                    <a:lnTo>
                      <a:pt x="348" y="1146"/>
                    </a:lnTo>
                    <a:lnTo>
                      <a:pt x="350" y="1146"/>
                    </a:lnTo>
                    <a:lnTo>
                      <a:pt x="354" y="1146"/>
                    </a:lnTo>
                    <a:lnTo>
                      <a:pt x="360" y="1146"/>
                    </a:lnTo>
                    <a:lnTo>
                      <a:pt x="364" y="1148"/>
                    </a:lnTo>
                    <a:lnTo>
                      <a:pt x="370" y="1150"/>
                    </a:lnTo>
                    <a:lnTo>
                      <a:pt x="370" y="1150"/>
                    </a:lnTo>
                    <a:lnTo>
                      <a:pt x="374" y="1152"/>
                    </a:lnTo>
                    <a:lnTo>
                      <a:pt x="374" y="1152"/>
                    </a:lnTo>
                    <a:lnTo>
                      <a:pt x="376" y="1152"/>
                    </a:lnTo>
                    <a:lnTo>
                      <a:pt x="380" y="1152"/>
                    </a:lnTo>
                    <a:lnTo>
                      <a:pt x="382" y="1152"/>
                    </a:lnTo>
                    <a:lnTo>
                      <a:pt x="388" y="1154"/>
                    </a:lnTo>
                    <a:lnTo>
                      <a:pt x="390" y="1154"/>
                    </a:lnTo>
                    <a:lnTo>
                      <a:pt x="392" y="1154"/>
                    </a:lnTo>
                    <a:lnTo>
                      <a:pt x="394" y="1156"/>
                    </a:lnTo>
                    <a:lnTo>
                      <a:pt x="396" y="1158"/>
                    </a:lnTo>
                    <a:lnTo>
                      <a:pt x="396" y="1158"/>
                    </a:lnTo>
                    <a:lnTo>
                      <a:pt x="396" y="1158"/>
                    </a:lnTo>
                    <a:lnTo>
                      <a:pt x="398" y="1158"/>
                    </a:lnTo>
                    <a:lnTo>
                      <a:pt x="400" y="1160"/>
                    </a:lnTo>
                    <a:lnTo>
                      <a:pt x="400" y="1160"/>
                    </a:lnTo>
                    <a:lnTo>
                      <a:pt x="400" y="1160"/>
                    </a:lnTo>
                    <a:lnTo>
                      <a:pt x="402" y="1162"/>
                    </a:lnTo>
                    <a:lnTo>
                      <a:pt x="404" y="1166"/>
                    </a:lnTo>
                    <a:lnTo>
                      <a:pt x="408" y="1172"/>
                    </a:lnTo>
                    <a:lnTo>
                      <a:pt x="408" y="1172"/>
                    </a:lnTo>
                    <a:lnTo>
                      <a:pt x="408" y="1172"/>
                    </a:lnTo>
                    <a:lnTo>
                      <a:pt x="410" y="1176"/>
                    </a:lnTo>
                    <a:lnTo>
                      <a:pt x="414" y="1178"/>
                    </a:lnTo>
                    <a:lnTo>
                      <a:pt x="416" y="1180"/>
                    </a:lnTo>
                    <a:lnTo>
                      <a:pt x="418" y="1182"/>
                    </a:lnTo>
                    <a:lnTo>
                      <a:pt x="418" y="1182"/>
                    </a:lnTo>
                    <a:lnTo>
                      <a:pt x="418" y="1182"/>
                    </a:lnTo>
                    <a:lnTo>
                      <a:pt x="420" y="1182"/>
                    </a:lnTo>
                    <a:lnTo>
                      <a:pt x="420" y="1182"/>
                    </a:lnTo>
                    <a:lnTo>
                      <a:pt x="420" y="1182"/>
                    </a:lnTo>
                    <a:lnTo>
                      <a:pt x="422" y="1182"/>
                    </a:lnTo>
                    <a:lnTo>
                      <a:pt x="422" y="1182"/>
                    </a:lnTo>
                    <a:lnTo>
                      <a:pt x="424" y="1182"/>
                    </a:lnTo>
                    <a:lnTo>
                      <a:pt x="424" y="1180"/>
                    </a:lnTo>
                    <a:lnTo>
                      <a:pt x="424" y="1180"/>
                    </a:lnTo>
                    <a:lnTo>
                      <a:pt x="426" y="1180"/>
                    </a:lnTo>
                    <a:lnTo>
                      <a:pt x="426" y="1178"/>
                    </a:lnTo>
                    <a:lnTo>
                      <a:pt x="426" y="1178"/>
                    </a:lnTo>
                    <a:lnTo>
                      <a:pt x="426" y="1178"/>
                    </a:lnTo>
                    <a:lnTo>
                      <a:pt x="428" y="1176"/>
                    </a:lnTo>
                    <a:lnTo>
                      <a:pt x="428" y="1176"/>
                    </a:lnTo>
                    <a:lnTo>
                      <a:pt x="428" y="1176"/>
                    </a:lnTo>
                    <a:lnTo>
                      <a:pt x="428" y="1174"/>
                    </a:lnTo>
                    <a:lnTo>
                      <a:pt x="428" y="1170"/>
                    </a:lnTo>
                    <a:lnTo>
                      <a:pt x="428" y="1168"/>
                    </a:lnTo>
                    <a:lnTo>
                      <a:pt x="428" y="1166"/>
                    </a:lnTo>
                    <a:lnTo>
                      <a:pt x="428" y="1166"/>
                    </a:lnTo>
                    <a:lnTo>
                      <a:pt x="428" y="1164"/>
                    </a:lnTo>
                    <a:lnTo>
                      <a:pt x="426" y="1162"/>
                    </a:lnTo>
                    <a:lnTo>
                      <a:pt x="426" y="1162"/>
                    </a:lnTo>
                    <a:lnTo>
                      <a:pt x="424" y="1162"/>
                    </a:lnTo>
                    <a:lnTo>
                      <a:pt x="424" y="1160"/>
                    </a:lnTo>
                    <a:lnTo>
                      <a:pt x="426" y="1158"/>
                    </a:lnTo>
                    <a:lnTo>
                      <a:pt x="426" y="1152"/>
                    </a:lnTo>
                    <a:lnTo>
                      <a:pt x="426" y="1150"/>
                    </a:lnTo>
                    <a:lnTo>
                      <a:pt x="426" y="1150"/>
                    </a:lnTo>
                    <a:lnTo>
                      <a:pt x="426" y="1150"/>
                    </a:lnTo>
                    <a:lnTo>
                      <a:pt x="426" y="1146"/>
                    </a:lnTo>
                    <a:lnTo>
                      <a:pt x="426" y="1146"/>
                    </a:lnTo>
                    <a:lnTo>
                      <a:pt x="426" y="1144"/>
                    </a:lnTo>
                    <a:lnTo>
                      <a:pt x="422" y="1136"/>
                    </a:lnTo>
                    <a:lnTo>
                      <a:pt x="420" y="1128"/>
                    </a:lnTo>
                    <a:lnTo>
                      <a:pt x="418" y="1120"/>
                    </a:lnTo>
                    <a:lnTo>
                      <a:pt x="418" y="1118"/>
                    </a:lnTo>
                    <a:lnTo>
                      <a:pt x="418" y="1114"/>
                    </a:lnTo>
                    <a:lnTo>
                      <a:pt x="420" y="1112"/>
                    </a:lnTo>
                    <a:lnTo>
                      <a:pt x="420" y="1108"/>
                    </a:lnTo>
                    <a:lnTo>
                      <a:pt x="422" y="1106"/>
                    </a:lnTo>
                    <a:lnTo>
                      <a:pt x="422" y="1104"/>
                    </a:lnTo>
                    <a:lnTo>
                      <a:pt x="424" y="1102"/>
                    </a:lnTo>
                    <a:lnTo>
                      <a:pt x="424" y="1102"/>
                    </a:lnTo>
                    <a:lnTo>
                      <a:pt x="424" y="1102"/>
                    </a:lnTo>
                    <a:lnTo>
                      <a:pt x="426" y="1100"/>
                    </a:lnTo>
                    <a:lnTo>
                      <a:pt x="426" y="1100"/>
                    </a:lnTo>
                    <a:lnTo>
                      <a:pt x="426" y="1100"/>
                    </a:lnTo>
                    <a:lnTo>
                      <a:pt x="428" y="1098"/>
                    </a:lnTo>
                    <a:lnTo>
                      <a:pt x="428" y="1098"/>
                    </a:lnTo>
                    <a:lnTo>
                      <a:pt x="428" y="1098"/>
                    </a:lnTo>
                    <a:lnTo>
                      <a:pt x="430" y="1094"/>
                    </a:lnTo>
                    <a:lnTo>
                      <a:pt x="430" y="1092"/>
                    </a:lnTo>
                    <a:lnTo>
                      <a:pt x="430" y="1090"/>
                    </a:lnTo>
                    <a:lnTo>
                      <a:pt x="432" y="1088"/>
                    </a:lnTo>
                    <a:lnTo>
                      <a:pt x="432" y="1088"/>
                    </a:lnTo>
                    <a:lnTo>
                      <a:pt x="432" y="1086"/>
                    </a:lnTo>
                    <a:lnTo>
                      <a:pt x="434" y="1084"/>
                    </a:lnTo>
                    <a:lnTo>
                      <a:pt x="434" y="1084"/>
                    </a:lnTo>
                    <a:lnTo>
                      <a:pt x="436" y="1084"/>
                    </a:lnTo>
                    <a:lnTo>
                      <a:pt x="438" y="1082"/>
                    </a:lnTo>
                    <a:lnTo>
                      <a:pt x="438" y="1082"/>
                    </a:lnTo>
                    <a:lnTo>
                      <a:pt x="438" y="1082"/>
                    </a:lnTo>
                    <a:lnTo>
                      <a:pt x="440" y="1080"/>
                    </a:lnTo>
                    <a:lnTo>
                      <a:pt x="440" y="1080"/>
                    </a:lnTo>
                    <a:lnTo>
                      <a:pt x="440" y="1080"/>
                    </a:lnTo>
                    <a:lnTo>
                      <a:pt x="440" y="1078"/>
                    </a:lnTo>
                    <a:lnTo>
                      <a:pt x="440" y="1078"/>
                    </a:lnTo>
                    <a:lnTo>
                      <a:pt x="440" y="1076"/>
                    </a:lnTo>
                    <a:lnTo>
                      <a:pt x="440" y="1074"/>
                    </a:lnTo>
                    <a:lnTo>
                      <a:pt x="440" y="1074"/>
                    </a:lnTo>
                    <a:lnTo>
                      <a:pt x="440" y="1074"/>
                    </a:lnTo>
                    <a:lnTo>
                      <a:pt x="440" y="1072"/>
                    </a:lnTo>
                    <a:lnTo>
                      <a:pt x="438" y="1066"/>
                    </a:lnTo>
                    <a:lnTo>
                      <a:pt x="438" y="1066"/>
                    </a:lnTo>
                    <a:lnTo>
                      <a:pt x="436" y="1064"/>
                    </a:lnTo>
                    <a:lnTo>
                      <a:pt x="434" y="1064"/>
                    </a:lnTo>
                    <a:lnTo>
                      <a:pt x="432" y="1062"/>
                    </a:lnTo>
                    <a:lnTo>
                      <a:pt x="432" y="1062"/>
                    </a:lnTo>
                    <a:lnTo>
                      <a:pt x="432" y="1062"/>
                    </a:lnTo>
                    <a:lnTo>
                      <a:pt x="430" y="1060"/>
                    </a:lnTo>
                    <a:lnTo>
                      <a:pt x="430" y="1058"/>
                    </a:lnTo>
                    <a:lnTo>
                      <a:pt x="430" y="1056"/>
                    </a:lnTo>
                    <a:lnTo>
                      <a:pt x="430" y="1054"/>
                    </a:lnTo>
                    <a:lnTo>
                      <a:pt x="430" y="1050"/>
                    </a:lnTo>
                    <a:lnTo>
                      <a:pt x="430" y="1050"/>
                    </a:lnTo>
                    <a:lnTo>
                      <a:pt x="428" y="1048"/>
                    </a:lnTo>
                    <a:lnTo>
                      <a:pt x="426" y="1048"/>
                    </a:lnTo>
                    <a:lnTo>
                      <a:pt x="424" y="1048"/>
                    </a:lnTo>
                    <a:lnTo>
                      <a:pt x="422" y="1048"/>
                    </a:lnTo>
                    <a:lnTo>
                      <a:pt x="420" y="1046"/>
                    </a:lnTo>
                    <a:lnTo>
                      <a:pt x="420" y="1046"/>
                    </a:lnTo>
                    <a:lnTo>
                      <a:pt x="420" y="1046"/>
                    </a:lnTo>
                    <a:lnTo>
                      <a:pt x="420" y="1044"/>
                    </a:lnTo>
                    <a:lnTo>
                      <a:pt x="418" y="1042"/>
                    </a:lnTo>
                    <a:lnTo>
                      <a:pt x="418" y="1042"/>
                    </a:lnTo>
                    <a:lnTo>
                      <a:pt x="416" y="1042"/>
                    </a:lnTo>
                    <a:lnTo>
                      <a:pt x="414" y="1040"/>
                    </a:lnTo>
                    <a:lnTo>
                      <a:pt x="410" y="1038"/>
                    </a:lnTo>
                    <a:lnTo>
                      <a:pt x="404" y="1034"/>
                    </a:lnTo>
                    <a:lnTo>
                      <a:pt x="404" y="1034"/>
                    </a:lnTo>
                    <a:lnTo>
                      <a:pt x="404" y="1034"/>
                    </a:lnTo>
                    <a:lnTo>
                      <a:pt x="400" y="1032"/>
                    </a:lnTo>
                    <a:lnTo>
                      <a:pt x="402" y="1032"/>
                    </a:lnTo>
                    <a:lnTo>
                      <a:pt x="400" y="1032"/>
                    </a:lnTo>
                    <a:lnTo>
                      <a:pt x="400" y="1032"/>
                    </a:lnTo>
                    <a:lnTo>
                      <a:pt x="400" y="1032"/>
                    </a:lnTo>
                    <a:lnTo>
                      <a:pt x="400" y="1030"/>
                    </a:lnTo>
                    <a:lnTo>
                      <a:pt x="400" y="1030"/>
                    </a:lnTo>
                    <a:lnTo>
                      <a:pt x="400" y="1028"/>
                    </a:lnTo>
                    <a:lnTo>
                      <a:pt x="400" y="1026"/>
                    </a:lnTo>
                    <a:lnTo>
                      <a:pt x="400" y="1026"/>
                    </a:lnTo>
                    <a:lnTo>
                      <a:pt x="400" y="1024"/>
                    </a:lnTo>
                    <a:lnTo>
                      <a:pt x="402" y="1024"/>
                    </a:lnTo>
                    <a:lnTo>
                      <a:pt x="404" y="1022"/>
                    </a:lnTo>
                    <a:lnTo>
                      <a:pt x="408" y="1020"/>
                    </a:lnTo>
                    <a:lnTo>
                      <a:pt x="408" y="1020"/>
                    </a:lnTo>
                    <a:lnTo>
                      <a:pt x="408" y="1020"/>
                    </a:lnTo>
                    <a:lnTo>
                      <a:pt x="410" y="1018"/>
                    </a:lnTo>
                    <a:lnTo>
                      <a:pt x="410" y="1018"/>
                    </a:lnTo>
                    <a:lnTo>
                      <a:pt x="410" y="1018"/>
                    </a:lnTo>
                    <a:lnTo>
                      <a:pt x="412" y="1018"/>
                    </a:lnTo>
                    <a:lnTo>
                      <a:pt x="412" y="1018"/>
                    </a:lnTo>
                    <a:lnTo>
                      <a:pt x="412" y="1016"/>
                    </a:lnTo>
                    <a:lnTo>
                      <a:pt x="414" y="1014"/>
                    </a:lnTo>
                    <a:lnTo>
                      <a:pt x="414" y="1014"/>
                    </a:lnTo>
                    <a:lnTo>
                      <a:pt x="414" y="1012"/>
                    </a:lnTo>
                    <a:lnTo>
                      <a:pt x="414" y="1010"/>
                    </a:lnTo>
                    <a:lnTo>
                      <a:pt x="414" y="1006"/>
                    </a:lnTo>
                    <a:lnTo>
                      <a:pt x="416" y="1004"/>
                    </a:lnTo>
                    <a:lnTo>
                      <a:pt x="416" y="1002"/>
                    </a:lnTo>
                    <a:lnTo>
                      <a:pt x="416" y="1002"/>
                    </a:lnTo>
                    <a:lnTo>
                      <a:pt x="416" y="1000"/>
                    </a:lnTo>
                    <a:lnTo>
                      <a:pt x="416" y="998"/>
                    </a:lnTo>
                    <a:lnTo>
                      <a:pt x="416" y="994"/>
                    </a:lnTo>
                    <a:lnTo>
                      <a:pt x="416" y="990"/>
                    </a:lnTo>
                    <a:lnTo>
                      <a:pt x="416" y="990"/>
                    </a:lnTo>
                    <a:lnTo>
                      <a:pt x="416" y="990"/>
                    </a:lnTo>
                    <a:lnTo>
                      <a:pt x="416" y="990"/>
                    </a:lnTo>
                    <a:lnTo>
                      <a:pt x="416" y="990"/>
                    </a:lnTo>
                    <a:lnTo>
                      <a:pt x="420" y="992"/>
                    </a:lnTo>
                    <a:lnTo>
                      <a:pt x="422" y="994"/>
                    </a:lnTo>
                    <a:lnTo>
                      <a:pt x="424" y="994"/>
                    </a:lnTo>
                    <a:lnTo>
                      <a:pt x="426" y="996"/>
                    </a:lnTo>
                    <a:lnTo>
                      <a:pt x="426" y="996"/>
                    </a:lnTo>
                    <a:lnTo>
                      <a:pt x="426" y="996"/>
                    </a:lnTo>
                    <a:lnTo>
                      <a:pt x="428" y="996"/>
                    </a:lnTo>
                    <a:lnTo>
                      <a:pt x="428" y="996"/>
                    </a:lnTo>
                    <a:lnTo>
                      <a:pt x="428" y="996"/>
                    </a:lnTo>
                    <a:lnTo>
                      <a:pt x="430" y="996"/>
                    </a:lnTo>
                    <a:lnTo>
                      <a:pt x="430" y="996"/>
                    </a:lnTo>
                    <a:lnTo>
                      <a:pt x="430" y="996"/>
                    </a:lnTo>
                    <a:lnTo>
                      <a:pt x="432" y="996"/>
                    </a:lnTo>
                    <a:lnTo>
                      <a:pt x="432" y="996"/>
                    </a:lnTo>
                    <a:lnTo>
                      <a:pt x="432" y="994"/>
                    </a:lnTo>
                    <a:lnTo>
                      <a:pt x="432" y="994"/>
                    </a:lnTo>
                    <a:lnTo>
                      <a:pt x="432" y="994"/>
                    </a:lnTo>
                    <a:lnTo>
                      <a:pt x="434" y="994"/>
                    </a:lnTo>
                    <a:lnTo>
                      <a:pt x="434" y="992"/>
                    </a:lnTo>
                    <a:lnTo>
                      <a:pt x="434" y="992"/>
                    </a:lnTo>
                    <a:lnTo>
                      <a:pt x="434" y="992"/>
                    </a:lnTo>
                    <a:lnTo>
                      <a:pt x="434" y="990"/>
                    </a:lnTo>
                    <a:lnTo>
                      <a:pt x="434" y="988"/>
                    </a:lnTo>
                    <a:lnTo>
                      <a:pt x="436" y="986"/>
                    </a:lnTo>
                    <a:lnTo>
                      <a:pt x="436" y="984"/>
                    </a:lnTo>
                    <a:lnTo>
                      <a:pt x="438" y="980"/>
                    </a:lnTo>
                    <a:lnTo>
                      <a:pt x="438" y="978"/>
                    </a:lnTo>
                    <a:lnTo>
                      <a:pt x="440" y="978"/>
                    </a:lnTo>
                    <a:lnTo>
                      <a:pt x="442" y="976"/>
                    </a:lnTo>
                    <a:lnTo>
                      <a:pt x="444" y="976"/>
                    </a:lnTo>
                    <a:lnTo>
                      <a:pt x="444" y="976"/>
                    </a:lnTo>
                    <a:lnTo>
                      <a:pt x="444" y="976"/>
                    </a:lnTo>
                    <a:lnTo>
                      <a:pt x="446" y="974"/>
                    </a:lnTo>
                    <a:lnTo>
                      <a:pt x="446" y="974"/>
                    </a:lnTo>
                    <a:lnTo>
                      <a:pt x="446" y="974"/>
                    </a:lnTo>
                    <a:lnTo>
                      <a:pt x="448" y="972"/>
                    </a:lnTo>
                    <a:lnTo>
                      <a:pt x="448" y="972"/>
                    </a:lnTo>
                    <a:lnTo>
                      <a:pt x="448" y="972"/>
                    </a:lnTo>
                    <a:lnTo>
                      <a:pt x="448" y="970"/>
                    </a:lnTo>
                    <a:lnTo>
                      <a:pt x="448" y="970"/>
                    </a:lnTo>
                    <a:lnTo>
                      <a:pt x="448" y="970"/>
                    </a:lnTo>
                    <a:lnTo>
                      <a:pt x="448" y="968"/>
                    </a:lnTo>
                    <a:lnTo>
                      <a:pt x="450" y="968"/>
                    </a:lnTo>
                    <a:lnTo>
                      <a:pt x="454" y="966"/>
                    </a:lnTo>
                    <a:lnTo>
                      <a:pt x="458" y="964"/>
                    </a:lnTo>
                    <a:lnTo>
                      <a:pt x="462" y="960"/>
                    </a:lnTo>
                    <a:lnTo>
                      <a:pt x="464" y="960"/>
                    </a:lnTo>
                    <a:lnTo>
                      <a:pt x="466" y="958"/>
                    </a:lnTo>
                    <a:lnTo>
                      <a:pt x="470" y="956"/>
                    </a:lnTo>
                    <a:lnTo>
                      <a:pt x="476" y="956"/>
                    </a:lnTo>
                    <a:lnTo>
                      <a:pt x="482" y="954"/>
                    </a:lnTo>
                    <a:lnTo>
                      <a:pt x="486" y="954"/>
                    </a:lnTo>
                    <a:lnTo>
                      <a:pt x="490" y="954"/>
                    </a:lnTo>
                    <a:lnTo>
                      <a:pt x="492" y="954"/>
                    </a:lnTo>
                    <a:lnTo>
                      <a:pt x="496" y="956"/>
                    </a:lnTo>
                    <a:lnTo>
                      <a:pt x="502" y="958"/>
                    </a:lnTo>
                    <a:lnTo>
                      <a:pt x="506" y="960"/>
                    </a:lnTo>
                    <a:lnTo>
                      <a:pt x="506" y="960"/>
                    </a:lnTo>
                    <a:lnTo>
                      <a:pt x="506" y="960"/>
                    </a:lnTo>
                    <a:lnTo>
                      <a:pt x="508" y="960"/>
                    </a:lnTo>
                    <a:lnTo>
                      <a:pt x="510" y="962"/>
                    </a:lnTo>
                    <a:lnTo>
                      <a:pt x="510" y="962"/>
                    </a:lnTo>
                    <a:lnTo>
                      <a:pt x="512" y="962"/>
                    </a:lnTo>
                    <a:lnTo>
                      <a:pt x="514" y="966"/>
                    </a:lnTo>
                    <a:lnTo>
                      <a:pt x="516" y="966"/>
                    </a:lnTo>
                    <a:lnTo>
                      <a:pt x="518" y="968"/>
                    </a:lnTo>
                    <a:lnTo>
                      <a:pt x="518" y="968"/>
                    </a:lnTo>
                    <a:lnTo>
                      <a:pt x="518" y="970"/>
                    </a:lnTo>
                    <a:lnTo>
                      <a:pt x="522" y="970"/>
                    </a:lnTo>
                    <a:lnTo>
                      <a:pt x="524" y="972"/>
                    </a:lnTo>
                    <a:lnTo>
                      <a:pt x="530" y="974"/>
                    </a:lnTo>
                    <a:lnTo>
                      <a:pt x="536" y="976"/>
                    </a:lnTo>
                    <a:lnTo>
                      <a:pt x="540" y="978"/>
                    </a:lnTo>
                    <a:lnTo>
                      <a:pt x="544" y="980"/>
                    </a:lnTo>
                    <a:lnTo>
                      <a:pt x="544" y="980"/>
                    </a:lnTo>
                    <a:lnTo>
                      <a:pt x="546" y="978"/>
                    </a:lnTo>
                    <a:lnTo>
                      <a:pt x="548" y="976"/>
                    </a:lnTo>
                    <a:lnTo>
                      <a:pt x="552" y="976"/>
                    </a:lnTo>
                    <a:lnTo>
                      <a:pt x="558" y="974"/>
                    </a:lnTo>
                    <a:lnTo>
                      <a:pt x="560" y="972"/>
                    </a:lnTo>
                    <a:lnTo>
                      <a:pt x="562" y="972"/>
                    </a:lnTo>
                    <a:lnTo>
                      <a:pt x="566" y="970"/>
                    </a:lnTo>
                    <a:lnTo>
                      <a:pt x="570" y="970"/>
                    </a:lnTo>
                    <a:lnTo>
                      <a:pt x="572" y="972"/>
                    </a:lnTo>
                    <a:lnTo>
                      <a:pt x="576" y="972"/>
                    </a:lnTo>
                    <a:lnTo>
                      <a:pt x="580" y="974"/>
                    </a:lnTo>
                    <a:lnTo>
                      <a:pt x="582" y="976"/>
                    </a:lnTo>
                    <a:lnTo>
                      <a:pt x="586" y="976"/>
                    </a:lnTo>
                    <a:lnTo>
                      <a:pt x="590" y="978"/>
                    </a:lnTo>
                    <a:lnTo>
                      <a:pt x="596" y="980"/>
                    </a:lnTo>
                    <a:lnTo>
                      <a:pt x="600" y="982"/>
                    </a:lnTo>
                    <a:lnTo>
                      <a:pt x="600" y="982"/>
                    </a:lnTo>
                    <a:lnTo>
                      <a:pt x="600" y="982"/>
                    </a:lnTo>
                    <a:lnTo>
                      <a:pt x="604" y="982"/>
                    </a:lnTo>
                    <a:lnTo>
                      <a:pt x="606" y="982"/>
                    </a:lnTo>
                    <a:lnTo>
                      <a:pt x="612" y="980"/>
                    </a:lnTo>
                    <a:lnTo>
                      <a:pt x="616" y="980"/>
                    </a:lnTo>
                    <a:lnTo>
                      <a:pt x="618" y="980"/>
                    </a:lnTo>
                    <a:lnTo>
                      <a:pt x="622" y="978"/>
                    </a:lnTo>
                    <a:lnTo>
                      <a:pt x="624" y="978"/>
                    </a:lnTo>
                    <a:lnTo>
                      <a:pt x="624" y="978"/>
                    </a:lnTo>
                    <a:lnTo>
                      <a:pt x="624" y="978"/>
                    </a:lnTo>
                    <a:lnTo>
                      <a:pt x="626" y="976"/>
                    </a:lnTo>
                    <a:lnTo>
                      <a:pt x="626" y="976"/>
                    </a:lnTo>
                    <a:lnTo>
                      <a:pt x="628" y="974"/>
                    </a:lnTo>
                    <a:lnTo>
                      <a:pt x="628" y="972"/>
                    </a:lnTo>
                    <a:lnTo>
                      <a:pt x="628" y="972"/>
                    </a:lnTo>
                    <a:lnTo>
                      <a:pt x="630" y="972"/>
                    </a:lnTo>
                    <a:lnTo>
                      <a:pt x="630" y="968"/>
                    </a:lnTo>
                    <a:lnTo>
                      <a:pt x="630" y="968"/>
                    </a:lnTo>
                    <a:lnTo>
                      <a:pt x="630" y="968"/>
                    </a:lnTo>
                    <a:lnTo>
                      <a:pt x="630" y="966"/>
                    </a:lnTo>
                    <a:lnTo>
                      <a:pt x="630" y="966"/>
                    </a:lnTo>
                    <a:lnTo>
                      <a:pt x="630" y="964"/>
                    </a:lnTo>
                    <a:lnTo>
                      <a:pt x="628" y="964"/>
                    </a:lnTo>
                    <a:lnTo>
                      <a:pt x="628" y="964"/>
                    </a:lnTo>
                    <a:lnTo>
                      <a:pt x="628" y="962"/>
                    </a:lnTo>
                    <a:lnTo>
                      <a:pt x="626" y="960"/>
                    </a:lnTo>
                    <a:lnTo>
                      <a:pt x="624" y="958"/>
                    </a:lnTo>
                    <a:lnTo>
                      <a:pt x="618" y="954"/>
                    </a:lnTo>
                    <a:lnTo>
                      <a:pt x="614" y="950"/>
                    </a:lnTo>
                    <a:lnTo>
                      <a:pt x="612" y="948"/>
                    </a:lnTo>
                    <a:lnTo>
                      <a:pt x="614" y="948"/>
                    </a:lnTo>
                    <a:lnTo>
                      <a:pt x="614" y="948"/>
                    </a:lnTo>
                    <a:lnTo>
                      <a:pt x="614" y="946"/>
                    </a:lnTo>
                    <a:lnTo>
                      <a:pt x="618" y="942"/>
                    </a:lnTo>
                    <a:lnTo>
                      <a:pt x="618" y="942"/>
                    </a:lnTo>
                    <a:lnTo>
                      <a:pt x="618" y="942"/>
                    </a:lnTo>
                    <a:lnTo>
                      <a:pt x="620" y="938"/>
                    </a:lnTo>
                    <a:lnTo>
                      <a:pt x="620" y="938"/>
                    </a:lnTo>
                    <a:lnTo>
                      <a:pt x="622" y="936"/>
                    </a:lnTo>
                    <a:lnTo>
                      <a:pt x="622" y="934"/>
                    </a:lnTo>
                    <a:lnTo>
                      <a:pt x="622" y="934"/>
                    </a:lnTo>
                    <a:lnTo>
                      <a:pt x="622" y="934"/>
                    </a:lnTo>
                    <a:lnTo>
                      <a:pt x="622" y="932"/>
                    </a:lnTo>
                    <a:lnTo>
                      <a:pt x="624" y="928"/>
                    </a:lnTo>
                    <a:lnTo>
                      <a:pt x="626" y="924"/>
                    </a:lnTo>
                    <a:lnTo>
                      <a:pt x="628" y="920"/>
                    </a:lnTo>
                    <a:lnTo>
                      <a:pt x="628" y="918"/>
                    </a:lnTo>
                    <a:lnTo>
                      <a:pt x="628" y="914"/>
                    </a:lnTo>
                    <a:lnTo>
                      <a:pt x="628" y="910"/>
                    </a:lnTo>
                    <a:lnTo>
                      <a:pt x="628" y="906"/>
                    </a:lnTo>
                    <a:lnTo>
                      <a:pt x="628" y="902"/>
                    </a:lnTo>
                    <a:lnTo>
                      <a:pt x="630" y="902"/>
                    </a:lnTo>
                    <a:lnTo>
                      <a:pt x="630" y="900"/>
                    </a:lnTo>
                    <a:lnTo>
                      <a:pt x="632" y="900"/>
                    </a:lnTo>
                    <a:lnTo>
                      <a:pt x="634" y="898"/>
                    </a:lnTo>
                    <a:lnTo>
                      <a:pt x="638" y="898"/>
                    </a:lnTo>
                    <a:lnTo>
                      <a:pt x="642" y="898"/>
                    </a:lnTo>
                    <a:lnTo>
                      <a:pt x="646" y="898"/>
                    </a:lnTo>
                    <a:lnTo>
                      <a:pt x="652" y="898"/>
                    </a:lnTo>
                    <a:lnTo>
                      <a:pt x="658" y="896"/>
                    </a:lnTo>
                    <a:lnTo>
                      <a:pt x="660" y="896"/>
                    </a:lnTo>
                    <a:lnTo>
                      <a:pt x="664" y="896"/>
                    </a:lnTo>
                    <a:lnTo>
                      <a:pt x="668" y="894"/>
                    </a:lnTo>
                    <a:lnTo>
                      <a:pt x="672" y="894"/>
                    </a:lnTo>
                    <a:lnTo>
                      <a:pt x="678" y="894"/>
                    </a:lnTo>
                    <a:lnTo>
                      <a:pt x="678" y="894"/>
                    </a:lnTo>
                    <a:lnTo>
                      <a:pt x="678" y="894"/>
                    </a:lnTo>
                    <a:lnTo>
                      <a:pt x="680" y="892"/>
                    </a:lnTo>
                    <a:lnTo>
                      <a:pt x="680" y="892"/>
                    </a:lnTo>
                    <a:lnTo>
                      <a:pt x="682" y="892"/>
                    </a:lnTo>
                    <a:lnTo>
                      <a:pt x="682" y="892"/>
                    </a:lnTo>
                    <a:lnTo>
                      <a:pt x="682" y="892"/>
                    </a:lnTo>
                    <a:lnTo>
                      <a:pt x="684" y="890"/>
                    </a:lnTo>
                    <a:lnTo>
                      <a:pt x="684" y="890"/>
                    </a:lnTo>
                    <a:lnTo>
                      <a:pt x="686" y="888"/>
                    </a:lnTo>
                    <a:lnTo>
                      <a:pt x="688" y="886"/>
                    </a:lnTo>
                    <a:lnTo>
                      <a:pt x="688" y="886"/>
                    </a:lnTo>
                    <a:lnTo>
                      <a:pt x="690" y="886"/>
                    </a:lnTo>
                    <a:lnTo>
                      <a:pt x="690" y="886"/>
                    </a:lnTo>
                    <a:lnTo>
                      <a:pt x="692" y="884"/>
                    </a:lnTo>
                    <a:lnTo>
                      <a:pt x="696" y="884"/>
                    </a:lnTo>
                    <a:lnTo>
                      <a:pt x="698" y="884"/>
                    </a:lnTo>
                    <a:lnTo>
                      <a:pt x="702" y="882"/>
                    </a:lnTo>
                    <a:lnTo>
                      <a:pt x="706" y="882"/>
                    </a:lnTo>
                    <a:lnTo>
                      <a:pt x="712" y="880"/>
                    </a:lnTo>
                    <a:lnTo>
                      <a:pt x="718" y="878"/>
                    </a:lnTo>
                    <a:lnTo>
                      <a:pt x="720" y="880"/>
                    </a:lnTo>
                    <a:lnTo>
                      <a:pt x="722" y="878"/>
                    </a:lnTo>
                    <a:lnTo>
                      <a:pt x="724" y="876"/>
                    </a:lnTo>
                    <a:lnTo>
                      <a:pt x="730" y="874"/>
                    </a:lnTo>
                    <a:lnTo>
                      <a:pt x="734" y="874"/>
                    </a:lnTo>
                    <a:lnTo>
                      <a:pt x="738" y="872"/>
                    </a:lnTo>
                    <a:lnTo>
                      <a:pt x="742" y="870"/>
                    </a:lnTo>
                    <a:lnTo>
                      <a:pt x="744" y="870"/>
                    </a:lnTo>
                    <a:lnTo>
                      <a:pt x="748" y="868"/>
                    </a:lnTo>
                    <a:lnTo>
                      <a:pt x="748" y="868"/>
                    </a:lnTo>
                    <a:lnTo>
                      <a:pt x="750" y="872"/>
                    </a:lnTo>
                    <a:lnTo>
                      <a:pt x="754" y="876"/>
                    </a:lnTo>
                    <a:lnTo>
                      <a:pt x="758" y="880"/>
                    </a:lnTo>
                    <a:lnTo>
                      <a:pt x="762" y="884"/>
                    </a:lnTo>
                    <a:lnTo>
                      <a:pt x="764" y="888"/>
                    </a:lnTo>
                    <a:lnTo>
                      <a:pt x="766" y="890"/>
                    </a:lnTo>
                    <a:lnTo>
                      <a:pt x="766" y="890"/>
                    </a:lnTo>
                    <a:lnTo>
                      <a:pt x="766" y="890"/>
                    </a:lnTo>
                    <a:lnTo>
                      <a:pt x="768" y="890"/>
                    </a:lnTo>
                    <a:lnTo>
                      <a:pt x="768" y="890"/>
                    </a:lnTo>
                    <a:lnTo>
                      <a:pt x="768" y="890"/>
                    </a:lnTo>
                    <a:lnTo>
                      <a:pt x="770" y="890"/>
                    </a:lnTo>
                    <a:lnTo>
                      <a:pt x="770" y="890"/>
                    </a:lnTo>
                    <a:lnTo>
                      <a:pt x="772" y="892"/>
                    </a:lnTo>
                    <a:lnTo>
                      <a:pt x="772" y="892"/>
                    </a:lnTo>
                    <a:lnTo>
                      <a:pt x="772" y="890"/>
                    </a:lnTo>
                    <a:lnTo>
                      <a:pt x="774" y="890"/>
                    </a:lnTo>
                    <a:lnTo>
                      <a:pt x="774" y="890"/>
                    </a:lnTo>
                    <a:lnTo>
                      <a:pt x="776" y="890"/>
                    </a:lnTo>
                    <a:lnTo>
                      <a:pt x="778" y="888"/>
                    </a:lnTo>
                    <a:lnTo>
                      <a:pt x="780" y="886"/>
                    </a:lnTo>
                    <a:lnTo>
                      <a:pt x="782" y="884"/>
                    </a:lnTo>
                    <a:lnTo>
                      <a:pt x="782" y="884"/>
                    </a:lnTo>
                    <a:lnTo>
                      <a:pt x="784" y="884"/>
                    </a:lnTo>
                    <a:lnTo>
                      <a:pt x="784" y="882"/>
                    </a:lnTo>
                    <a:lnTo>
                      <a:pt x="788" y="882"/>
                    </a:lnTo>
                    <a:lnTo>
                      <a:pt x="790" y="884"/>
                    </a:lnTo>
                    <a:lnTo>
                      <a:pt x="794" y="886"/>
                    </a:lnTo>
                    <a:lnTo>
                      <a:pt x="800" y="888"/>
                    </a:lnTo>
                    <a:lnTo>
                      <a:pt x="806" y="890"/>
                    </a:lnTo>
                    <a:lnTo>
                      <a:pt x="810" y="892"/>
                    </a:lnTo>
                    <a:lnTo>
                      <a:pt x="816" y="896"/>
                    </a:lnTo>
                    <a:lnTo>
                      <a:pt x="818" y="898"/>
                    </a:lnTo>
                    <a:lnTo>
                      <a:pt x="822" y="900"/>
                    </a:lnTo>
                    <a:lnTo>
                      <a:pt x="822" y="902"/>
                    </a:lnTo>
                    <a:lnTo>
                      <a:pt x="824" y="902"/>
                    </a:lnTo>
                    <a:lnTo>
                      <a:pt x="824" y="904"/>
                    </a:lnTo>
                    <a:lnTo>
                      <a:pt x="822" y="904"/>
                    </a:lnTo>
                    <a:lnTo>
                      <a:pt x="822" y="906"/>
                    </a:lnTo>
                    <a:lnTo>
                      <a:pt x="822" y="908"/>
                    </a:lnTo>
                    <a:lnTo>
                      <a:pt x="822" y="908"/>
                    </a:lnTo>
                    <a:lnTo>
                      <a:pt x="822" y="908"/>
                    </a:lnTo>
                    <a:lnTo>
                      <a:pt x="822" y="910"/>
                    </a:lnTo>
                    <a:lnTo>
                      <a:pt x="822" y="910"/>
                    </a:lnTo>
                    <a:lnTo>
                      <a:pt x="824" y="912"/>
                    </a:lnTo>
                    <a:lnTo>
                      <a:pt x="824" y="912"/>
                    </a:lnTo>
                    <a:lnTo>
                      <a:pt x="824" y="912"/>
                    </a:lnTo>
                    <a:lnTo>
                      <a:pt x="826" y="912"/>
                    </a:lnTo>
                    <a:lnTo>
                      <a:pt x="828" y="912"/>
                    </a:lnTo>
                    <a:lnTo>
                      <a:pt x="828" y="912"/>
                    </a:lnTo>
                    <a:lnTo>
                      <a:pt x="828" y="912"/>
                    </a:lnTo>
                    <a:lnTo>
                      <a:pt x="830" y="912"/>
                    </a:lnTo>
                    <a:lnTo>
                      <a:pt x="832" y="910"/>
                    </a:lnTo>
                    <a:lnTo>
                      <a:pt x="834" y="908"/>
                    </a:lnTo>
                    <a:lnTo>
                      <a:pt x="838" y="906"/>
                    </a:lnTo>
                    <a:lnTo>
                      <a:pt x="844" y="902"/>
                    </a:lnTo>
                    <a:lnTo>
                      <a:pt x="846" y="900"/>
                    </a:lnTo>
                    <a:lnTo>
                      <a:pt x="850" y="898"/>
                    </a:lnTo>
                    <a:lnTo>
                      <a:pt x="856" y="894"/>
                    </a:lnTo>
                    <a:lnTo>
                      <a:pt x="858" y="894"/>
                    </a:lnTo>
                    <a:lnTo>
                      <a:pt x="862" y="892"/>
                    </a:lnTo>
                    <a:lnTo>
                      <a:pt x="864" y="892"/>
                    </a:lnTo>
                    <a:lnTo>
                      <a:pt x="864" y="892"/>
                    </a:lnTo>
                    <a:lnTo>
                      <a:pt x="866" y="892"/>
                    </a:lnTo>
                    <a:lnTo>
                      <a:pt x="866" y="892"/>
                    </a:lnTo>
                    <a:lnTo>
                      <a:pt x="866" y="894"/>
                    </a:lnTo>
                    <a:lnTo>
                      <a:pt x="866" y="896"/>
                    </a:lnTo>
                    <a:lnTo>
                      <a:pt x="866" y="902"/>
                    </a:lnTo>
                    <a:lnTo>
                      <a:pt x="866" y="902"/>
                    </a:lnTo>
                    <a:lnTo>
                      <a:pt x="866" y="902"/>
                    </a:lnTo>
                    <a:lnTo>
                      <a:pt x="868" y="906"/>
                    </a:lnTo>
                    <a:lnTo>
                      <a:pt x="868" y="906"/>
                    </a:lnTo>
                    <a:lnTo>
                      <a:pt x="868" y="906"/>
                    </a:lnTo>
                    <a:lnTo>
                      <a:pt x="870" y="908"/>
                    </a:lnTo>
                    <a:lnTo>
                      <a:pt x="870" y="908"/>
                    </a:lnTo>
                    <a:lnTo>
                      <a:pt x="870" y="908"/>
                    </a:lnTo>
                    <a:lnTo>
                      <a:pt x="872" y="910"/>
                    </a:lnTo>
                    <a:lnTo>
                      <a:pt x="872" y="910"/>
                    </a:lnTo>
                    <a:lnTo>
                      <a:pt x="872" y="910"/>
                    </a:lnTo>
                    <a:lnTo>
                      <a:pt x="874" y="912"/>
                    </a:lnTo>
                    <a:lnTo>
                      <a:pt x="880" y="916"/>
                    </a:lnTo>
                    <a:lnTo>
                      <a:pt x="886" y="918"/>
                    </a:lnTo>
                    <a:lnTo>
                      <a:pt x="888" y="920"/>
                    </a:lnTo>
                    <a:lnTo>
                      <a:pt x="890" y="922"/>
                    </a:lnTo>
                    <a:lnTo>
                      <a:pt x="890" y="922"/>
                    </a:lnTo>
                    <a:lnTo>
                      <a:pt x="894" y="928"/>
                    </a:lnTo>
                    <a:lnTo>
                      <a:pt x="898" y="932"/>
                    </a:lnTo>
                    <a:lnTo>
                      <a:pt x="900" y="938"/>
                    </a:lnTo>
                    <a:lnTo>
                      <a:pt x="902" y="942"/>
                    </a:lnTo>
                    <a:lnTo>
                      <a:pt x="904" y="944"/>
                    </a:lnTo>
                    <a:lnTo>
                      <a:pt x="904" y="948"/>
                    </a:lnTo>
                    <a:lnTo>
                      <a:pt x="904" y="954"/>
                    </a:lnTo>
                    <a:lnTo>
                      <a:pt x="906" y="958"/>
                    </a:lnTo>
                    <a:lnTo>
                      <a:pt x="906" y="960"/>
                    </a:lnTo>
                    <a:lnTo>
                      <a:pt x="906" y="964"/>
                    </a:lnTo>
                    <a:lnTo>
                      <a:pt x="906" y="968"/>
                    </a:lnTo>
                    <a:lnTo>
                      <a:pt x="908" y="970"/>
                    </a:lnTo>
                    <a:lnTo>
                      <a:pt x="908" y="970"/>
                    </a:lnTo>
                    <a:lnTo>
                      <a:pt x="908" y="970"/>
                    </a:lnTo>
                    <a:lnTo>
                      <a:pt x="910" y="972"/>
                    </a:lnTo>
                    <a:lnTo>
                      <a:pt x="910" y="972"/>
                    </a:lnTo>
                    <a:lnTo>
                      <a:pt x="910" y="974"/>
                    </a:lnTo>
                    <a:lnTo>
                      <a:pt x="912" y="976"/>
                    </a:lnTo>
                    <a:lnTo>
                      <a:pt x="912" y="976"/>
                    </a:lnTo>
                    <a:lnTo>
                      <a:pt x="914" y="976"/>
                    </a:lnTo>
                    <a:lnTo>
                      <a:pt x="914" y="976"/>
                    </a:lnTo>
                    <a:lnTo>
                      <a:pt x="914" y="976"/>
                    </a:lnTo>
                    <a:lnTo>
                      <a:pt x="916" y="976"/>
                    </a:lnTo>
                    <a:lnTo>
                      <a:pt x="918" y="974"/>
                    </a:lnTo>
                    <a:lnTo>
                      <a:pt x="920" y="974"/>
                    </a:lnTo>
                    <a:lnTo>
                      <a:pt x="922" y="972"/>
                    </a:lnTo>
                    <a:lnTo>
                      <a:pt x="924" y="970"/>
                    </a:lnTo>
                    <a:lnTo>
                      <a:pt x="926" y="970"/>
                    </a:lnTo>
                    <a:lnTo>
                      <a:pt x="926" y="970"/>
                    </a:lnTo>
                    <a:lnTo>
                      <a:pt x="928" y="970"/>
                    </a:lnTo>
                    <a:lnTo>
                      <a:pt x="930" y="970"/>
                    </a:lnTo>
                    <a:lnTo>
                      <a:pt x="932" y="970"/>
                    </a:lnTo>
                    <a:lnTo>
                      <a:pt x="934" y="970"/>
                    </a:lnTo>
                    <a:lnTo>
                      <a:pt x="938" y="974"/>
                    </a:lnTo>
                    <a:lnTo>
                      <a:pt x="942" y="976"/>
                    </a:lnTo>
                    <a:lnTo>
                      <a:pt x="942" y="976"/>
                    </a:lnTo>
                    <a:lnTo>
                      <a:pt x="942" y="976"/>
                    </a:lnTo>
                    <a:lnTo>
                      <a:pt x="944" y="978"/>
                    </a:lnTo>
                    <a:lnTo>
                      <a:pt x="944" y="978"/>
                    </a:lnTo>
                    <a:lnTo>
                      <a:pt x="946" y="978"/>
                    </a:lnTo>
                    <a:lnTo>
                      <a:pt x="948" y="978"/>
                    </a:lnTo>
                    <a:lnTo>
                      <a:pt x="948" y="978"/>
                    </a:lnTo>
                    <a:lnTo>
                      <a:pt x="948" y="978"/>
                    </a:lnTo>
                    <a:lnTo>
                      <a:pt x="952" y="978"/>
                    </a:lnTo>
                    <a:lnTo>
                      <a:pt x="952" y="978"/>
                    </a:lnTo>
                    <a:lnTo>
                      <a:pt x="956" y="978"/>
                    </a:lnTo>
                    <a:lnTo>
                      <a:pt x="958" y="976"/>
                    </a:lnTo>
                    <a:lnTo>
                      <a:pt x="962" y="976"/>
                    </a:lnTo>
                    <a:lnTo>
                      <a:pt x="964" y="974"/>
                    </a:lnTo>
                    <a:lnTo>
                      <a:pt x="966" y="974"/>
                    </a:lnTo>
                    <a:lnTo>
                      <a:pt x="970" y="974"/>
                    </a:lnTo>
                    <a:lnTo>
                      <a:pt x="972" y="974"/>
                    </a:lnTo>
                    <a:lnTo>
                      <a:pt x="974" y="976"/>
                    </a:lnTo>
                    <a:lnTo>
                      <a:pt x="976" y="978"/>
                    </a:lnTo>
                    <a:lnTo>
                      <a:pt x="980" y="982"/>
                    </a:lnTo>
                    <a:lnTo>
                      <a:pt x="982" y="986"/>
                    </a:lnTo>
                    <a:lnTo>
                      <a:pt x="986" y="990"/>
                    </a:lnTo>
                    <a:lnTo>
                      <a:pt x="990" y="994"/>
                    </a:lnTo>
                    <a:lnTo>
                      <a:pt x="992" y="996"/>
                    </a:lnTo>
                    <a:lnTo>
                      <a:pt x="996" y="998"/>
                    </a:lnTo>
                    <a:lnTo>
                      <a:pt x="998" y="1000"/>
                    </a:lnTo>
                    <a:lnTo>
                      <a:pt x="1000" y="1002"/>
                    </a:lnTo>
                    <a:lnTo>
                      <a:pt x="1002" y="1002"/>
                    </a:lnTo>
                    <a:lnTo>
                      <a:pt x="1002" y="1002"/>
                    </a:lnTo>
                    <a:lnTo>
                      <a:pt x="1002" y="1002"/>
                    </a:lnTo>
                    <a:lnTo>
                      <a:pt x="1004" y="1004"/>
                    </a:lnTo>
                    <a:lnTo>
                      <a:pt x="1006" y="1004"/>
                    </a:lnTo>
                    <a:lnTo>
                      <a:pt x="1008" y="1004"/>
                    </a:lnTo>
                    <a:lnTo>
                      <a:pt x="1012" y="1004"/>
                    </a:lnTo>
                    <a:lnTo>
                      <a:pt x="1014" y="1004"/>
                    </a:lnTo>
                    <a:lnTo>
                      <a:pt x="1018" y="1004"/>
                    </a:lnTo>
                    <a:lnTo>
                      <a:pt x="1024" y="1006"/>
                    </a:lnTo>
                    <a:lnTo>
                      <a:pt x="1028" y="1006"/>
                    </a:lnTo>
                    <a:lnTo>
                      <a:pt x="1034" y="1008"/>
                    </a:lnTo>
                    <a:lnTo>
                      <a:pt x="1040" y="1008"/>
                    </a:lnTo>
                    <a:lnTo>
                      <a:pt x="1044" y="1008"/>
                    </a:lnTo>
                    <a:lnTo>
                      <a:pt x="1050" y="1008"/>
                    </a:lnTo>
                    <a:lnTo>
                      <a:pt x="1050" y="1008"/>
                    </a:lnTo>
                    <a:lnTo>
                      <a:pt x="1052" y="1008"/>
                    </a:lnTo>
                    <a:lnTo>
                      <a:pt x="1052" y="1008"/>
                    </a:lnTo>
                    <a:lnTo>
                      <a:pt x="1052" y="1008"/>
                    </a:lnTo>
                    <a:lnTo>
                      <a:pt x="1054" y="1008"/>
                    </a:lnTo>
                    <a:lnTo>
                      <a:pt x="1054" y="1008"/>
                    </a:lnTo>
                    <a:lnTo>
                      <a:pt x="1054" y="1008"/>
                    </a:lnTo>
                    <a:lnTo>
                      <a:pt x="1054" y="1006"/>
                    </a:lnTo>
                    <a:lnTo>
                      <a:pt x="1054" y="1006"/>
                    </a:lnTo>
                    <a:lnTo>
                      <a:pt x="1056" y="1004"/>
                    </a:lnTo>
                    <a:lnTo>
                      <a:pt x="1056" y="1004"/>
                    </a:lnTo>
                    <a:lnTo>
                      <a:pt x="1056" y="1004"/>
                    </a:lnTo>
                    <a:lnTo>
                      <a:pt x="1054" y="1002"/>
                    </a:lnTo>
                    <a:lnTo>
                      <a:pt x="1054" y="1000"/>
                    </a:lnTo>
                    <a:lnTo>
                      <a:pt x="1052" y="998"/>
                    </a:lnTo>
                    <a:lnTo>
                      <a:pt x="1052" y="998"/>
                    </a:lnTo>
                    <a:lnTo>
                      <a:pt x="1052" y="998"/>
                    </a:lnTo>
                    <a:lnTo>
                      <a:pt x="1054" y="998"/>
                    </a:lnTo>
                    <a:lnTo>
                      <a:pt x="1058" y="998"/>
                    </a:lnTo>
                    <a:lnTo>
                      <a:pt x="1058" y="998"/>
                    </a:lnTo>
                    <a:lnTo>
                      <a:pt x="1060" y="998"/>
                    </a:lnTo>
                    <a:lnTo>
                      <a:pt x="1062" y="998"/>
                    </a:lnTo>
                    <a:lnTo>
                      <a:pt x="1064" y="998"/>
                    </a:lnTo>
                    <a:lnTo>
                      <a:pt x="1064" y="998"/>
                    </a:lnTo>
                    <a:lnTo>
                      <a:pt x="1064" y="998"/>
                    </a:lnTo>
                    <a:lnTo>
                      <a:pt x="1068" y="998"/>
                    </a:lnTo>
                    <a:lnTo>
                      <a:pt x="1068" y="998"/>
                    </a:lnTo>
                    <a:lnTo>
                      <a:pt x="1068" y="996"/>
                    </a:lnTo>
                    <a:lnTo>
                      <a:pt x="1070" y="996"/>
                    </a:lnTo>
                    <a:lnTo>
                      <a:pt x="1074" y="992"/>
                    </a:lnTo>
                    <a:lnTo>
                      <a:pt x="1076" y="990"/>
                    </a:lnTo>
                    <a:lnTo>
                      <a:pt x="1082" y="986"/>
                    </a:lnTo>
                    <a:lnTo>
                      <a:pt x="1084" y="984"/>
                    </a:lnTo>
                    <a:lnTo>
                      <a:pt x="1086" y="984"/>
                    </a:lnTo>
                    <a:lnTo>
                      <a:pt x="1092" y="982"/>
                    </a:lnTo>
                    <a:lnTo>
                      <a:pt x="1096" y="980"/>
                    </a:lnTo>
                    <a:lnTo>
                      <a:pt x="1102" y="978"/>
                    </a:lnTo>
                    <a:lnTo>
                      <a:pt x="1100" y="978"/>
                    </a:lnTo>
                    <a:lnTo>
                      <a:pt x="1102" y="978"/>
                    </a:lnTo>
                    <a:lnTo>
                      <a:pt x="1106" y="978"/>
                    </a:lnTo>
                    <a:lnTo>
                      <a:pt x="1108" y="978"/>
                    </a:lnTo>
                    <a:lnTo>
                      <a:pt x="1110" y="980"/>
                    </a:lnTo>
                    <a:lnTo>
                      <a:pt x="1118" y="982"/>
                    </a:lnTo>
                    <a:lnTo>
                      <a:pt x="1124" y="984"/>
                    </a:lnTo>
                    <a:lnTo>
                      <a:pt x="1128" y="986"/>
                    </a:lnTo>
                    <a:lnTo>
                      <a:pt x="1130" y="986"/>
                    </a:lnTo>
                    <a:lnTo>
                      <a:pt x="1132" y="988"/>
                    </a:lnTo>
                    <a:lnTo>
                      <a:pt x="1134" y="990"/>
                    </a:lnTo>
                    <a:lnTo>
                      <a:pt x="1138" y="994"/>
                    </a:lnTo>
                    <a:lnTo>
                      <a:pt x="1140" y="996"/>
                    </a:lnTo>
                    <a:lnTo>
                      <a:pt x="1142" y="998"/>
                    </a:lnTo>
                    <a:lnTo>
                      <a:pt x="1142" y="998"/>
                    </a:lnTo>
                    <a:lnTo>
                      <a:pt x="1142" y="998"/>
                    </a:lnTo>
                    <a:lnTo>
                      <a:pt x="1146" y="1000"/>
                    </a:lnTo>
                    <a:lnTo>
                      <a:pt x="1146" y="1000"/>
                    </a:lnTo>
                    <a:lnTo>
                      <a:pt x="1146" y="1000"/>
                    </a:lnTo>
                    <a:lnTo>
                      <a:pt x="1150" y="1002"/>
                    </a:lnTo>
                    <a:lnTo>
                      <a:pt x="1152" y="1002"/>
                    </a:lnTo>
                    <a:lnTo>
                      <a:pt x="1158" y="1002"/>
                    </a:lnTo>
                    <a:lnTo>
                      <a:pt x="1162" y="1004"/>
                    </a:lnTo>
                    <a:lnTo>
                      <a:pt x="1168" y="1004"/>
                    </a:lnTo>
                    <a:lnTo>
                      <a:pt x="1174" y="1002"/>
                    </a:lnTo>
                    <a:lnTo>
                      <a:pt x="1178" y="1002"/>
                    </a:lnTo>
                    <a:lnTo>
                      <a:pt x="1178" y="1002"/>
                    </a:lnTo>
                    <a:lnTo>
                      <a:pt x="1178" y="1002"/>
                    </a:lnTo>
                    <a:lnTo>
                      <a:pt x="1184" y="1000"/>
                    </a:lnTo>
                    <a:lnTo>
                      <a:pt x="1184" y="1000"/>
                    </a:lnTo>
                    <a:lnTo>
                      <a:pt x="1184" y="1000"/>
                    </a:lnTo>
                    <a:lnTo>
                      <a:pt x="1188" y="998"/>
                    </a:lnTo>
                    <a:lnTo>
                      <a:pt x="1188" y="998"/>
                    </a:lnTo>
                    <a:lnTo>
                      <a:pt x="1188" y="998"/>
                    </a:lnTo>
                    <a:lnTo>
                      <a:pt x="1190" y="996"/>
                    </a:lnTo>
                    <a:lnTo>
                      <a:pt x="1190" y="996"/>
                    </a:lnTo>
                    <a:lnTo>
                      <a:pt x="1190" y="996"/>
                    </a:lnTo>
                    <a:lnTo>
                      <a:pt x="1190" y="994"/>
                    </a:lnTo>
                    <a:lnTo>
                      <a:pt x="1190" y="994"/>
                    </a:lnTo>
                    <a:lnTo>
                      <a:pt x="1190" y="992"/>
                    </a:lnTo>
                    <a:lnTo>
                      <a:pt x="1192" y="990"/>
                    </a:lnTo>
                    <a:lnTo>
                      <a:pt x="1192" y="988"/>
                    </a:lnTo>
                    <a:lnTo>
                      <a:pt x="1192" y="982"/>
                    </a:lnTo>
                    <a:lnTo>
                      <a:pt x="1192" y="974"/>
                    </a:lnTo>
                    <a:lnTo>
                      <a:pt x="1194" y="968"/>
                    </a:lnTo>
                    <a:lnTo>
                      <a:pt x="1194" y="962"/>
                    </a:lnTo>
                    <a:lnTo>
                      <a:pt x="1194" y="960"/>
                    </a:lnTo>
                    <a:lnTo>
                      <a:pt x="1194" y="958"/>
                    </a:lnTo>
                    <a:lnTo>
                      <a:pt x="1196" y="956"/>
                    </a:lnTo>
                    <a:lnTo>
                      <a:pt x="1196" y="956"/>
                    </a:lnTo>
                    <a:lnTo>
                      <a:pt x="1200" y="954"/>
                    </a:lnTo>
                    <a:lnTo>
                      <a:pt x="1202" y="954"/>
                    </a:lnTo>
                    <a:lnTo>
                      <a:pt x="1208" y="954"/>
                    </a:lnTo>
                    <a:lnTo>
                      <a:pt x="1212" y="954"/>
                    </a:lnTo>
                    <a:lnTo>
                      <a:pt x="1218" y="954"/>
                    </a:lnTo>
                    <a:lnTo>
                      <a:pt x="1222" y="956"/>
                    </a:lnTo>
                    <a:lnTo>
                      <a:pt x="1228" y="956"/>
                    </a:lnTo>
                    <a:lnTo>
                      <a:pt x="1230" y="958"/>
                    </a:lnTo>
                    <a:lnTo>
                      <a:pt x="1234" y="958"/>
                    </a:lnTo>
                    <a:lnTo>
                      <a:pt x="1236" y="958"/>
                    </a:lnTo>
                    <a:lnTo>
                      <a:pt x="1242" y="960"/>
                    </a:lnTo>
                    <a:lnTo>
                      <a:pt x="1242" y="960"/>
                    </a:lnTo>
                    <a:lnTo>
                      <a:pt x="1246" y="962"/>
                    </a:lnTo>
                    <a:lnTo>
                      <a:pt x="1248" y="966"/>
                    </a:lnTo>
                    <a:lnTo>
                      <a:pt x="1250" y="968"/>
                    </a:lnTo>
                    <a:lnTo>
                      <a:pt x="1250" y="970"/>
                    </a:lnTo>
                    <a:lnTo>
                      <a:pt x="1252" y="972"/>
                    </a:lnTo>
                    <a:lnTo>
                      <a:pt x="1254" y="976"/>
                    </a:lnTo>
                    <a:lnTo>
                      <a:pt x="1254" y="980"/>
                    </a:lnTo>
                    <a:lnTo>
                      <a:pt x="1254" y="980"/>
                    </a:lnTo>
                    <a:lnTo>
                      <a:pt x="1256" y="980"/>
                    </a:lnTo>
                    <a:lnTo>
                      <a:pt x="1258" y="984"/>
                    </a:lnTo>
                    <a:lnTo>
                      <a:pt x="1258" y="984"/>
                    </a:lnTo>
                    <a:lnTo>
                      <a:pt x="1258" y="984"/>
                    </a:lnTo>
                    <a:lnTo>
                      <a:pt x="1260" y="986"/>
                    </a:lnTo>
                    <a:lnTo>
                      <a:pt x="1260" y="986"/>
                    </a:lnTo>
                    <a:lnTo>
                      <a:pt x="1260" y="988"/>
                    </a:lnTo>
                    <a:lnTo>
                      <a:pt x="1264" y="990"/>
                    </a:lnTo>
                    <a:lnTo>
                      <a:pt x="1264" y="990"/>
                    </a:lnTo>
                    <a:lnTo>
                      <a:pt x="1266" y="990"/>
                    </a:lnTo>
                    <a:lnTo>
                      <a:pt x="1270" y="990"/>
                    </a:lnTo>
                    <a:lnTo>
                      <a:pt x="1270" y="990"/>
                    </a:lnTo>
                    <a:lnTo>
                      <a:pt x="1270" y="990"/>
                    </a:lnTo>
                    <a:lnTo>
                      <a:pt x="1276" y="990"/>
                    </a:lnTo>
                    <a:lnTo>
                      <a:pt x="1284" y="990"/>
                    </a:lnTo>
                    <a:lnTo>
                      <a:pt x="1290" y="990"/>
                    </a:lnTo>
                    <a:lnTo>
                      <a:pt x="1298" y="988"/>
                    </a:lnTo>
                    <a:lnTo>
                      <a:pt x="1304" y="988"/>
                    </a:lnTo>
                    <a:lnTo>
                      <a:pt x="1310" y="988"/>
                    </a:lnTo>
                    <a:lnTo>
                      <a:pt x="1310" y="988"/>
                    </a:lnTo>
                    <a:lnTo>
                      <a:pt x="1316" y="990"/>
                    </a:lnTo>
                    <a:lnTo>
                      <a:pt x="1320" y="992"/>
                    </a:lnTo>
                    <a:lnTo>
                      <a:pt x="1322" y="994"/>
                    </a:lnTo>
                    <a:lnTo>
                      <a:pt x="1324" y="996"/>
                    </a:lnTo>
                    <a:lnTo>
                      <a:pt x="1328" y="1000"/>
                    </a:lnTo>
                    <a:lnTo>
                      <a:pt x="1330" y="1004"/>
                    </a:lnTo>
                    <a:lnTo>
                      <a:pt x="1332" y="1008"/>
                    </a:lnTo>
                    <a:lnTo>
                      <a:pt x="1332" y="1008"/>
                    </a:lnTo>
                    <a:lnTo>
                      <a:pt x="1332" y="1008"/>
                    </a:lnTo>
                    <a:lnTo>
                      <a:pt x="1336" y="1010"/>
                    </a:lnTo>
                    <a:lnTo>
                      <a:pt x="1336" y="1010"/>
                    </a:lnTo>
                    <a:lnTo>
                      <a:pt x="1336" y="1012"/>
                    </a:lnTo>
                    <a:lnTo>
                      <a:pt x="1340" y="1014"/>
                    </a:lnTo>
                    <a:lnTo>
                      <a:pt x="1340" y="1014"/>
                    </a:lnTo>
                    <a:lnTo>
                      <a:pt x="1340" y="1014"/>
                    </a:lnTo>
                    <a:lnTo>
                      <a:pt x="1346" y="1014"/>
                    </a:lnTo>
                    <a:lnTo>
                      <a:pt x="1352" y="1016"/>
                    </a:lnTo>
                    <a:lnTo>
                      <a:pt x="1358" y="1016"/>
                    </a:lnTo>
                    <a:lnTo>
                      <a:pt x="1364" y="1016"/>
                    </a:lnTo>
                    <a:lnTo>
                      <a:pt x="1378" y="1016"/>
                    </a:lnTo>
                    <a:lnTo>
                      <a:pt x="1384" y="1014"/>
                    </a:lnTo>
                    <a:lnTo>
                      <a:pt x="1390" y="1014"/>
                    </a:lnTo>
                    <a:lnTo>
                      <a:pt x="1398" y="1012"/>
                    </a:lnTo>
                    <a:lnTo>
                      <a:pt x="1404" y="1008"/>
                    </a:lnTo>
                    <a:lnTo>
                      <a:pt x="1412" y="1006"/>
                    </a:lnTo>
                    <a:lnTo>
                      <a:pt x="1418" y="1002"/>
                    </a:lnTo>
                    <a:lnTo>
                      <a:pt x="1426" y="998"/>
                    </a:lnTo>
                    <a:lnTo>
                      <a:pt x="1432" y="996"/>
                    </a:lnTo>
                    <a:lnTo>
                      <a:pt x="1438" y="994"/>
                    </a:lnTo>
                    <a:lnTo>
                      <a:pt x="1442" y="992"/>
                    </a:lnTo>
                    <a:lnTo>
                      <a:pt x="1442" y="992"/>
                    </a:lnTo>
                    <a:lnTo>
                      <a:pt x="1446" y="992"/>
                    </a:lnTo>
                    <a:lnTo>
                      <a:pt x="1448" y="992"/>
                    </a:lnTo>
                    <a:lnTo>
                      <a:pt x="1450" y="992"/>
                    </a:lnTo>
                    <a:lnTo>
                      <a:pt x="1450" y="994"/>
                    </a:lnTo>
                    <a:lnTo>
                      <a:pt x="1452" y="996"/>
                    </a:lnTo>
                    <a:lnTo>
                      <a:pt x="1454" y="996"/>
                    </a:lnTo>
                    <a:lnTo>
                      <a:pt x="1454" y="996"/>
                    </a:lnTo>
                    <a:lnTo>
                      <a:pt x="1454" y="996"/>
                    </a:lnTo>
                    <a:lnTo>
                      <a:pt x="1456" y="998"/>
                    </a:lnTo>
                    <a:lnTo>
                      <a:pt x="1456" y="998"/>
                    </a:lnTo>
                    <a:lnTo>
                      <a:pt x="1458" y="998"/>
                    </a:lnTo>
                    <a:lnTo>
                      <a:pt x="1460" y="998"/>
                    </a:lnTo>
                    <a:lnTo>
                      <a:pt x="1464" y="998"/>
                    </a:lnTo>
                    <a:lnTo>
                      <a:pt x="1468" y="1000"/>
                    </a:lnTo>
                    <a:lnTo>
                      <a:pt x="1478" y="1000"/>
                    </a:lnTo>
                    <a:lnTo>
                      <a:pt x="1488" y="1000"/>
                    </a:lnTo>
                    <a:lnTo>
                      <a:pt x="1492" y="998"/>
                    </a:lnTo>
                    <a:lnTo>
                      <a:pt x="1496" y="998"/>
                    </a:lnTo>
                    <a:lnTo>
                      <a:pt x="1498" y="998"/>
                    </a:lnTo>
                    <a:lnTo>
                      <a:pt x="1500" y="998"/>
                    </a:lnTo>
                    <a:lnTo>
                      <a:pt x="1502" y="996"/>
                    </a:lnTo>
                    <a:lnTo>
                      <a:pt x="1504" y="996"/>
                    </a:lnTo>
                    <a:lnTo>
                      <a:pt x="1504" y="996"/>
                    </a:lnTo>
                    <a:lnTo>
                      <a:pt x="1504" y="996"/>
                    </a:lnTo>
                    <a:lnTo>
                      <a:pt x="1506" y="994"/>
                    </a:lnTo>
                    <a:lnTo>
                      <a:pt x="1506" y="994"/>
                    </a:lnTo>
                    <a:lnTo>
                      <a:pt x="1506" y="994"/>
                    </a:lnTo>
                    <a:lnTo>
                      <a:pt x="1508" y="992"/>
                    </a:lnTo>
                    <a:lnTo>
                      <a:pt x="1510" y="990"/>
                    </a:lnTo>
                    <a:lnTo>
                      <a:pt x="1512" y="988"/>
                    </a:lnTo>
                    <a:lnTo>
                      <a:pt x="1514" y="984"/>
                    </a:lnTo>
                    <a:lnTo>
                      <a:pt x="1516" y="980"/>
                    </a:lnTo>
                    <a:lnTo>
                      <a:pt x="1518" y="974"/>
                    </a:lnTo>
                    <a:lnTo>
                      <a:pt x="1522" y="970"/>
                    </a:lnTo>
                    <a:lnTo>
                      <a:pt x="1524" y="964"/>
                    </a:lnTo>
                    <a:lnTo>
                      <a:pt x="1526" y="958"/>
                    </a:lnTo>
                    <a:lnTo>
                      <a:pt x="1528" y="952"/>
                    </a:lnTo>
                    <a:lnTo>
                      <a:pt x="1530" y="946"/>
                    </a:lnTo>
                    <a:lnTo>
                      <a:pt x="1530" y="946"/>
                    </a:lnTo>
                    <a:lnTo>
                      <a:pt x="1530" y="946"/>
                    </a:lnTo>
                    <a:lnTo>
                      <a:pt x="1530" y="940"/>
                    </a:lnTo>
                    <a:lnTo>
                      <a:pt x="1530" y="940"/>
                    </a:lnTo>
                    <a:lnTo>
                      <a:pt x="1528" y="934"/>
                    </a:lnTo>
                    <a:lnTo>
                      <a:pt x="1528" y="930"/>
                    </a:lnTo>
                    <a:lnTo>
                      <a:pt x="1526" y="924"/>
                    </a:lnTo>
                    <a:lnTo>
                      <a:pt x="1524" y="920"/>
                    </a:lnTo>
                    <a:lnTo>
                      <a:pt x="1522" y="916"/>
                    </a:lnTo>
                    <a:lnTo>
                      <a:pt x="1522" y="916"/>
                    </a:lnTo>
                    <a:lnTo>
                      <a:pt x="1522" y="912"/>
                    </a:lnTo>
                    <a:lnTo>
                      <a:pt x="1522" y="912"/>
                    </a:lnTo>
                    <a:lnTo>
                      <a:pt x="1522" y="912"/>
                    </a:lnTo>
                    <a:lnTo>
                      <a:pt x="1524" y="912"/>
                    </a:lnTo>
                    <a:lnTo>
                      <a:pt x="1526" y="910"/>
                    </a:lnTo>
                    <a:lnTo>
                      <a:pt x="1528" y="908"/>
                    </a:lnTo>
                    <a:lnTo>
                      <a:pt x="1528" y="908"/>
                    </a:lnTo>
                    <a:lnTo>
                      <a:pt x="1532" y="906"/>
                    </a:lnTo>
                    <a:lnTo>
                      <a:pt x="1536" y="904"/>
                    </a:lnTo>
                    <a:lnTo>
                      <a:pt x="1542" y="904"/>
                    </a:lnTo>
                    <a:lnTo>
                      <a:pt x="1548" y="904"/>
                    </a:lnTo>
                    <a:lnTo>
                      <a:pt x="1558" y="902"/>
                    </a:lnTo>
                    <a:lnTo>
                      <a:pt x="1564" y="902"/>
                    </a:lnTo>
                    <a:lnTo>
                      <a:pt x="1570" y="902"/>
                    </a:lnTo>
                    <a:lnTo>
                      <a:pt x="1576" y="902"/>
                    </a:lnTo>
                    <a:lnTo>
                      <a:pt x="1582" y="902"/>
                    </a:lnTo>
                    <a:lnTo>
                      <a:pt x="1588" y="904"/>
                    </a:lnTo>
                    <a:lnTo>
                      <a:pt x="1594" y="904"/>
                    </a:lnTo>
                    <a:lnTo>
                      <a:pt x="1598" y="906"/>
                    </a:lnTo>
                    <a:lnTo>
                      <a:pt x="1602" y="908"/>
                    </a:lnTo>
                    <a:lnTo>
                      <a:pt x="1606" y="910"/>
                    </a:lnTo>
                    <a:lnTo>
                      <a:pt x="1604" y="910"/>
                    </a:lnTo>
                    <a:lnTo>
                      <a:pt x="1608" y="914"/>
                    </a:lnTo>
                    <a:lnTo>
                      <a:pt x="1608" y="918"/>
                    </a:lnTo>
                    <a:lnTo>
                      <a:pt x="1610" y="922"/>
                    </a:lnTo>
                    <a:lnTo>
                      <a:pt x="1610" y="928"/>
                    </a:lnTo>
                    <a:lnTo>
                      <a:pt x="1612" y="932"/>
                    </a:lnTo>
                    <a:lnTo>
                      <a:pt x="1612" y="936"/>
                    </a:lnTo>
                    <a:lnTo>
                      <a:pt x="1614" y="940"/>
                    </a:lnTo>
                    <a:lnTo>
                      <a:pt x="1614" y="940"/>
                    </a:lnTo>
                    <a:lnTo>
                      <a:pt x="1614" y="940"/>
                    </a:lnTo>
                    <a:lnTo>
                      <a:pt x="1616" y="944"/>
                    </a:lnTo>
                    <a:lnTo>
                      <a:pt x="1618" y="946"/>
                    </a:lnTo>
                    <a:lnTo>
                      <a:pt x="1618" y="946"/>
                    </a:lnTo>
                    <a:lnTo>
                      <a:pt x="1618" y="946"/>
                    </a:lnTo>
                    <a:lnTo>
                      <a:pt x="1620" y="950"/>
                    </a:lnTo>
                    <a:lnTo>
                      <a:pt x="1622" y="950"/>
                    </a:lnTo>
                    <a:lnTo>
                      <a:pt x="1624" y="952"/>
                    </a:lnTo>
                    <a:lnTo>
                      <a:pt x="1626" y="954"/>
                    </a:lnTo>
                    <a:lnTo>
                      <a:pt x="1626" y="954"/>
                    </a:lnTo>
                    <a:lnTo>
                      <a:pt x="1626" y="956"/>
                    </a:lnTo>
                    <a:lnTo>
                      <a:pt x="1628" y="958"/>
                    </a:lnTo>
                    <a:lnTo>
                      <a:pt x="1628" y="958"/>
                    </a:lnTo>
                    <a:lnTo>
                      <a:pt x="1630" y="962"/>
                    </a:lnTo>
                    <a:lnTo>
                      <a:pt x="1630" y="966"/>
                    </a:lnTo>
                    <a:lnTo>
                      <a:pt x="1632" y="972"/>
                    </a:lnTo>
                    <a:lnTo>
                      <a:pt x="1632" y="978"/>
                    </a:lnTo>
                    <a:lnTo>
                      <a:pt x="1634" y="984"/>
                    </a:lnTo>
                    <a:lnTo>
                      <a:pt x="1634" y="988"/>
                    </a:lnTo>
                    <a:lnTo>
                      <a:pt x="1636" y="994"/>
                    </a:lnTo>
                    <a:lnTo>
                      <a:pt x="1638" y="996"/>
                    </a:lnTo>
                    <a:lnTo>
                      <a:pt x="1638" y="996"/>
                    </a:lnTo>
                    <a:lnTo>
                      <a:pt x="1638" y="998"/>
                    </a:lnTo>
                    <a:lnTo>
                      <a:pt x="1640" y="1000"/>
                    </a:lnTo>
                    <a:lnTo>
                      <a:pt x="1640" y="1000"/>
                    </a:lnTo>
                    <a:lnTo>
                      <a:pt x="1640" y="1000"/>
                    </a:lnTo>
                    <a:lnTo>
                      <a:pt x="1642" y="1002"/>
                    </a:lnTo>
                    <a:lnTo>
                      <a:pt x="1642" y="1002"/>
                    </a:lnTo>
                    <a:lnTo>
                      <a:pt x="1642" y="1004"/>
                    </a:lnTo>
                    <a:lnTo>
                      <a:pt x="1646" y="1006"/>
                    </a:lnTo>
                    <a:lnTo>
                      <a:pt x="1648" y="1006"/>
                    </a:lnTo>
                    <a:lnTo>
                      <a:pt x="1650" y="1008"/>
                    </a:lnTo>
                    <a:lnTo>
                      <a:pt x="1654" y="1010"/>
                    </a:lnTo>
                    <a:lnTo>
                      <a:pt x="1656" y="1010"/>
                    </a:lnTo>
                    <a:lnTo>
                      <a:pt x="1658" y="1010"/>
                    </a:lnTo>
                    <a:lnTo>
                      <a:pt x="1658" y="1010"/>
                    </a:lnTo>
                    <a:lnTo>
                      <a:pt x="1658" y="1010"/>
                    </a:lnTo>
                    <a:lnTo>
                      <a:pt x="1658" y="1010"/>
                    </a:lnTo>
                    <a:lnTo>
                      <a:pt x="1658" y="1010"/>
                    </a:lnTo>
                    <a:lnTo>
                      <a:pt x="1660" y="1010"/>
                    </a:lnTo>
                    <a:lnTo>
                      <a:pt x="1660" y="1010"/>
                    </a:lnTo>
                    <a:lnTo>
                      <a:pt x="1660" y="1010"/>
                    </a:lnTo>
                    <a:lnTo>
                      <a:pt x="1662" y="1008"/>
                    </a:lnTo>
                    <a:lnTo>
                      <a:pt x="1662" y="1010"/>
                    </a:lnTo>
                    <a:lnTo>
                      <a:pt x="1666" y="1012"/>
                    </a:lnTo>
                    <a:lnTo>
                      <a:pt x="1668" y="1014"/>
                    </a:lnTo>
                    <a:lnTo>
                      <a:pt x="1674" y="1018"/>
                    </a:lnTo>
                    <a:lnTo>
                      <a:pt x="1676" y="1022"/>
                    </a:lnTo>
                    <a:lnTo>
                      <a:pt x="1678" y="1024"/>
                    </a:lnTo>
                    <a:lnTo>
                      <a:pt x="1678" y="1024"/>
                    </a:lnTo>
                    <a:lnTo>
                      <a:pt x="1678" y="1026"/>
                    </a:lnTo>
                    <a:lnTo>
                      <a:pt x="1680" y="1030"/>
                    </a:lnTo>
                    <a:lnTo>
                      <a:pt x="1682" y="1036"/>
                    </a:lnTo>
                    <a:lnTo>
                      <a:pt x="1682" y="1040"/>
                    </a:lnTo>
                    <a:lnTo>
                      <a:pt x="1684" y="1044"/>
                    </a:lnTo>
                    <a:lnTo>
                      <a:pt x="1684" y="1046"/>
                    </a:lnTo>
                    <a:lnTo>
                      <a:pt x="1684" y="1046"/>
                    </a:lnTo>
                    <a:lnTo>
                      <a:pt x="1686" y="1046"/>
                    </a:lnTo>
                    <a:lnTo>
                      <a:pt x="1686" y="1048"/>
                    </a:lnTo>
                    <a:lnTo>
                      <a:pt x="1686" y="1048"/>
                    </a:lnTo>
                    <a:lnTo>
                      <a:pt x="1688" y="1048"/>
                    </a:lnTo>
                    <a:lnTo>
                      <a:pt x="1690" y="1050"/>
                    </a:lnTo>
                    <a:lnTo>
                      <a:pt x="1690" y="1050"/>
                    </a:lnTo>
                    <a:lnTo>
                      <a:pt x="1690" y="1050"/>
                    </a:lnTo>
                    <a:lnTo>
                      <a:pt x="1692" y="1050"/>
                    </a:lnTo>
                    <a:lnTo>
                      <a:pt x="1692" y="1050"/>
                    </a:lnTo>
                    <a:lnTo>
                      <a:pt x="1692" y="1050"/>
                    </a:lnTo>
                    <a:lnTo>
                      <a:pt x="1694" y="1050"/>
                    </a:lnTo>
                    <a:lnTo>
                      <a:pt x="1696" y="1050"/>
                    </a:lnTo>
                    <a:lnTo>
                      <a:pt x="1696" y="1050"/>
                    </a:lnTo>
                    <a:lnTo>
                      <a:pt x="1698" y="1050"/>
                    </a:lnTo>
                    <a:lnTo>
                      <a:pt x="1702" y="1048"/>
                    </a:lnTo>
                    <a:lnTo>
                      <a:pt x="1708" y="1046"/>
                    </a:lnTo>
                    <a:lnTo>
                      <a:pt x="1710" y="1044"/>
                    </a:lnTo>
                    <a:lnTo>
                      <a:pt x="1712" y="1044"/>
                    </a:lnTo>
                    <a:lnTo>
                      <a:pt x="1718" y="1040"/>
                    </a:lnTo>
                    <a:lnTo>
                      <a:pt x="1722" y="1036"/>
                    </a:lnTo>
                    <a:lnTo>
                      <a:pt x="1728" y="1032"/>
                    </a:lnTo>
                    <a:lnTo>
                      <a:pt x="1734" y="1028"/>
                    </a:lnTo>
                    <a:lnTo>
                      <a:pt x="1736" y="1026"/>
                    </a:lnTo>
                    <a:lnTo>
                      <a:pt x="1738" y="1026"/>
                    </a:lnTo>
                    <a:lnTo>
                      <a:pt x="1740" y="1024"/>
                    </a:lnTo>
                    <a:lnTo>
                      <a:pt x="1740" y="1026"/>
                    </a:lnTo>
                    <a:lnTo>
                      <a:pt x="1740" y="1028"/>
                    </a:lnTo>
                    <a:lnTo>
                      <a:pt x="1738" y="1032"/>
                    </a:lnTo>
                    <a:lnTo>
                      <a:pt x="1738" y="1036"/>
                    </a:lnTo>
                    <a:lnTo>
                      <a:pt x="1736" y="1040"/>
                    </a:lnTo>
                    <a:lnTo>
                      <a:pt x="1736" y="1044"/>
                    </a:lnTo>
                    <a:lnTo>
                      <a:pt x="1732" y="1056"/>
                    </a:lnTo>
                    <a:lnTo>
                      <a:pt x="1728" y="1066"/>
                    </a:lnTo>
                    <a:lnTo>
                      <a:pt x="1726" y="1070"/>
                    </a:lnTo>
                    <a:lnTo>
                      <a:pt x="1724" y="1076"/>
                    </a:lnTo>
                    <a:lnTo>
                      <a:pt x="1722" y="1080"/>
                    </a:lnTo>
                    <a:lnTo>
                      <a:pt x="1720" y="1084"/>
                    </a:lnTo>
                    <a:lnTo>
                      <a:pt x="1720" y="1088"/>
                    </a:lnTo>
                    <a:lnTo>
                      <a:pt x="1718" y="1090"/>
                    </a:lnTo>
                    <a:lnTo>
                      <a:pt x="1716" y="1092"/>
                    </a:lnTo>
                    <a:lnTo>
                      <a:pt x="1716" y="1092"/>
                    </a:lnTo>
                    <a:lnTo>
                      <a:pt x="1716" y="1092"/>
                    </a:lnTo>
                    <a:lnTo>
                      <a:pt x="1714" y="1092"/>
                    </a:lnTo>
                    <a:lnTo>
                      <a:pt x="1712" y="1094"/>
                    </a:lnTo>
                    <a:lnTo>
                      <a:pt x="1708" y="1092"/>
                    </a:lnTo>
                    <a:lnTo>
                      <a:pt x="1708" y="1092"/>
                    </a:lnTo>
                    <a:lnTo>
                      <a:pt x="1704" y="1092"/>
                    </a:lnTo>
                    <a:lnTo>
                      <a:pt x="1700" y="1090"/>
                    </a:lnTo>
                    <a:lnTo>
                      <a:pt x="1696" y="1090"/>
                    </a:lnTo>
                    <a:lnTo>
                      <a:pt x="1694" y="1090"/>
                    </a:lnTo>
                    <a:lnTo>
                      <a:pt x="1694" y="1090"/>
                    </a:lnTo>
                    <a:lnTo>
                      <a:pt x="1694" y="1090"/>
                    </a:lnTo>
                    <a:lnTo>
                      <a:pt x="1692" y="1090"/>
                    </a:lnTo>
                    <a:lnTo>
                      <a:pt x="1692" y="1090"/>
                    </a:lnTo>
                    <a:lnTo>
                      <a:pt x="1690" y="1090"/>
                    </a:lnTo>
                    <a:lnTo>
                      <a:pt x="1690" y="1092"/>
                    </a:lnTo>
                    <a:lnTo>
                      <a:pt x="1690" y="1092"/>
                    </a:lnTo>
                    <a:lnTo>
                      <a:pt x="1688" y="1092"/>
                    </a:lnTo>
                    <a:lnTo>
                      <a:pt x="1688" y="1094"/>
                    </a:lnTo>
                    <a:lnTo>
                      <a:pt x="1688" y="1094"/>
                    </a:lnTo>
                    <a:lnTo>
                      <a:pt x="1688" y="1094"/>
                    </a:lnTo>
                    <a:lnTo>
                      <a:pt x="1686" y="1096"/>
                    </a:lnTo>
                    <a:lnTo>
                      <a:pt x="1686" y="1100"/>
                    </a:lnTo>
                    <a:lnTo>
                      <a:pt x="1684" y="1102"/>
                    </a:lnTo>
                    <a:lnTo>
                      <a:pt x="1684" y="1106"/>
                    </a:lnTo>
                    <a:lnTo>
                      <a:pt x="1684" y="1112"/>
                    </a:lnTo>
                    <a:lnTo>
                      <a:pt x="1682" y="1120"/>
                    </a:lnTo>
                    <a:lnTo>
                      <a:pt x="1682" y="1128"/>
                    </a:lnTo>
                    <a:lnTo>
                      <a:pt x="1684" y="1134"/>
                    </a:lnTo>
                    <a:lnTo>
                      <a:pt x="1684" y="1138"/>
                    </a:lnTo>
                    <a:lnTo>
                      <a:pt x="1684" y="1140"/>
                    </a:lnTo>
                    <a:lnTo>
                      <a:pt x="1686" y="1142"/>
                    </a:lnTo>
                    <a:lnTo>
                      <a:pt x="1686" y="1142"/>
                    </a:lnTo>
                    <a:lnTo>
                      <a:pt x="1686" y="1144"/>
                    </a:lnTo>
                    <a:lnTo>
                      <a:pt x="1686" y="1144"/>
                    </a:lnTo>
                    <a:lnTo>
                      <a:pt x="1686" y="1144"/>
                    </a:lnTo>
                    <a:lnTo>
                      <a:pt x="1686" y="1146"/>
                    </a:lnTo>
                    <a:lnTo>
                      <a:pt x="1690" y="1148"/>
                    </a:lnTo>
                    <a:lnTo>
                      <a:pt x="1690" y="1148"/>
                    </a:lnTo>
                    <a:lnTo>
                      <a:pt x="1690" y="1148"/>
                    </a:lnTo>
                    <a:lnTo>
                      <a:pt x="1694" y="1150"/>
                    </a:lnTo>
                    <a:lnTo>
                      <a:pt x="1694" y="1150"/>
                    </a:lnTo>
                    <a:lnTo>
                      <a:pt x="1696" y="1150"/>
                    </a:lnTo>
                    <a:lnTo>
                      <a:pt x="1700" y="1152"/>
                    </a:lnTo>
                    <a:lnTo>
                      <a:pt x="1700" y="1152"/>
                    </a:lnTo>
                    <a:lnTo>
                      <a:pt x="1706" y="1152"/>
                    </a:lnTo>
                    <a:lnTo>
                      <a:pt x="1712" y="1152"/>
                    </a:lnTo>
                    <a:lnTo>
                      <a:pt x="1718" y="1152"/>
                    </a:lnTo>
                    <a:lnTo>
                      <a:pt x="1724" y="1150"/>
                    </a:lnTo>
                    <a:lnTo>
                      <a:pt x="1730" y="1148"/>
                    </a:lnTo>
                    <a:lnTo>
                      <a:pt x="1736" y="1146"/>
                    </a:lnTo>
                    <a:lnTo>
                      <a:pt x="1740" y="1142"/>
                    </a:lnTo>
                    <a:lnTo>
                      <a:pt x="1746" y="1138"/>
                    </a:lnTo>
                    <a:lnTo>
                      <a:pt x="1750" y="1134"/>
                    </a:lnTo>
                    <a:lnTo>
                      <a:pt x="1756" y="1130"/>
                    </a:lnTo>
                    <a:lnTo>
                      <a:pt x="1760" y="1124"/>
                    </a:lnTo>
                    <a:lnTo>
                      <a:pt x="1766" y="1116"/>
                    </a:lnTo>
                    <a:lnTo>
                      <a:pt x="1772" y="1110"/>
                    </a:lnTo>
                    <a:lnTo>
                      <a:pt x="1774" y="1104"/>
                    </a:lnTo>
                    <a:lnTo>
                      <a:pt x="1778" y="1100"/>
                    </a:lnTo>
                    <a:lnTo>
                      <a:pt x="1782" y="1094"/>
                    </a:lnTo>
                    <a:lnTo>
                      <a:pt x="1786" y="1088"/>
                    </a:lnTo>
                    <a:lnTo>
                      <a:pt x="1794" y="1074"/>
                    </a:lnTo>
                    <a:lnTo>
                      <a:pt x="1804" y="1060"/>
                    </a:lnTo>
                    <a:lnTo>
                      <a:pt x="1812" y="1048"/>
                    </a:lnTo>
                    <a:lnTo>
                      <a:pt x="1820" y="1034"/>
                    </a:lnTo>
                    <a:lnTo>
                      <a:pt x="1824" y="1028"/>
                    </a:lnTo>
                    <a:lnTo>
                      <a:pt x="1826" y="1022"/>
                    </a:lnTo>
                    <a:lnTo>
                      <a:pt x="1830" y="1016"/>
                    </a:lnTo>
                    <a:lnTo>
                      <a:pt x="1832" y="1012"/>
                    </a:lnTo>
                    <a:lnTo>
                      <a:pt x="1834" y="1008"/>
                    </a:lnTo>
                    <a:lnTo>
                      <a:pt x="1834" y="1004"/>
                    </a:lnTo>
                    <a:lnTo>
                      <a:pt x="1836" y="1000"/>
                    </a:lnTo>
                    <a:lnTo>
                      <a:pt x="1836" y="996"/>
                    </a:lnTo>
                    <a:lnTo>
                      <a:pt x="1836" y="992"/>
                    </a:lnTo>
                    <a:lnTo>
                      <a:pt x="1836" y="986"/>
                    </a:lnTo>
                    <a:lnTo>
                      <a:pt x="1834" y="984"/>
                    </a:lnTo>
                    <a:lnTo>
                      <a:pt x="1832" y="980"/>
                    </a:lnTo>
                    <a:lnTo>
                      <a:pt x="1832" y="976"/>
                    </a:lnTo>
                    <a:lnTo>
                      <a:pt x="1832" y="976"/>
                    </a:lnTo>
                    <a:lnTo>
                      <a:pt x="1832" y="972"/>
                    </a:lnTo>
                    <a:lnTo>
                      <a:pt x="1832" y="968"/>
                    </a:lnTo>
                    <a:lnTo>
                      <a:pt x="1834" y="962"/>
                    </a:lnTo>
                    <a:lnTo>
                      <a:pt x="1836" y="952"/>
                    </a:lnTo>
                    <a:lnTo>
                      <a:pt x="1838" y="946"/>
                    </a:lnTo>
                    <a:lnTo>
                      <a:pt x="1840" y="940"/>
                    </a:lnTo>
                    <a:lnTo>
                      <a:pt x="1840" y="936"/>
                    </a:lnTo>
                    <a:lnTo>
                      <a:pt x="1840" y="930"/>
                    </a:lnTo>
                    <a:lnTo>
                      <a:pt x="1842" y="926"/>
                    </a:lnTo>
                    <a:lnTo>
                      <a:pt x="1842" y="924"/>
                    </a:lnTo>
                    <a:lnTo>
                      <a:pt x="1840" y="920"/>
                    </a:lnTo>
                    <a:lnTo>
                      <a:pt x="1840" y="918"/>
                    </a:lnTo>
                    <a:lnTo>
                      <a:pt x="1840" y="918"/>
                    </a:lnTo>
                    <a:lnTo>
                      <a:pt x="1840" y="918"/>
                    </a:lnTo>
                    <a:lnTo>
                      <a:pt x="1838" y="912"/>
                    </a:lnTo>
                    <a:lnTo>
                      <a:pt x="1836" y="908"/>
                    </a:lnTo>
                    <a:lnTo>
                      <a:pt x="1834" y="904"/>
                    </a:lnTo>
                    <a:lnTo>
                      <a:pt x="1832" y="902"/>
                    </a:lnTo>
                    <a:lnTo>
                      <a:pt x="1826" y="896"/>
                    </a:lnTo>
                    <a:lnTo>
                      <a:pt x="1822" y="892"/>
                    </a:lnTo>
                    <a:lnTo>
                      <a:pt x="1818" y="890"/>
                    </a:lnTo>
                    <a:lnTo>
                      <a:pt x="1816" y="888"/>
                    </a:lnTo>
                    <a:lnTo>
                      <a:pt x="1814" y="888"/>
                    </a:lnTo>
                    <a:lnTo>
                      <a:pt x="1814" y="888"/>
                    </a:lnTo>
                    <a:lnTo>
                      <a:pt x="1814" y="886"/>
                    </a:lnTo>
                    <a:lnTo>
                      <a:pt x="1812" y="886"/>
                    </a:lnTo>
                    <a:lnTo>
                      <a:pt x="1812" y="886"/>
                    </a:lnTo>
                    <a:lnTo>
                      <a:pt x="1812" y="886"/>
                    </a:lnTo>
                    <a:lnTo>
                      <a:pt x="1808" y="886"/>
                    </a:lnTo>
                    <a:lnTo>
                      <a:pt x="1808" y="886"/>
                    </a:lnTo>
                    <a:lnTo>
                      <a:pt x="1806" y="886"/>
                    </a:lnTo>
                    <a:lnTo>
                      <a:pt x="1804" y="888"/>
                    </a:lnTo>
                    <a:lnTo>
                      <a:pt x="1804" y="888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2" y="888"/>
                    </a:lnTo>
                    <a:lnTo>
                      <a:pt x="1800" y="888"/>
                    </a:lnTo>
                    <a:lnTo>
                      <a:pt x="1800" y="890"/>
                    </a:lnTo>
                    <a:lnTo>
                      <a:pt x="1800" y="890"/>
                    </a:lnTo>
                    <a:lnTo>
                      <a:pt x="1800" y="890"/>
                    </a:lnTo>
                    <a:lnTo>
                      <a:pt x="1798" y="892"/>
                    </a:lnTo>
                    <a:lnTo>
                      <a:pt x="1798" y="892"/>
                    </a:lnTo>
                    <a:lnTo>
                      <a:pt x="1798" y="894"/>
                    </a:lnTo>
                    <a:lnTo>
                      <a:pt x="1798" y="896"/>
                    </a:lnTo>
                    <a:lnTo>
                      <a:pt x="1798" y="898"/>
                    </a:lnTo>
                    <a:lnTo>
                      <a:pt x="1800" y="902"/>
                    </a:lnTo>
                    <a:lnTo>
                      <a:pt x="1800" y="904"/>
                    </a:lnTo>
                    <a:lnTo>
                      <a:pt x="1800" y="906"/>
                    </a:lnTo>
                    <a:lnTo>
                      <a:pt x="1800" y="908"/>
                    </a:lnTo>
                    <a:lnTo>
                      <a:pt x="1798" y="908"/>
                    </a:lnTo>
                    <a:lnTo>
                      <a:pt x="1798" y="908"/>
                    </a:lnTo>
                    <a:lnTo>
                      <a:pt x="1796" y="908"/>
                    </a:lnTo>
                    <a:lnTo>
                      <a:pt x="1794" y="908"/>
                    </a:lnTo>
                    <a:lnTo>
                      <a:pt x="1792" y="906"/>
                    </a:lnTo>
                    <a:lnTo>
                      <a:pt x="1792" y="906"/>
                    </a:lnTo>
                    <a:lnTo>
                      <a:pt x="1792" y="904"/>
                    </a:lnTo>
                    <a:lnTo>
                      <a:pt x="1792" y="904"/>
                    </a:lnTo>
                    <a:lnTo>
                      <a:pt x="1792" y="904"/>
                    </a:lnTo>
                    <a:lnTo>
                      <a:pt x="1792" y="900"/>
                    </a:lnTo>
                    <a:lnTo>
                      <a:pt x="1794" y="894"/>
                    </a:lnTo>
                    <a:lnTo>
                      <a:pt x="1796" y="890"/>
                    </a:lnTo>
                    <a:lnTo>
                      <a:pt x="1798" y="884"/>
                    </a:lnTo>
                    <a:lnTo>
                      <a:pt x="1798" y="880"/>
                    </a:lnTo>
                    <a:lnTo>
                      <a:pt x="1800" y="876"/>
                    </a:lnTo>
                    <a:lnTo>
                      <a:pt x="1800" y="874"/>
                    </a:lnTo>
                    <a:lnTo>
                      <a:pt x="1800" y="874"/>
                    </a:lnTo>
                    <a:lnTo>
                      <a:pt x="1800" y="872"/>
                    </a:lnTo>
                    <a:lnTo>
                      <a:pt x="1800" y="872"/>
                    </a:lnTo>
                    <a:lnTo>
                      <a:pt x="1798" y="870"/>
                    </a:lnTo>
                    <a:lnTo>
                      <a:pt x="1798" y="870"/>
                    </a:lnTo>
                    <a:lnTo>
                      <a:pt x="1798" y="870"/>
                    </a:lnTo>
                    <a:lnTo>
                      <a:pt x="1796" y="870"/>
                    </a:lnTo>
                    <a:lnTo>
                      <a:pt x="1794" y="870"/>
                    </a:lnTo>
                    <a:lnTo>
                      <a:pt x="1794" y="870"/>
                    </a:lnTo>
                    <a:lnTo>
                      <a:pt x="1794" y="870"/>
                    </a:lnTo>
                    <a:lnTo>
                      <a:pt x="1792" y="872"/>
                    </a:lnTo>
                    <a:lnTo>
                      <a:pt x="1790" y="872"/>
                    </a:lnTo>
                    <a:lnTo>
                      <a:pt x="1786" y="876"/>
                    </a:lnTo>
                    <a:lnTo>
                      <a:pt x="1782" y="878"/>
                    </a:lnTo>
                    <a:lnTo>
                      <a:pt x="1780" y="878"/>
                    </a:lnTo>
                    <a:lnTo>
                      <a:pt x="1778" y="880"/>
                    </a:lnTo>
                    <a:lnTo>
                      <a:pt x="1772" y="880"/>
                    </a:lnTo>
                    <a:lnTo>
                      <a:pt x="1768" y="880"/>
                    </a:lnTo>
                    <a:lnTo>
                      <a:pt x="1764" y="880"/>
                    </a:lnTo>
                    <a:lnTo>
                      <a:pt x="1758" y="880"/>
                    </a:lnTo>
                    <a:lnTo>
                      <a:pt x="1754" y="880"/>
                    </a:lnTo>
                    <a:lnTo>
                      <a:pt x="1752" y="880"/>
                    </a:lnTo>
                    <a:lnTo>
                      <a:pt x="1750" y="880"/>
                    </a:lnTo>
                    <a:lnTo>
                      <a:pt x="1748" y="880"/>
                    </a:lnTo>
                    <a:lnTo>
                      <a:pt x="1748" y="878"/>
                    </a:lnTo>
                    <a:lnTo>
                      <a:pt x="1750" y="878"/>
                    </a:lnTo>
                    <a:lnTo>
                      <a:pt x="1750" y="876"/>
                    </a:lnTo>
                    <a:lnTo>
                      <a:pt x="1754" y="872"/>
                    </a:lnTo>
                    <a:lnTo>
                      <a:pt x="1754" y="872"/>
                    </a:lnTo>
                    <a:lnTo>
                      <a:pt x="1758" y="868"/>
                    </a:lnTo>
                    <a:lnTo>
                      <a:pt x="1760" y="866"/>
                    </a:lnTo>
                    <a:lnTo>
                      <a:pt x="1762" y="864"/>
                    </a:lnTo>
                    <a:lnTo>
                      <a:pt x="1770" y="860"/>
                    </a:lnTo>
                    <a:lnTo>
                      <a:pt x="1772" y="858"/>
                    </a:lnTo>
                    <a:lnTo>
                      <a:pt x="1776" y="854"/>
                    </a:lnTo>
                    <a:lnTo>
                      <a:pt x="1780" y="850"/>
                    </a:lnTo>
                    <a:lnTo>
                      <a:pt x="1786" y="846"/>
                    </a:lnTo>
                    <a:lnTo>
                      <a:pt x="1790" y="842"/>
                    </a:lnTo>
                    <a:lnTo>
                      <a:pt x="1794" y="838"/>
                    </a:lnTo>
                    <a:lnTo>
                      <a:pt x="1796" y="836"/>
                    </a:lnTo>
                    <a:lnTo>
                      <a:pt x="1796" y="836"/>
                    </a:lnTo>
                    <a:lnTo>
                      <a:pt x="1796" y="836"/>
                    </a:lnTo>
                    <a:lnTo>
                      <a:pt x="1798" y="834"/>
                    </a:lnTo>
                    <a:lnTo>
                      <a:pt x="1798" y="834"/>
                    </a:lnTo>
                    <a:lnTo>
                      <a:pt x="1798" y="834"/>
                    </a:lnTo>
                    <a:lnTo>
                      <a:pt x="1798" y="830"/>
                    </a:lnTo>
                    <a:lnTo>
                      <a:pt x="1800" y="826"/>
                    </a:lnTo>
                    <a:lnTo>
                      <a:pt x="1800" y="828"/>
                    </a:lnTo>
                    <a:lnTo>
                      <a:pt x="1800" y="826"/>
                    </a:lnTo>
                    <a:lnTo>
                      <a:pt x="1802" y="824"/>
                    </a:lnTo>
                    <a:lnTo>
                      <a:pt x="1802" y="824"/>
                    </a:lnTo>
                    <a:lnTo>
                      <a:pt x="1804" y="822"/>
                    </a:lnTo>
                    <a:lnTo>
                      <a:pt x="1808" y="820"/>
                    </a:lnTo>
                    <a:lnTo>
                      <a:pt x="1812" y="818"/>
                    </a:lnTo>
                    <a:lnTo>
                      <a:pt x="1814" y="816"/>
                    </a:lnTo>
                    <a:lnTo>
                      <a:pt x="1816" y="816"/>
                    </a:lnTo>
                    <a:lnTo>
                      <a:pt x="1818" y="814"/>
                    </a:lnTo>
                    <a:lnTo>
                      <a:pt x="1818" y="812"/>
                    </a:lnTo>
                    <a:lnTo>
                      <a:pt x="1818" y="812"/>
                    </a:lnTo>
                    <a:lnTo>
                      <a:pt x="1818" y="812"/>
                    </a:lnTo>
                    <a:lnTo>
                      <a:pt x="1820" y="810"/>
                    </a:lnTo>
                    <a:lnTo>
                      <a:pt x="1822" y="808"/>
                    </a:lnTo>
                    <a:lnTo>
                      <a:pt x="1822" y="806"/>
                    </a:lnTo>
                    <a:lnTo>
                      <a:pt x="1824" y="804"/>
                    </a:lnTo>
                    <a:lnTo>
                      <a:pt x="1828" y="800"/>
                    </a:lnTo>
                    <a:lnTo>
                      <a:pt x="1828" y="800"/>
                    </a:lnTo>
                    <a:lnTo>
                      <a:pt x="1830" y="800"/>
                    </a:lnTo>
                    <a:lnTo>
                      <a:pt x="1832" y="796"/>
                    </a:lnTo>
                    <a:lnTo>
                      <a:pt x="1832" y="796"/>
                    </a:lnTo>
                    <a:lnTo>
                      <a:pt x="1832" y="796"/>
                    </a:lnTo>
                    <a:lnTo>
                      <a:pt x="1832" y="794"/>
                    </a:lnTo>
                    <a:lnTo>
                      <a:pt x="1832" y="792"/>
                    </a:lnTo>
                    <a:lnTo>
                      <a:pt x="1834" y="788"/>
                    </a:lnTo>
                    <a:lnTo>
                      <a:pt x="1834" y="786"/>
                    </a:lnTo>
                    <a:lnTo>
                      <a:pt x="1834" y="784"/>
                    </a:lnTo>
                    <a:lnTo>
                      <a:pt x="1834" y="782"/>
                    </a:lnTo>
                    <a:lnTo>
                      <a:pt x="1836" y="782"/>
                    </a:lnTo>
                    <a:lnTo>
                      <a:pt x="1836" y="782"/>
                    </a:lnTo>
                    <a:lnTo>
                      <a:pt x="1838" y="782"/>
                    </a:lnTo>
                    <a:lnTo>
                      <a:pt x="1842" y="784"/>
                    </a:lnTo>
                    <a:lnTo>
                      <a:pt x="1842" y="784"/>
                    </a:lnTo>
                    <a:lnTo>
                      <a:pt x="1842" y="784"/>
                    </a:lnTo>
                    <a:lnTo>
                      <a:pt x="1844" y="784"/>
                    </a:lnTo>
                    <a:lnTo>
                      <a:pt x="1844" y="784"/>
                    </a:lnTo>
                    <a:lnTo>
                      <a:pt x="1844" y="784"/>
                    </a:lnTo>
                    <a:lnTo>
                      <a:pt x="1846" y="782"/>
                    </a:lnTo>
                    <a:lnTo>
                      <a:pt x="1846" y="782"/>
                    </a:lnTo>
                    <a:lnTo>
                      <a:pt x="1848" y="782"/>
                    </a:lnTo>
                    <a:lnTo>
                      <a:pt x="1848" y="782"/>
                    </a:lnTo>
                    <a:lnTo>
                      <a:pt x="1848" y="782"/>
                    </a:lnTo>
                    <a:lnTo>
                      <a:pt x="1848" y="780"/>
                    </a:lnTo>
                    <a:lnTo>
                      <a:pt x="1850" y="778"/>
                    </a:lnTo>
                    <a:lnTo>
                      <a:pt x="1850" y="778"/>
                    </a:lnTo>
                    <a:lnTo>
                      <a:pt x="1850" y="778"/>
                    </a:lnTo>
                    <a:lnTo>
                      <a:pt x="1850" y="774"/>
                    </a:lnTo>
                    <a:lnTo>
                      <a:pt x="1850" y="772"/>
                    </a:lnTo>
                    <a:lnTo>
                      <a:pt x="1850" y="770"/>
                    </a:lnTo>
                    <a:lnTo>
                      <a:pt x="1850" y="770"/>
                    </a:lnTo>
                    <a:lnTo>
                      <a:pt x="1854" y="764"/>
                    </a:lnTo>
                    <a:lnTo>
                      <a:pt x="1854" y="760"/>
                    </a:lnTo>
                    <a:lnTo>
                      <a:pt x="1856" y="758"/>
                    </a:lnTo>
                    <a:lnTo>
                      <a:pt x="1856" y="760"/>
                    </a:lnTo>
                    <a:lnTo>
                      <a:pt x="1856" y="758"/>
                    </a:lnTo>
                    <a:lnTo>
                      <a:pt x="1858" y="758"/>
                    </a:lnTo>
                    <a:lnTo>
                      <a:pt x="1862" y="756"/>
                    </a:lnTo>
                    <a:lnTo>
                      <a:pt x="1866" y="754"/>
                    </a:lnTo>
                    <a:lnTo>
                      <a:pt x="1870" y="754"/>
                    </a:lnTo>
                    <a:lnTo>
                      <a:pt x="1874" y="754"/>
                    </a:lnTo>
                    <a:lnTo>
                      <a:pt x="1878" y="754"/>
                    </a:lnTo>
                    <a:lnTo>
                      <a:pt x="1884" y="754"/>
                    </a:lnTo>
                    <a:lnTo>
                      <a:pt x="1888" y="754"/>
                    </a:lnTo>
                    <a:lnTo>
                      <a:pt x="1892" y="754"/>
                    </a:lnTo>
                    <a:lnTo>
                      <a:pt x="1896" y="754"/>
                    </a:lnTo>
                    <a:lnTo>
                      <a:pt x="1900" y="754"/>
                    </a:lnTo>
                    <a:lnTo>
                      <a:pt x="1902" y="754"/>
                    </a:lnTo>
                    <a:lnTo>
                      <a:pt x="1902" y="754"/>
                    </a:lnTo>
                    <a:lnTo>
                      <a:pt x="1904" y="756"/>
                    </a:lnTo>
                    <a:lnTo>
                      <a:pt x="1904" y="754"/>
                    </a:lnTo>
                    <a:lnTo>
                      <a:pt x="1906" y="758"/>
                    </a:lnTo>
                    <a:lnTo>
                      <a:pt x="1908" y="760"/>
                    </a:lnTo>
                    <a:lnTo>
                      <a:pt x="1908" y="760"/>
                    </a:lnTo>
                    <a:lnTo>
                      <a:pt x="1910" y="762"/>
                    </a:lnTo>
                    <a:lnTo>
                      <a:pt x="1910" y="762"/>
                    </a:lnTo>
                    <a:lnTo>
                      <a:pt x="1910" y="762"/>
                    </a:lnTo>
                    <a:lnTo>
                      <a:pt x="1910" y="762"/>
                    </a:lnTo>
                    <a:lnTo>
                      <a:pt x="1910" y="762"/>
                    </a:lnTo>
                    <a:lnTo>
                      <a:pt x="1912" y="762"/>
                    </a:lnTo>
                    <a:lnTo>
                      <a:pt x="1912" y="762"/>
                    </a:lnTo>
                    <a:lnTo>
                      <a:pt x="1914" y="762"/>
                    </a:lnTo>
                    <a:lnTo>
                      <a:pt x="1914" y="760"/>
                    </a:lnTo>
                    <a:lnTo>
                      <a:pt x="1914" y="760"/>
                    </a:lnTo>
                    <a:lnTo>
                      <a:pt x="1916" y="760"/>
                    </a:lnTo>
                    <a:lnTo>
                      <a:pt x="1916" y="758"/>
                    </a:lnTo>
                    <a:lnTo>
                      <a:pt x="1914" y="756"/>
                    </a:lnTo>
                    <a:lnTo>
                      <a:pt x="1916" y="758"/>
                    </a:lnTo>
                    <a:lnTo>
                      <a:pt x="1918" y="760"/>
                    </a:lnTo>
                    <a:lnTo>
                      <a:pt x="1918" y="760"/>
                    </a:lnTo>
                    <a:lnTo>
                      <a:pt x="1918" y="760"/>
                    </a:lnTo>
                    <a:lnTo>
                      <a:pt x="1920" y="762"/>
                    </a:lnTo>
                    <a:lnTo>
                      <a:pt x="1920" y="762"/>
                    </a:lnTo>
                    <a:lnTo>
                      <a:pt x="1922" y="762"/>
                    </a:lnTo>
                    <a:lnTo>
                      <a:pt x="1924" y="762"/>
                    </a:lnTo>
                    <a:lnTo>
                      <a:pt x="1924" y="762"/>
                    </a:lnTo>
                    <a:lnTo>
                      <a:pt x="1924" y="762"/>
                    </a:lnTo>
                    <a:lnTo>
                      <a:pt x="1926" y="762"/>
                    </a:lnTo>
                    <a:lnTo>
                      <a:pt x="1930" y="760"/>
                    </a:lnTo>
                    <a:lnTo>
                      <a:pt x="1934" y="758"/>
                    </a:lnTo>
                    <a:lnTo>
                      <a:pt x="1938" y="756"/>
                    </a:lnTo>
                    <a:lnTo>
                      <a:pt x="1940" y="756"/>
                    </a:lnTo>
                    <a:lnTo>
                      <a:pt x="1942" y="756"/>
                    </a:lnTo>
                    <a:lnTo>
                      <a:pt x="1942" y="756"/>
                    </a:lnTo>
                    <a:lnTo>
                      <a:pt x="1944" y="756"/>
                    </a:lnTo>
                    <a:lnTo>
                      <a:pt x="1946" y="756"/>
                    </a:lnTo>
                    <a:lnTo>
                      <a:pt x="1950" y="756"/>
                    </a:lnTo>
                    <a:lnTo>
                      <a:pt x="1954" y="758"/>
                    </a:lnTo>
                    <a:lnTo>
                      <a:pt x="1954" y="758"/>
                    </a:lnTo>
                    <a:lnTo>
                      <a:pt x="1954" y="758"/>
                    </a:lnTo>
                    <a:lnTo>
                      <a:pt x="1956" y="758"/>
                    </a:lnTo>
                    <a:lnTo>
                      <a:pt x="1956" y="758"/>
                    </a:lnTo>
                    <a:lnTo>
                      <a:pt x="1956" y="758"/>
                    </a:lnTo>
                    <a:lnTo>
                      <a:pt x="1958" y="756"/>
                    </a:lnTo>
                    <a:lnTo>
                      <a:pt x="1958" y="756"/>
                    </a:lnTo>
                    <a:lnTo>
                      <a:pt x="1960" y="756"/>
                    </a:lnTo>
                    <a:lnTo>
                      <a:pt x="1960" y="754"/>
                    </a:lnTo>
                    <a:lnTo>
                      <a:pt x="1960" y="754"/>
                    </a:lnTo>
                    <a:lnTo>
                      <a:pt x="1960" y="754"/>
                    </a:lnTo>
                    <a:lnTo>
                      <a:pt x="1960" y="752"/>
                    </a:lnTo>
                    <a:lnTo>
                      <a:pt x="1960" y="752"/>
                    </a:lnTo>
                    <a:lnTo>
                      <a:pt x="1960" y="750"/>
                    </a:lnTo>
                    <a:lnTo>
                      <a:pt x="1960" y="748"/>
                    </a:lnTo>
                    <a:lnTo>
                      <a:pt x="1960" y="746"/>
                    </a:lnTo>
                    <a:lnTo>
                      <a:pt x="1960" y="744"/>
                    </a:lnTo>
                    <a:lnTo>
                      <a:pt x="1960" y="742"/>
                    </a:lnTo>
                    <a:lnTo>
                      <a:pt x="1960" y="740"/>
                    </a:lnTo>
                    <a:lnTo>
                      <a:pt x="1960" y="740"/>
                    </a:lnTo>
                    <a:lnTo>
                      <a:pt x="1962" y="740"/>
                    </a:lnTo>
                    <a:lnTo>
                      <a:pt x="1964" y="740"/>
                    </a:lnTo>
                    <a:lnTo>
                      <a:pt x="1964" y="740"/>
                    </a:lnTo>
                    <a:lnTo>
                      <a:pt x="1966" y="742"/>
                    </a:lnTo>
                    <a:lnTo>
                      <a:pt x="1968" y="742"/>
                    </a:lnTo>
                    <a:lnTo>
                      <a:pt x="1970" y="744"/>
                    </a:lnTo>
                    <a:lnTo>
                      <a:pt x="1976" y="748"/>
                    </a:lnTo>
                    <a:lnTo>
                      <a:pt x="1982" y="752"/>
                    </a:lnTo>
                    <a:lnTo>
                      <a:pt x="1984" y="754"/>
                    </a:lnTo>
                    <a:lnTo>
                      <a:pt x="1986" y="756"/>
                    </a:lnTo>
                    <a:lnTo>
                      <a:pt x="1988" y="758"/>
                    </a:lnTo>
                    <a:lnTo>
                      <a:pt x="1988" y="758"/>
                    </a:lnTo>
                    <a:lnTo>
                      <a:pt x="1990" y="762"/>
                    </a:lnTo>
                    <a:lnTo>
                      <a:pt x="1992" y="764"/>
                    </a:lnTo>
                    <a:lnTo>
                      <a:pt x="1992" y="764"/>
                    </a:lnTo>
                    <a:lnTo>
                      <a:pt x="1994" y="764"/>
                    </a:lnTo>
                    <a:lnTo>
                      <a:pt x="1996" y="764"/>
                    </a:lnTo>
                    <a:lnTo>
                      <a:pt x="1996" y="764"/>
                    </a:lnTo>
                    <a:lnTo>
                      <a:pt x="1996" y="766"/>
                    </a:lnTo>
                    <a:lnTo>
                      <a:pt x="1998" y="766"/>
                    </a:lnTo>
                    <a:lnTo>
                      <a:pt x="1998" y="766"/>
                    </a:lnTo>
                    <a:lnTo>
                      <a:pt x="1998" y="766"/>
                    </a:lnTo>
                    <a:lnTo>
                      <a:pt x="2000" y="766"/>
                    </a:lnTo>
                    <a:lnTo>
                      <a:pt x="2000" y="766"/>
                    </a:lnTo>
                    <a:lnTo>
                      <a:pt x="2002" y="766"/>
                    </a:lnTo>
                    <a:lnTo>
                      <a:pt x="2002" y="766"/>
                    </a:lnTo>
                    <a:lnTo>
                      <a:pt x="2004" y="766"/>
                    </a:lnTo>
                    <a:lnTo>
                      <a:pt x="2008" y="764"/>
                    </a:lnTo>
                    <a:lnTo>
                      <a:pt x="2012" y="762"/>
                    </a:lnTo>
                    <a:lnTo>
                      <a:pt x="2018" y="760"/>
                    </a:lnTo>
                    <a:lnTo>
                      <a:pt x="2018" y="760"/>
                    </a:lnTo>
                    <a:lnTo>
                      <a:pt x="2022" y="758"/>
                    </a:lnTo>
                    <a:lnTo>
                      <a:pt x="2028" y="758"/>
                    </a:lnTo>
                    <a:lnTo>
                      <a:pt x="2030" y="758"/>
                    </a:lnTo>
                    <a:lnTo>
                      <a:pt x="2032" y="758"/>
                    </a:lnTo>
                    <a:lnTo>
                      <a:pt x="2032" y="758"/>
                    </a:lnTo>
                    <a:lnTo>
                      <a:pt x="2034" y="758"/>
                    </a:lnTo>
                    <a:lnTo>
                      <a:pt x="2036" y="758"/>
                    </a:lnTo>
                    <a:lnTo>
                      <a:pt x="2036" y="758"/>
                    </a:lnTo>
                    <a:lnTo>
                      <a:pt x="2036" y="756"/>
                    </a:lnTo>
                    <a:lnTo>
                      <a:pt x="2038" y="756"/>
                    </a:lnTo>
                    <a:lnTo>
                      <a:pt x="2038" y="756"/>
                    </a:lnTo>
                    <a:lnTo>
                      <a:pt x="2038" y="754"/>
                    </a:lnTo>
                    <a:lnTo>
                      <a:pt x="2040" y="752"/>
                    </a:lnTo>
                    <a:lnTo>
                      <a:pt x="2040" y="752"/>
                    </a:lnTo>
                    <a:lnTo>
                      <a:pt x="2040" y="752"/>
                    </a:lnTo>
                    <a:lnTo>
                      <a:pt x="2042" y="748"/>
                    </a:lnTo>
                    <a:lnTo>
                      <a:pt x="2042" y="744"/>
                    </a:lnTo>
                    <a:lnTo>
                      <a:pt x="2042" y="742"/>
                    </a:lnTo>
                    <a:lnTo>
                      <a:pt x="2042" y="734"/>
                    </a:lnTo>
                    <a:lnTo>
                      <a:pt x="2044" y="730"/>
                    </a:lnTo>
                    <a:lnTo>
                      <a:pt x="2044" y="732"/>
                    </a:lnTo>
                    <a:lnTo>
                      <a:pt x="2044" y="728"/>
                    </a:lnTo>
                    <a:lnTo>
                      <a:pt x="2046" y="726"/>
                    </a:lnTo>
                    <a:lnTo>
                      <a:pt x="2046" y="726"/>
                    </a:lnTo>
                    <a:lnTo>
                      <a:pt x="2048" y="724"/>
                    </a:lnTo>
                    <a:lnTo>
                      <a:pt x="2048" y="726"/>
                    </a:lnTo>
                    <a:lnTo>
                      <a:pt x="2054" y="722"/>
                    </a:lnTo>
                    <a:lnTo>
                      <a:pt x="2058" y="720"/>
                    </a:lnTo>
                    <a:lnTo>
                      <a:pt x="2060" y="718"/>
                    </a:lnTo>
                    <a:lnTo>
                      <a:pt x="2060" y="718"/>
                    </a:lnTo>
                    <a:lnTo>
                      <a:pt x="2062" y="718"/>
                    </a:lnTo>
                    <a:lnTo>
                      <a:pt x="2062" y="716"/>
                    </a:lnTo>
                    <a:lnTo>
                      <a:pt x="2062" y="716"/>
                    </a:lnTo>
                    <a:lnTo>
                      <a:pt x="2064" y="716"/>
                    </a:lnTo>
                    <a:lnTo>
                      <a:pt x="2064" y="714"/>
                    </a:lnTo>
                    <a:lnTo>
                      <a:pt x="2066" y="712"/>
                    </a:lnTo>
                    <a:lnTo>
                      <a:pt x="2066" y="712"/>
                    </a:lnTo>
                    <a:lnTo>
                      <a:pt x="2066" y="712"/>
                    </a:lnTo>
                    <a:lnTo>
                      <a:pt x="2068" y="708"/>
                    </a:lnTo>
                    <a:lnTo>
                      <a:pt x="2068" y="706"/>
                    </a:lnTo>
                    <a:lnTo>
                      <a:pt x="2070" y="704"/>
                    </a:lnTo>
                    <a:lnTo>
                      <a:pt x="2072" y="700"/>
                    </a:lnTo>
                    <a:lnTo>
                      <a:pt x="2072" y="696"/>
                    </a:lnTo>
                    <a:lnTo>
                      <a:pt x="2074" y="694"/>
                    </a:lnTo>
                    <a:lnTo>
                      <a:pt x="2076" y="692"/>
                    </a:lnTo>
                    <a:lnTo>
                      <a:pt x="2076" y="690"/>
                    </a:lnTo>
                    <a:lnTo>
                      <a:pt x="2078" y="688"/>
                    </a:lnTo>
                    <a:lnTo>
                      <a:pt x="2080" y="686"/>
                    </a:lnTo>
                    <a:lnTo>
                      <a:pt x="2084" y="684"/>
                    </a:lnTo>
                    <a:lnTo>
                      <a:pt x="2086" y="684"/>
                    </a:lnTo>
                    <a:lnTo>
                      <a:pt x="2088" y="682"/>
                    </a:lnTo>
                    <a:lnTo>
                      <a:pt x="2092" y="682"/>
                    </a:lnTo>
                    <a:lnTo>
                      <a:pt x="2098" y="680"/>
                    </a:lnTo>
                    <a:lnTo>
                      <a:pt x="2100" y="680"/>
                    </a:lnTo>
                    <a:lnTo>
                      <a:pt x="2104" y="678"/>
                    </a:lnTo>
                    <a:lnTo>
                      <a:pt x="2106" y="680"/>
                    </a:lnTo>
                    <a:lnTo>
                      <a:pt x="2106" y="680"/>
                    </a:lnTo>
                    <a:lnTo>
                      <a:pt x="2108" y="680"/>
                    </a:lnTo>
                    <a:lnTo>
                      <a:pt x="2110" y="682"/>
                    </a:lnTo>
                    <a:lnTo>
                      <a:pt x="2112" y="684"/>
                    </a:lnTo>
                    <a:lnTo>
                      <a:pt x="2114" y="686"/>
                    </a:lnTo>
                    <a:lnTo>
                      <a:pt x="2114" y="686"/>
                    </a:lnTo>
                    <a:lnTo>
                      <a:pt x="2114" y="686"/>
                    </a:lnTo>
                    <a:lnTo>
                      <a:pt x="2114" y="690"/>
                    </a:lnTo>
                    <a:lnTo>
                      <a:pt x="2114" y="694"/>
                    </a:lnTo>
                    <a:lnTo>
                      <a:pt x="2114" y="696"/>
                    </a:lnTo>
                    <a:lnTo>
                      <a:pt x="2114" y="698"/>
                    </a:lnTo>
                    <a:lnTo>
                      <a:pt x="2114" y="700"/>
                    </a:lnTo>
                    <a:lnTo>
                      <a:pt x="2116" y="702"/>
                    </a:lnTo>
                    <a:lnTo>
                      <a:pt x="2116" y="708"/>
                    </a:lnTo>
                    <a:lnTo>
                      <a:pt x="2118" y="710"/>
                    </a:lnTo>
                    <a:lnTo>
                      <a:pt x="2118" y="712"/>
                    </a:lnTo>
                    <a:lnTo>
                      <a:pt x="2118" y="712"/>
                    </a:lnTo>
                    <a:lnTo>
                      <a:pt x="2118" y="712"/>
                    </a:lnTo>
                    <a:lnTo>
                      <a:pt x="2120" y="714"/>
                    </a:lnTo>
                    <a:lnTo>
                      <a:pt x="2120" y="714"/>
                    </a:lnTo>
                    <a:lnTo>
                      <a:pt x="2120" y="716"/>
                    </a:lnTo>
                    <a:lnTo>
                      <a:pt x="2122" y="716"/>
                    </a:lnTo>
                    <a:lnTo>
                      <a:pt x="2122" y="716"/>
                    </a:lnTo>
                    <a:lnTo>
                      <a:pt x="2122" y="716"/>
                    </a:lnTo>
                    <a:lnTo>
                      <a:pt x="2124" y="718"/>
                    </a:lnTo>
                    <a:lnTo>
                      <a:pt x="2124" y="718"/>
                    </a:lnTo>
                    <a:lnTo>
                      <a:pt x="2124" y="718"/>
                    </a:lnTo>
                    <a:lnTo>
                      <a:pt x="2126" y="718"/>
                    </a:lnTo>
                    <a:lnTo>
                      <a:pt x="2126" y="718"/>
                    </a:lnTo>
                    <a:lnTo>
                      <a:pt x="2128" y="718"/>
                    </a:lnTo>
                    <a:lnTo>
                      <a:pt x="2130" y="716"/>
                    </a:lnTo>
                    <a:lnTo>
                      <a:pt x="2130" y="716"/>
                    </a:lnTo>
                    <a:lnTo>
                      <a:pt x="2130" y="716"/>
                    </a:lnTo>
                    <a:lnTo>
                      <a:pt x="2132" y="714"/>
                    </a:lnTo>
                    <a:lnTo>
                      <a:pt x="2138" y="712"/>
                    </a:lnTo>
                    <a:lnTo>
                      <a:pt x="2142" y="708"/>
                    </a:lnTo>
                    <a:lnTo>
                      <a:pt x="2144" y="706"/>
                    </a:lnTo>
                    <a:lnTo>
                      <a:pt x="2148" y="704"/>
                    </a:lnTo>
                    <a:lnTo>
                      <a:pt x="2152" y="696"/>
                    </a:lnTo>
                    <a:lnTo>
                      <a:pt x="2156" y="690"/>
                    </a:lnTo>
                    <a:lnTo>
                      <a:pt x="2158" y="688"/>
                    </a:lnTo>
                    <a:lnTo>
                      <a:pt x="2160" y="686"/>
                    </a:lnTo>
                    <a:lnTo>
                      <a:pt x="2162" y="684"/>
                    </a:lnTo>
                    <a:lnTo>
                      <a:pt x="2162" y="684"/>
                    </a:lnTo>
                    <a:lnTo>
                      <a:pt x="2166" y="682"/>
                    </a:lnTo>
                    <a:lnTo>
                      <a:pt x="2168" y="680"/>
                    </a:lnTo>
                    <a:lnTo>
                      <a:pt x="2168" y="680"/>
                    </a:lnTo>
                    <a:lnTo>
                      <a:pt x="2168" y="680"/>
                    </a:lnTo>
                    <a:lnTo>
                      <a:pt x="2170" y="678"/>
                    </a:lnTo>
                    <a:lnTo>
                      <a:pt x="2170" y="678"/>
                    </a:lnTo>
                    <a:lnTo>
                      <a:pt x="2170" y="678"/>
                    </a:lnTo>
                    <a:lnTo>
                      <a:pt x="2170" y="676"/>
                    </a:lnTo>
                    <a:lnTo>
                      <a:pt x="2170" y="676"/>
                    </a:lnTo>
                    <a:lnTo>
                      <a:pt x="2172" y="676"/>
                    </a:lnTo>
                    <a:lnTo>
                      <a:pt x="2172" y="674"/>
                    </a:lnTo>
                    <a:lnTo>
                      <a:pt x="2172" y="674"/>
                    </a:lnTo>
                    <a:lnTo>
                      <a:pt x="2172" y="672"/>
                    </a:lnTo>
                    <a:lnTo>
                      <a:pt x="2170" y="672"/>
                    </a:lnTo>
                    <a:lnTo>
                      <a:pt x="2170" y="672"/>
                    </a:lnTo>
                    <a:lnTo>
                      <a:pt x="2170" y="670"/>
                    </a:lnTo>
                    <a:lnTo>
                      <a:pt x="2168" y="666"/>
                    </a:lnTo>
                    <a:lnTo>
                      <a:pt x="2168" y="664"/>
                    </a:lnTo>
                    <a:lnTo>
                      <a:pt x="2168" y="664"/>
                    </a:lnTo>
                    <a:lnTo>
                      <a:pt x="2166" y="662"/>
                    </a:lnTo>
                    <a:lnTo>
                      <a:pt x="2166" y="662"/>
                    </a:lnTo>
                    <a:lnTo>
                      <a:pt x="2168" y="658"/>
                    </a:lnTo>
                    <a:lnTo>
                      <a:pt x="2168" y="656"/>
                    </a:lnTo>
                    <a:lnTo>
                      <a:pt x="2168" y="656"/>
                    </a:lnTo>
                    <a:lnTo>
                      <a:pt x="2168" y="656"/>
                    </a:lnTo>
                    <a:lnTo>
                      <a:pt x="2170" y="654"/>
                    </a:lnTo>
                    <a:lnTo>
                      <a:pt x="2170" y="654"/>
                    </a:lnTo>
                    <a:lnTo>
                      <a:pt x="2172" y="654"/>
                    </a:lnTo>
                    <a:lnTo>
                      <a:pt x="2172" y="654"/>
                    </a:lnTo>
                    <a:lnTo>
                      <a:pt x="2174" y="654"/>
                    </a:lnTo>
                    <a:lnTo>
                      <a:pt x="2176" y="654"/>
                    </a:lnTo>
                    <a:lnTo>
                      <a:pt x="2180" y="654"/>
                    </a:lnTo>
                    <a:lnTo>
                      <a:pt x="2184" y="654"/>
                    </a:lnTo>
                    <a:lnTo>
                      <a:pt x="2188" y="654"/>
                    </a:lnTo>
                    <a:lnTo>
                      <a:pt x="2192" y="654"/>
                    </a:lnTo>
                    <a:lnTo>
                      <a:pt x="2190" y="654"/>
                    </a:lnTo>
                    <a:lnTo>
                      <a:pt x="2186" y="658"/>
                    </a:lnTo>
                    <a:lnTo>
                      <a:pt x="2186" y="658"/>
                    </a:lnTo>
                    <a:lnTo>
                      <a:pt x="2186" y="658"/>
                    </a:lnTo>
                    <a:lnTo>
                      <a:pt x="2184" y="662"/>
                    </a:lnTo>
                    <a:lnTo>
                      <a:pt x="2184" y="662"/>
                    </a:lnTo>
                    <a:lnTo>
                      <a:pt x="2184" y="662"/>
                    </a:lnTo>
                    <a:lnTo>
                      <a:pt x="2182" y="664"/>
                    </a:lnTo>
                    <a:lnTo>
                      <a:pt x="2182" y="664"/>
                    </a:lnTo>
                    <a:lnTo>
                      <a:pt x="2182" y="666"/>
                    </a:lnTo>
                    <a:lnTo>
                      <a:pt x="2180" y="668"/>
                    </a:lnTo>
                    <a:lnTo>
                      <a:pt x="2180" y="670"/>
                    </a:lnTo>
                    <a:lnTo>
                      <a:pt x="2180" y="674"/>
                    </a:lnTo>
                    <a:lnTo>
                      <a:pt x="2180" y="684"/>
                    </a:lnTo>
                    <a:lnTo>
                      <a:pt x="2180" y="688"/>
                    </a:lnTo>
                    <a:lnTo>
                      <a:pt x="2180" y="694"/>
                    </a:lnTo>
                    <a:lnTo>
                      <a:pt x="2178" y="698"/>
                    </a:lnTo>
                    <a:lnTo>
                      <a:pt x="2178" y="700"/>
                    </a:lnTo>
                    <a:lnTo>
                      <a:pt x="2176" y="704"/>
                    </a:lnTo>
                    <a:lnTo>
                      <a:pt x="2172" y="706"/>
                    </a:lnTo>
                    <a:lnTo>
                      <a:pt x="2174" y="706"/>
                    </a:lnTo>
                    <a:lnTo>
                      <a:pt x="2170" y="708"/>
                    </a:lnTo>
                    <a:lnTo>
                      <a:pt x="2166" y="710"/>
                    </a:lnTo>
                    <a:lnTo>
                      <a:pt x="2158" y="714"/>
                    </a:lnTo>
                    <a:lnTo>
                      <a:pt x="2154" y="716"/>
                    </a:lnTo>
                    <a:lnTo>
                      <a:pt x="2152" y="718"/>
                    </a:lnTo>
                    <a:lnTo>
                      <a:pt x="2148" y="720"/>
                    </a:lnTo>
                    <a:lnTo>
                      <a:pt x="2146" y="722"/>
                    </a:lnTo>
                    <a:lnTo>
                      <a:pt x="2142" y="724"/>
                    </a:lnTo>
                    <a:lnTo>
                      <a:pt x="2140" y="726"/>
                    </a:lnTo>
                    <a:lnTo>
                      <a:pt x="2136" y="728"/>
                    </a:lnTo>
                    <a:lnTo>
                      <a:pt x="2134" y="732"/>
                    </a:lnTo>
                    <a:lnTo>
                      <a:pt x="2132" y="734"/>
                    </a:lnTo>
                    <a:lnTo>
                      <a:pt x="2130" y="738"/>
                    </a:lnTo>
                    <a:lnTo>
                      <a:pt x="2126" y="742"/>
                    </a:lnTo>
                    <a:lnTo>
                      <a:pt x="2122" y="746"/>
                    </a:lnTo>
                    <a:lnTo>
                      <a:pt x="2120" y="752"/>
                    </a:lnTo>
                    <a:lnTo>
                      <a:pt x="2112" y="762"/>
                    </a:lnTo>
                    <a:lnTo>
                      <a:pt x="2110" y="766"/>
                    </a:lnTo>
                    <a:lnTo>
                      <a:pt x="2106" y="770"/>
                    </a:lnTo>
                    <a:lnTo>
                      <a:pt x="2098" y="776"/>
                    </a:lnTo>
                    <a:lnTo>
                      <a:pt x="2092" y="784"/>
                    </a:lnTo>
                    <a:lnTo>
                      <a:pt x="2084" y="790"/>
                    </a:lnTo>
                    <a:lnTo>
                      <a:pt x="2078" y="796"/>
                    </a:lnTo>
                    <a:lnTo>
                      <a:pt x="2074" y="800"/>
                    </a:lnTo>
                    <a:lnTo>
                      <a:pt x="2070" y="802"/>
                    </a:lnTo>
                    <a:lnTo>
                      <a:pt x="2064" y="808"/>
                    </a:lnTo>
                    <a:lnTo>
                      <a:pt x="2062" y="812"/>
                    </a:lnTo>
                    <a:lnTo>
                      <a:pt x="2058" y="816"/>
                    </a:lnTo>
                    <a:lnTo>
                      <a:pt x="2056" y="820"/>
                    </a:lnTo>
                    <a:lnTo>
                      <a:pt x="2054" y="824"/>
                    </a:lnTo>
                    <a:lnTo>
                      <a:pt x="2052" y="830"/>
                    </a:lnTo>
                    <a:lnTo>
                      <a:pt x="2050" y="836"/>
                    </a:lnTo>
                    <a:lnTo>
                      <a:pt x="2048" y="844"/>
                    </a:lnTo>
                    <a:lnTo>
                      <a:pt x="2048" y="850"/>
                    </a:lnTo>
                    <a:lnTo>
                      <a:pt x="2048" y="858"/>
                    </a:lnTo>
                    <a:lnTo>
                      <a:pt x="2048" y="866"/>
                    </a:lnTo>
                    <a:lnTo>
                      <a:pt x="2046" y="872"/>
                    </a:lnTo>
                    <a:lnTo>
                      <a:pt x="2048" y="878"/>
                    </a:lnTo>
                    <a:lnTo>
                      <a:pt x="2048" y="882"/>
                    </a:lnTo>
                    <a:lnTo>
                      <a:pt x="2048" y="882"/>
                    </a:lnTo>
                    <a:lnTo>
                      <a:pt x="2048" y="882"/>
                    </a:lnTo>
                    <a:lnTo>
                      <a:pt x="2050" y="884"/>
                    </a:lnTo>
                    <a:lnTo>
                      <a:pt x="2050" y="884"/>
                    </a:lnTo>
                    <a:lnTo>
                      <a:pt x="2050" y="886"/>
                    </a:lnTo>
                    <a:lnTo>
                      <a:pt x="2052" y="888"/>
                    </a:lnTo>
                    <a:lnTo>
                      <a:pt x="2052" y="888"/>
                    </a:lnTo>
                    <a:lnTo>
                      <a:pt x="2052" y="888"/>
                    </a:lnTo>
                    <a:lnTo>
                      <a:pt x="2054" y="890"/>
                    </a:lnTo>
                    <a:lnTo>
                      <a:pt x="2058" y="894"/>
                    </a:lnTo>
                    <a:lnTo>
                      <a:pt x="2058" y="894"/>
                    </a:lnTo>
                    <a:lnTo>
                      <a:pt x="2058" y="896"/>
                    </a:lnTo>
                    <a:lnTo>
                      <a:pt x="2060" y="898"/>
                    </a:lnTo>
                    <a:lnTo>
                      <a:pt x="2060" y="900"/>
                    </a:lnTo>
                    <a:lnTo>
                      <a:pt x="2060" y="904"/>
                    </a:lnTo>
                    <a:lnTo>
                      <a:pt x="2060" y="910"/>
                    </a:lnTo>
                    <a:lnTo>
                      <a:pt x="2058" y="918"/>
                    </a:lnTo>
                    <a:lnTo>
                      <a:pt x="2058" y="922"/>
                    </a:lnTo>
                    <a:lnTo>
                      <a:pt x="2058" y="924"/>
                    </a:lnTo>
                    <a:lnTo>
                      <a:pt x="2058" y="926"/>
                    </a:lnTo>
                    <a:lnTo>
                      <a:pt x="2058" y="928"/>
                    </a:lnTo>
                    <a:lnTo>
                      <a:pt x="2058" y="928"/>
                    </a:lnTo>
                    <a:lnTo>
                      <a:pt x="2060" y="928"/>
                    </a:lnTo>
                    <a:lnTo>
                      <a:pt x="2060" y="930"/>
                    </a:lnTo>
                    <a:lnTo>
                      <a:pt x="2062" y="934"/>
                    </a:lnTo>
                    <a:lnTo>
                      <a:pt x="2064" y="938"/>
                    </a:lnTo>
                    <a:lnTo>
                      <a:pt x="2064" y="940"/>
                    </a:lnTo>
                    <a:lnTo>
                      <a:pt x="2066" y="942"/>
                    </a:lnTo>
                    <a:lnTo>
                      <a:pt x="2066" y="944"/>
                    </a:lnTo>
                    <a:lnTo>
                      <a:pt x="2066" y="948"/>
                    </a:lnTo>
                    <a:lnTo>
                      <a:pt x="2066" y="952"/>
                    </a:lnTo>
                    <a:lnTo>
                      <a:pt x="2066" y="956"/>
                    </a:lnTo>
                    <a:lnTo>
                      <a:pt x="2066" y="960"/>
                    </a:lnTo>
                    <a:lnTo>
                      <a:pt x="2064" y="964"/>
                    </a:lnTo>
                    <a:lnTo>
                      <a:pt x="2066" y="968"/>
                    </a:lnTo>
                    <a:lnTo>
                      <a:pt x="2066" y="970"/>
                    </a:lnTo>
                    <a:lnTo>
                      <a:pt x="2066" y="970"/>
                    </a:lnTo>
                    <a:lnTo>
                      <a:pt x="2066" y="970"/>
                    </a:lnTo>
                    <a:lnTo>
                      <a:pt x="2066" y="972"/>
                    </a:lnTo>
                    <a:lnTo>
                      <a:pt x="2066" y="972"/>
                    </a:lnTo>
                    <a:lnTo>
                      <a:pt x="2070" y="972"/>
                    </a:lnTo>
                    <a:lnTo>
                      <a:pt x="2070" y="972"/>
                    </a:lnTo>
                    <a:lnTo>
                      <a:pt x="2070" y="972"/>
                    </a:lnTo>
                    <a:lnTo>
                      <a:pt x="2072" y="972"/>
                    </a:lnTo>
                    <a:lnTo>
                      <a:pt x="2072" y="970"/>
                    </a:lnTo>
                    <a:lnTo>
                      <a:pt x="2074" y="970"/>
                    </a:lnTo>
                    <a:lnTo>
                      <a:pt x="2076" y="966"/>
                    </a:lnTo>
                    <a:lnTo>
                      <a:pt x="2078" y="966"/>
                    </a:lnTo>
                    <a:lnTo>
                      <a:pt x="2078" y="966"/>
                    </a:lnTo>
                    <a:lnTo>
                      <a:pt x="2078" y="966"/>
                    </a:lnTo>
                    <a:lnTo>
                      <a:pt x="2078" y="966"/>
                    </a:lnTo>
                    <a:lnTo>
                      <a:pt x="2082" y="966"/>
                    </a:lnTo>
                    <a:lnTo>
                      <a:pt x="2084" y="966"/>
                    </a:lnTo>
                    <a:lnTo>
                      <a:pt x="2084" y="966"/>
                    </a:lnTo>
                    <a:lnTo>
                      <a:pt x="2084" y="966"/>
                    </a:lnTo>
                    <a:lnTo>
                      <a:pt x="2086" y="966"/>
                    </a:lnTo>
                    <a:lnTo>
                      <a:pt x="2086" y="966"/>
                    </a:lnTo>
                    <a:lnTo>
                      <a:pt x="2086" y="966"/>
                    </a:lnTo>
                    <a:lnTo>
                      <a:pt x="2088" y="964"/>
                    </a:lnTo>
                    <a:lnTo>
                      <a:pt x="2088" y="964"/>
                    </a:lnTo>
                    <a:lnTo>
                      <a:pt x="2088" y="964"/>
                    </a:lnTo>
                    <a:lnTo>
                      <a:pt x="2090" y="962"/>
                    </a:lnTo>
                    <a:lnTo>
                      <a:pt x="2090" y="962"/>
                    </a:lnTo>
                    <a:lnTo>
                      <a:pt x="2090" y="962"/>
                    </a:lnTo>
                    <a:lnTo>
                      <a:pt x="2092" y="960"/>
                    </a:lnTo>
                    <a:lnTo>
                      <a:pt x="2094" y="956"/>
                    </a:lnTo>
                    <a:lnTo>
                      <a:pt x="2096" y="954"/>
                    </a:lnTo>
                    <a:lnTo>
                      <a:pt x="2098" y="950"/>
                    </a:lnTo>
                    <a:lnTo>
                      <a:pt x="2100" y="942"/>
                    </a:lnTo>
                    <a:lnTo>
                      <a:pt x="2102" y="940"/>
                    </a:lnTo>
                    <a:lnTo>
                      <a:pt x="2102" y="936"/>
                    </a:lnTo>
                    <a:lnTo>
                      <a:pt x="2104" y="932"/>
                    </a:lnTo>
                    <a:lnTo>
                      <a:pt x="2106" y="926"/>
                    </a:lnTo>
                    <a:lnTo>
                      <a:pt x="2108" y="924"/>
                    </a:lnTo>
                    <a:lnTo>
                      <a:pt x="2108" y="922"/>
                    </a:lnTo>
                    <a:lnTo>
                      <a:pt x="2110" y="922"/>
                    </a:lnTo>
                    <a:lnTo>
                      <a:pt x="2110" y="922"/>
                    </a:lnTo>
                    <a:lnTo>
                      <a:pt x="2110" y="922"/>
                    </a:lnTo>
                    <a:lnTo>
                      <a:pt x="2112" y="922"/>
                    </a:lnTo>
                    <a:lnTo>
                      <a:pt x="2112" y="924"/>
                    </a:lnTo>
                    <a:lnTo>
                      <a:pt x="2114" y="926"/>
                    </a:lnTo>
                    <a:lnTo>
                      <a:pt x="2116" y="928"/>
                    </a:lnTo>
                    <a:lnTo>
                      <a:pt x="2116" y="928"/>
                    </a:lnTo>
                    <a:lnTo>
                      <a:pt x="2118" y="928"/>
                    </a:lnTo>
                    <a:lnTo>
                      <a:pt x="2118" y="928"/>
                    </a:lnTo>
                    <a:lnTo>
                      <a:pt x="2118" y="928"/>
                    </a:lnTo>
                    <a:lnTo>
                      <a:pt x="2122" y="928"/>
                    </a:lnTo>
                    <a:lnTo>
                      <a:pt x="2122" y="926"/>
                    </a:lnTo>
                    <a:lnTo>
                      <a:pt x="2122" y="926"/>
                    </a:lnTo>
                    <a:lnTo>
                      <a:pt x="2124" y="924"/>
                    </a:lnTo>
                    <a:lnTo>
                      <a:pt x="2124" y="924"/>
                    </a:lnTo>
                    <a:lnTo>
                      <a:pt x="2124" y="922"/>
                    </a:lnTo>
                    <a:lnTo>
                      <a:pt x="2122" y="920"/>
                    </a:lnTo>
                    <a:lnTo>
                      <a:pt x="2122" y="918"/>
                    </a:lnTo>
                    <a:lnTo>
                      <a:pt x="2122" y="914"/>
                    </a:lnTo>
                    <a:lnTo>
                      <a:pt x="2120" y="910"/>
                    </a:lnTo>
                    <a:lnTo>
                      <a:pt x="2120" y="908"/>
                    </a:lnTo>
                    <a:lnTo>
                      <a:pt x="2120" y="904"/>
                    </a:lnTo>
                    <a:lnTo>
                      <a:pt x="2118" y="902"/>
                    </a:lnTo>
                    <a:lnTo>
                      <a:pt x="2120" y="902"/>
                    </a:lnTo>
                    <a:lnTo>
                      <a:pt x="2120" y="900"/>
                    </a:lnTo>
                    <a:lnTo>
                      <a:pt x="2120" y="900"/>
                    </a:lnTo>
                    <a:lnTo>
                      <a:pt x="2122" y="898"/>
                    </a:lnTo>
                    <a:lnTo>
                      <a:pt x="2124" y="896"/>
                    </a:lnTo>
                    <a:lnTo>
                      <a:pt x="2126" y="894"/>
                    </a:lnTo>
                    <a:lnTo>
                      <a:pt x="2128" y="892"/>
                    </a:lnTo>
                    <a:lnTo>
                      <a:pt x="2132" y="890"/>
                    </a:lnTo>
                    <a:lnTo>
                      <a:pt x="2130" y="890"/>
                    </a:lnTo>
                    <a:lnTo>
                      <a:pt x="2134" y="888"/>
                    </a:lnTo>
                    <a:lnTo>
                      <a:pt x="2134" y="888"/>
                    </a:lnTo>
                    <a:lnTo>
                      <a:pt x="2134" y="888"/>
                    </a:lnTo>
                    <a:lnTo>
                      <a:pt x="2138" y="888"/>
                    </a:lnTo>
                    <a:lnTo>
                      <a:pt x="2142" y="890"/>
                    </a:lnTo>
                    <a:lnTo>
                      <a:pt x="2142" y="890"/>
                    </a:lnTo>
                    <a:lnTo>
                      <a:pt x="2142" y="890"/>
                    </a:lnTo>
                    <a:lnTo>
                      <a:pt x="2144" y="890"/>
                    </a:lnTo>
                    <a:lnTo>
                      <a:pt x="2144" y="890"/>
                    </a:lnTo>
                    <a:lnTo>
                      <a:pt x="2144" y="888"/>
                    </a:lnTo>
                    <a:lnTo>
                      <a:pt x="2146" y="888"/>
                    </a:lnTo>
                    <a:lnTo>
                      <a:pt x="2146" y="888"/>
                    </a:lnTo>
                    <a:lnTo>
                      <a:pt x="2146" y="888"/>
                    </a:lnTo>
                    <a:lnTo>
                      <a:pt x="2148" y="886"/>
                    </a:lnTo>
                    <a:lnTo>
                      <a:pt x="2148" y="886"/>
                    </a:lnTo>
                    <a:lnTo>
                      <a:pt x="2148" y="886"/>
                    </a:lnTo>
                    <a:lnTo>
                      <a:pt x="2152" y="884"/>
                    </a:lnTo>
                    <a:lnTo>
                      <a:pt x="2154" y="880"/>
                    </a:lnTo>
                    <a:lnTo>
                      <a:pt x="2154" y="880"/>
                    </a:lnTo>
                    <a:lnTo>
                      <a:pt x="2154" y="880"/>
                    </a:lnTo>
                    <a:lnTo>
                      <a:pt x="2154" y="878"/>
                    </a:lnTo>
                    <a:lnTo>
                      <a:pt x="2154" y="878"/>
                    </a:lnTo>
                    <a:lnTo>
                      <a:pt x="2154" y="878"/>
                    </a:lnTo>
                    <a:lnTo>
                      <a:pt x="2156" y="874"/>
                    </a:lnTo>
                    <a:lnTo>
                      <a:pt x="2156" y="874"/>
                    </a:lnTo>
                    <a:lnTo>
                      <a:pt x="2156" y="872"/>
                    </a:lnTo>
                    <a:lnTo>
                      <a:pt x="2156" y="868"/>
                    </a:lnTo>
                    <a:lnTo>
                      <a:pt x="2154" y="864"/>
                    </a:lnTo>
                    <a:lnTo>
                      <a:pt x="2154" y="860"/>
                    </a:lnTo>
                    <a:lnTo>
                      <a:pt x="2154" y="856"/>
                    </a:lnTo>
                    <a:lnTo>
                      <a:pt x="2154" y="852"/>
                    </a:lnTo>
                    <a:lnTo>
                      <a:pt x="2154" y="852"/>
                    </a:lnTo>
                    <a:lnTo>
                      <a:pt x="2154" y="850"/>
                    </a:lnTo>
                    <a:lnTo>
                      <a:pt x="2154" y="850"/>
                    </a:lnTo>
                    <a:lnTo>
                      <a:pt x="2156" y="850"/>
                    </a:lnTo>
                    <a:lnTo>
                      <a:pt x="2158" y="852"/>
                    </a:lnTo>
                    <a:lnTo>
                      <a:pt x="2162" y="852"/>
                    </a:lnTo>
                    <a:lnTo>
                      <a:pt x="2166" y="852"/>
                    </a:lnTo>
                    <a:lnTo>
                      <a:pt x="2168" y="852"/>
                    </a:lnTo>
                    <a:lnTo>
                      <a:pt x="2168" y="852"/>
                    </a:lnTo>
                    <a:lnTo>
                      <a:pt x="2170" y="852"/>
                    </a:lnTo>
                    <a:lnTo>
                      <a:pt x="2170" y="852"/>
                    </a:lnTo>
                    <a:lnTo>
                      <a:pt x="2172" y="852"/>
                    </a:lnTo>
                    <a:lnTo>
                      <a:pt x="2174" y="852"/>
                    </a:lnTo>
                    <a:lnTo>
                      <a:pt x="2174" y="852"/>
                    </a:lnTo>
                    <a:lnTo>
                      <a:pt x="2174" y="850"/>
                    </a:lnTo>
                    <a:lnTo>
                      <a:pt x="2176" y="848"/>
                    </a:lnTo>
                    <a:lnTo>
                      <a:pt x="2176" y="848"/>
                    </a:lnTo>
                    <a:lnTo>
                      <a:pt x="2176" y="848"/>
                    </a:lnTo>
                    <a:lnTo>
                      <a:pt x="2176" y="846"/>
                    </a:lnTo>
                    <a:lnTo>
                      <a:pt x="2176" y="846"/>
                    </a:lnTo>
                    <a:lnTo>
                      <a:pt x="2176" y="846"/>
                    </a:lnTo>
                    <a:lnTo>
                      <a:pt x="2176" y="844"/>
                    </a:lnTo>
                    <a:lnTo>
                      <a:pt x="2176" y="840"/>
                    </a:lnTo>
                    <a:lnTo>
                      <a:pt x="2174" y="836"/>
                    </a:lnTo>
                    <a:lnTo>
                      <a:pt x="2174" y="830"/>
                    </a:lnTo>
                    <a:lnTo>
                      <a:pt x="2174" y="828"/>
                    </a:lnTo>
                    <a:lnTo>
                      <a:pt x="2174" y="828"/>
                    </a:lnTo>
                    <a:lnTo>
                      <a:pt x="2174" y="828"/>
                    </a:lnTo>
                    <a:lnTo>
                      <a:pt x="2172" y="824"/>
                    </a:lnTo>
                    <a:lnTo>
                      <a:pt x="2168" y="820"/>
                    </a:lnTo>
                    <a:lnTo>
                      <a:pt x="2168" y="818"/>
                    </a:lnTo>
                    <a:lnTo>
                      <a:pt x="2166" y="816"/>
                    </a:lnTo>
                    <a:lnTo>
                      <a:pt x="2166" y="814"/>
                    </a:lnTo>
                    <a:lnTo>
                      <a:pt x="2166" y="812"/>
                    </a:lnTo>
                    <a:lnTo>
                      <a:pt x="2166" y="812"/>
                    </a:lnTo>
                    <a:lnTo>
                      <a:pt x="2166" y="810"/>
                    </a:lnTo>
                    <a:lnTo>
                      <a:pt x="2168" y="808"/>
                    </a:lnTo>
                    <a:lnTo>
                      <a:pt x="2170" y="806"/>
                    </a:lnTo>
                    <a:lnTo>
                      <a:pt x="2172" y="804"/>
                    </a:lnTo>
                    <a:lnTo>
                      <a:pt x="2174" y="804"/>
                    </a:lnTo>
                    <a:lnTo>
                      <a:pt x="2174" y="804"/>
                    </a:lnTo>
                    <a:lnTo>
                      <a:pt x="2174" y="802"/>
                    </a:lnTo>
                    <a:lnTo>
                      <a:pt x="2174" y="802"/>
                    </a:lnTo>
                    <a:lnTo>
                      <a:pt x="2174" y="802"/>
                    </a:lnTo>
                    <a:lnTo>
                      <a:pt x="2174" y="800"/>
                    </a:lnTo>
                    <a:lnTo>
                      <a:pt x="2174" y="800"/>
                    </a:lnTo>
                    <a:lnTo>
                      <a:pt x="2174" y="800"/>
                    </a:lnTo>
                    <a:lnTo>
                      <a:pt x="2174" y="798"/>
                    </a:lnTo>
                    <a:lnTo>
                      <a:pt x="2174" y="796"/>
                    </a:lnTo>
                    <a:lnTo>
                      <a:pt x="2172" y="796"/>
                    </a:lnTo>
                    <a:lnTo>
                      <a:pt x="2172" y="796"/>
                    </a:lnTo>
                    <a:lnTo>
                      <a:pt x="2172" y="796"/>
                    </a:lnTo>
                    <a:lnTo>
                      <a:pt x="2168" y="796"/>
                    </a:lnTo>
                    <a:lnTo>
                      <a:pt x="2166" y="796"/>
                    </a:lnTo>
                    <a:lnTo>
                      <a:pt x="2164" y="798"/>
                    </a:lnTo>
                    <a:lnTo>
                      <a:pt x="2160" y="798"/>
                    </a:lnTo>
                    <a:lnTo>
                      <a:pt x="2158" y="798"/>
                    </a:lnTo>
                    <a:lnTo>
                      <a:pt x="2158" y="798"/>
                    </a:lnTo>
                    <a:lnTo>
                      <a:pt x="2156" y="798"/>
                    </a:lnTo>
                    <a:lnTo>
                      <a:pt x="2156" y="798"/>
                    </a:lnTo>
                    <a:lnTo>
                      <a:pt x="2156" y="798"/>
                    </a:lnTo>
                    <a:lnTo>
                      <a:pt x="2156" y="794"/>
                    </a:lnTo>
                    <a:lnTo>
                      <a:pt x="2156" y="790"/>
                    </a:lnTo>
                    <a:lnTo>
                      <a:pt x="2156" y="786"/>
                    </a:lnTo>
                    <a:lnTo>
                      <a:pt x="2156" y="782"/>
                    </a:lnTo>
                    <a:lnTo>
                      <a:pt x="2156" y="780"/>
                    </a:lnTo>
                    <a:lnTo>
                      <a:pt x="2156" y="776"/>
                    </a:lnTo>
                    <a:lnTo>
                      <a:pt x="2158" y="774"/>
                    </a:lnTo>
                    <a:lnTo>
                      <a:pt x="2158" y="772"/>
                    </a:lnTo>
                    <a:lnTo>
                      <a:pt x="2160" y="770"/>
                    </a:lnTo>
                    <a:lnTo>
                      <a:pt x="2162" y="768"/>
                    </a:lnTo>
                    <a:lnTo>
                      <a:pt x="2164" y="766"/>
                    </a:lnTo>
                    <a:lnTo>
                      <a:pt x="2166" y="766"/>
                    </a:lnTo>
                    <a:lnTo>
                      <a:pt x="2168" y="766"/>
                    </a:lnTo>
                    <a:lnTo>
                      <a:pt x="2168" y="766"/>
                    </a:lnTo>
                    <a:lnTo>
                      <a:pt x="2168" y="770"/>
                    </a:lnTo>
                    <a:lnTo>
                      <a:pt x="2168" y="772"/>
                    </a:lnTo>
                    <a:lnTo>
                      <a:pt x="2168" y="772"/>
                    </a:lnTo>
                    <a:lnTo>
                      <a:pt x="2168" y="774"/>
                    </a:lnTo>
                    <a:lnTo>
                      <a:pt x="2168" y="774"/>
                    </a:lnTo>
                    <a:lnTo>
                      <a:pt x="2168" y="776"/>
                    </a:lnTo>
                    <a:lnTo>
                      <a:pt x="2170" y="776"/>
                    </a:lnTo>
                    <a:lnTo>
                      <a:pt x="2170" y="776"/>
                    </a:lnTo>
                    <a:lnTo>
                      <a:pt x="2172" y="778"/>
                    </a:lnTo>
                    <a:lnTo>
                      <a:pt x="2172" y="778"/>
                    </a:lnTo>
                    <a:lnTo>
                      <a:pt x="2172" y="778"/>
                    </a:lnTo>
                    <a:lnTo>
                      <a:pt x="2174" y="778"/>
                    </a:lnTo>
                    <a:lnTo>
                      <a:pt x="2176" y="778"/>
                    </a:lnTo>
                    <a:lnTo>
                      <a:pt x="2178" y="778"/>
                    </a:lnTo>
                    <a:lnTo>
                      <a:pt x="2182" y="778"/>
                    </a:lnTo>
                    <a:lnTo>
                      <a:pt x="2184" y="776"/>
                    </a:lnTo>
                    <a:lnTo>
                      <a:pt x="2188" y="776"/>
                    </a:lnTo>
                    <a:lnTo>
                      <a:pt x="2190" y="774"/>
                    </a:lnTo>
                    <a:lnTo>
                      <a:pt x="2190" y="774"/>
                    </a:lnTo>
                    <a:lnTo>
                      <a:pt x="2190" y="774"/>
                    </a:lnTo>
                    <a:lnTo>
                      <a:pt x="2190" y="774"/>
                    </a:lnTo>
                    <a:lnTo>
                      <a:pt x="2190" y="774"/>
                    </a:lnTo>
                    <a:lnTo>
                      <a:pt x="2192" y="772"/>
                    </a:lnTo>
                    <a:lnTo>
                      <a:pt x="2194" y="770"/>
                    </a:lnTo>
                    <a:lnTo>
                      <a:pt x="2194" y="770"/>
                    </a:lnTo>
                    <a:lnTo>
                      <a:pt x="2194" y="768"/>
                    </a:lnTo>
                    <a:lnTo>
                      <a:pt x="2194" y="766"/>
                    </a:lnTo>
                    <a:lnTo>
                      <a:pt x="2194" y="766"/>
                    </a:lnTo>
                    <a:lnTo>
                      <a:pt x="2194" y="764"/>
                    </a:lnTo>
                    <a:lnTo>
                      <a:pt x="2194" y="762"/>
                    </a:lnTo>
                    <a:lnTo>
                      <a:pt x="2194" y="762"/>
                    </a:lnTo>
                    <a:lnTo>
                      <a:pt x="2194" y="762"/>
                    </a:lnTo>
                    <a:lnTo>
                      <a:pt x="2194" y="760"/>
                    </a:lnTo>
                    <a:lnTo>
                      <a:pt x="2194" y="760"/>
                    </a:lnTo>
                    <a:lnTo>
                      <a:pt x="2194" y="760"/>
                    </a:lnTo>
                    <a:lnTo>
                      <a:pt x="2192" y="758"/>
                    </a:lnTo>
                    <a:lnTo>
                      <a:pt x="2192" y="758"/>
                    </a:lnTo>
                    <a:lnTo>
                      <a:pt x="2192" y="758"/>
                    </a:lnTo>
                    <a:lnTo>
                      <a:pt x="2190" y="756"/>
                    </a:lnTo>
                    <a:lnTo>
                      <a:pt x="2190" y="756"/>
                    </a:lnTo>
                    <a:lnTo>
                      <a:pt x="2190" y="756"/>
                    </a:lnTo>
                    <a:lnTo>
                      <a:pt x="2188" y="756"/>
                    </a:lnTo>
                    <a:lnTo>
                      <a:pt x="2188" y="756"/>
                    </a:lnTo>
                    <a:lnTo>
                      <a:pt x="2184" y="756"/>
                    </a:lnTo>
                    <a:lnTo>
                      <a:pt x="2180" y="758"/>
                    </a:lnTo>
                    <a:lnTo>
                      <a:pt x="2178" y="758"/>
                    </a:lnTo>
                    <a:lnTo>
                      <a:pt x="2178" y="758"/>
                    </a:lnTo>
                    <a:lnTo>
                      <a:pt x="2176" y="756"/>
                    </a:lnTo>
                    <a:lnTo>
                      <a:pt x="2174" y="756"/>
                    </a:lnTo>
                    <a:lnTo>
                      <a:pt x="2168" y="754"/>
                    </a:lnTo>
                    <a:lnTo>
                      <a:pt x="2166" y="754"/>
                    </a:lnTo>
                    <a:lnTo>
                      <a:pt x="2166" y="754"/>
                    </a:lnTo>
                    <a:lnTo>
                      <a:pt x="2166" y="752"/>
                    </a:lnTo>
                    <a:lnTo>
                      <a:pt x="2168" y="752"/>
                    </a:lnTo>
                    <a:lnTo>
                      <a:pt x="2172" y="750"/>
                    </a:lnTo>
                    <a:lnTo>
                      <a:pt x="2178" y="746"/>
                    </a:lnTo>
                    <a:lnTo>
                      <a:pt x="2182" y="744"/>
                    </a:lnTo>
                    <a:lnTo>
                      <a:pt x="2184" y="744"/>
                    </a:lnTo>
                    <a:lnTo>
                      <a:pt x="2190" y="742"/>
                    </a:lnTo>
                    <a:lnTo>
                      <a:pt x="2196" y="740"/>
                    </a:lnTo>
                    <a:lnTo>
                      <a:pt x="2202" y="738"/>
                    </a:lnTo>
                    <a:lnTo>
                      <a:pt x="2204" y="736"/>
                    </a:lnTo>
                    <a:lnTo>
                      <a:pt x="2204" y="736"/>
                    </a:lnTo>
                    <a:lnTo>
                      <a:pt x="2204" y="736"/>
                    </a:lnTo>
                    <a:lnTo>
                      <a:pt x="2206" y="736"/>
                    </a:lnTo>
                    <a:lnTo>
                      <a:pt x="2206" y="736"/>
                    </a:lnTo>
                    <a:lnTo>
                      <a:pt x="2208" y="734"/>
                    </a:lnTo>
                    <a:lnTo>
                      <a:pt x="2208" y="734"/>
                    </a:lnTo>
                    <a:lnTo>
                      <a:pt x="2208" y="734"/>
                    </a:lnTo>
                    <a:lnTo>
                      <a:pt x="2210" y="732"/>
                    </a:lnTo>
                    <a:lnTo>
                      <a:pt x="2210" y="730"/>
                    </a:lnTo>
                    <a:lnTo>
                      <a:pt x="2210" y="730"/>
                    </a:lnTo>
                    <a:lnTo>
                      <a:pt x="2212" y="730"/>
                    </a:lnTo>
                    <a:lnTo>
                      <a:pt x="2214" y="726"/>
                    </a:lnTo>
                    <a:lnTo>
                      <a:pt x="2214" y="724"/>
                    </a:lnTo>
                    <a:lnTo>
                      <a:pt x="2214" y="726"/>
                    </a:lnTo>
                    <a:lnTo>
                      <a:pt x="2214" y="728"/>
                    </a:lnTo>
                    <a:lnTo>
                      <a:pt x="2216" y="730"/>
                    </a:lnTo>
                    <a:lnTo>
                      <a:pt x="2216" y="730"/>
                    </a:lnTo>
                    <a:lnTo>
                      <a:pt x="2216" y="730"/>
                    </a:lnTo>
                    <a:lnTo>
                      <a:pt x="2216" y="732"/>
                    </a:lnTo>
                    <a:lnTo>
                      <a:pt x="2216" y="732"/>
                    </a:lnTo>
                    <a:lnTo>
                      <a:pt x="2218" y="734"/>
                    </a:lnTo>
                    <a:lnTo>
                      <a:pt x="2218" y="734"/>
                    </a:lnTo>
                    <a:lnTo>
                      <a:pt x="2218" y="734"/>
                    </a:lnTo>
                    <a:lnTo>
                      <a:pt x="2220" y="734"/>
                    </a:lnTo>
                    <a:lnTo>
                      <a:pt x="2222" y="734"/>
                    </a:lnTo>
                    <a:lnTo>
                      <a:pt x="2222" y="734"/>
                    </a:lnTo>
                    <a:lnTo>
                      <a:pt x="2222" y="734"/>
                    </a:lnTo>
                    <a:lnTo>
                      <a:pt x="2224" y="734"/>
                    </a:lnTo>
                    <a:lnTo>
                      <a:pt x="2224" y="734"/>
                    </a:lnTo>
                    <a:lnTo>
                      <a:pt x="2226" y="734"/>
                    </a:lnTo>
                    <a:lnTo>
                      <a:pt x="2228" y="732"/>
                    </a:lnTo>
                    <a:lnTo>
                      <a:pt x="2230" y="732"/>
                    </a:lnTo>
                    <a:lnTo>
                      <a:pt x="2236" y="728"/>
                    </a:lnTo>
                    <a:lnTo>
                      <a:pt x="2238" y="726"/>
                    </a:lnTo>
                    <a:lnTo>
                      <a:pt x="2240" y="726"/>
                    </a:lnTo>
                    <a:lnTo>
                      <a:pt x="2238" y="726"/>
                    </a:lnTo>
                    <a:lnTo>
                      <a:pt x="2242" y="724"/>
                    </a:lnTo>
                    <a:lnTo>
                      <a:pt x="2246" y="724"/>
                    </a:lnTo>
                    <a:lnTo>
                      <a:pt x="2250" y="724"/>
                    </a:lnTo>
                    <a:lnTo>
                      <a:pt x="2254" y="724"/>
                    </a:lnTo>
                    <a:lnTo>
                      <a:pt x="2258" y="724"/>
                    </a:lnTo>
                    <a:lnTo>
                      <a:pt x="2260" y="724"/>
                    </a:lnTo>
                    <a:lnTo>
                      <a:pt x="2262" y="724"/>
                    </a:lnTo>
                    <a:lnTo>
                      <a:pt x="2264" y="724"/>
                    </a:lnTo>
                    <a:lnTo>
                      <a:pt x="2264" y="724"/>
                    </a:lnTo>
                    <a:lnTo>
                      <a:pt x="2264" y="726"/>
                    </a:lnTo>
                    <a:lnTo>
                      <a:pt x="2266" y="726"/>
                    </a:lnTo>
                    <a:lnTo>
                      <a:pt x="2266" y="730"/>
                    </a:lnTo>
                    <a:lnTo>
                      <a:pt x="2266" y="732"/>
                    </a:lnTo>
                    <a:lnTo>
                      <a:pt x="2268" y="734"/>
                    </a:lnTo>
                    <a:lnTo>
                      <a:pt x="2268" y="736"/>
                    </a:lnTo>
                    <a:lnTo>
                      <a:pt x="2268" y="736"/>
                    </a:lnTo>
                    <a:lnTo>
                      <a:pt x="2268" y="738"/>
                    </a:lnTo>
                    <a:lnTo>
                      <a:pt x="2270" y="738"/>
                    </a:lnTo>
                    <a:lnTo>
                      <a:pt x="2270" y="738"/>
                    </a:lnTo>
                    <a:lnTo>
                      <a:pt x="2272" y="738"/>
                    </a:lnTo>
                    <a:lnTo>
                      <a:pt x="2272" y="738"/>
                    </a:lnTo>
                    <a:lnTo>
                      <a:pt x="2272" y="738"/>
                    </a:lnTo>
                    <a:lnTo>
                      <a:pt x="2274" y="738"/>
                    </a:lnTo>
                    <a:lnTo>
                      <a:pt x="2274" y="738"/>
                    </a:lnTo>
                    <a:lnTo>
                      <a:pt x="2274" y="738"/>
                    </a:lnTo>
                    <a:lnTo>
                      <a:pt x="2276" y="736"/>
                    </a:lnTo>
                    <a:lnTo>
                      <a:pt x="2276" y="736"/>
                    </a:lnTo>
                    <a:lnTo>
                      <a:pt x="2276" y="734"/>
                    </a:lnTo>
                    <a:lnTo>
                      <a:pt x="2278" y="730"/>
                    </a:lnTo>
                    <a:lnTo>
                      <a:pt x="2278" y="730"/>
                    </a:lnTo>
                    <a:lnTo>
                      <a:pt x="2280" y="728"/>
                    </a:lnTo>
                    <a:lnTo>
                      <a:pt x="2280" y="728"/>
                    </a:lnTo>
                    <a:lnTo>
                      <a:pt x="2282" y="728"/>
                    </a:lnTo>
                    <a:lnTo>
                      <a:pt x="2284" y="726"/>
                    </a:lnTo>
                    <a:lnTo>
                      <a:pt x="2286" y="726"/>
                    </a:lnTo>
                    <a:lnTo>
                      <a:pt x="2286" y="726"/>
                    </a:lnTo>
                    <a:lnTo>
                      <a:pt x="2286" y="726"/>
                    </a:lnTo>
                    <a:lnTo>
                      <a:pt x="2288" y="724"/>
                    </a:lnTo>
                    <a:lnTo>
                      <a:pt x="2288" y="724"/>
                    </a:lnTo>
                    <a:lnTo>
                      <a:pt x="2292" y="722"/>
                    </a:lnTo>
                    <a:lnTo>
                      <a:pt x="2294" y="720"/>
                    </a:lnTo>
                    <a:lnTo>
                      <a:pt x="2298" y="714"/>
                    </a:lnTo>
                    <a:lnTo>
                      <a:pt x="2304" y="708"/>
                    </a:lnTo>
                    <a:lnTo>
                      <a:pt x="2308" y="704"/>
                    </a:lnTo>
                    <a:lnTo>
                      <a:pt x="2312" y="700"/>
                    </a:lnTo>
                    <a:lnTo>
                      <a:pt x="2316" y="694"/>
                    </a:lnTo>
                    <a:lnTo>
                      <a:pt x="2318" y="692"/>
                    </a:lnTo>
                    <a:lnTo>
                      <a:pt x="2322" y="690"/>
                    </a:lnTo>
                    <a:lnTo>
                      <a:pt x="2324" y="688"/>
                    </a:lnTo>
                    <a:lnTo>
                      <a:pt x="2328" y="684"/>
                    </a:lnTo>
                    <a:lnTo>
                      <a:pt x="2332" y="682"/>
                    </a:lnTo>
                    <a:lnTo>
                      <a:pt x="2334" y="682"/>
                    </a:lnTo>
                    <a:lnTo>
                      <a:pt x="2340" y="678"/>
                    </a:lnTo>
                    <a:lnTo>
                      <a:pt x="2348" y="674"/>
                    </a:lnTo>
                    <a:lnTo>
                      <a:pt x="2356" y="672"/>
                    </a:lnTo>
                    <a:lnTo>
                      <a:pt x="2362" y="668"/>
                    </a:lnTo>
                    <a:lnTo>
                      <a:pt x="2370" y="664"/>
                    </a:lnTo>
                    <a:lnTo>
                      <a:pt x="2376" y="662"/>
                    </a:lnTo>
                    <a:lnTo>
                      <a:pt x="2378" y="660"/>
                    </a:lnTo>
                    <a:lnTo>
                      <a:pt x="2386" y="658"/>
                    </a:lnTo>
                    <a:lnTo>
                      <a:pt x="2386" y="656"/>
                    </a:lnTo>
                    <a:lnTo>
                      <a:pt x="2388" y="656"/>
                    </a:lnTo>
                    <a:lnTo>
                      <a:pt x="2388" y="656"/>
                    </a:lnTo>
                    <a:lnTo>
                      <a:pt x="2388" y="656"/>
                    </a:lnTo>
                    <a:lnTo>
                      <a:pt x="2390" y="656"/>
                    </a:lnTo>
                    <a:lnTo>
                      <a:pt x="2392" y="658"/>
                    </a:lnTo>
                    <a:lnTo>
                      <a:pt x="2394" y="658"/>
                    </a:lnTo>
                    <a:lnTo>
                      <a:pt x="2400" y="660"/>
                    </a:lnTo>
                    <a:lnTo>
                      <a:pt x="2402" y="662"/>
                    </a:lnTo>
                    <a:lnTo>
                      <a:pt x="2404" y="662"/>
                    </a:lnTo>
                    <a:lnTo>
                      <a:pt x="2404" y="662"/>
                    </a:lnTo>
                    <a:lnTo>
                      <a:pt x="2404" y="662"/>
                    </a:lnTo>
                    <a:lnTo>
                      <a:pt x="2408" y="664"/>
                    </a:lnTo>
                    <a:lnTo>
                      <a:pt x="2408" y="664"/>
                    </a:lnTo>
                    <a:lnTo>
                      <a:pt x="2410" y="662"/>
                    </a:lnTo>
                    <a:lnTo>
                      <a:pt x="2410" y="662"/>
                    </a:lnTo>
                    <a:lnTo>
                      <a:pt x="2410" y="662"/>
                    </a:lnTo>
                    <a:lnTo>
                      <a:pt x="2412" y="662"/>
                    </a:lnTo>
                    <a:lnTo>
                      <a:pt x="2412" y="662"/>
                    </a:lnTo>
                    <a:lnTo>
                      <a:pt x="2414" y="660"/>
                    </a:lnTo>
                    <a:lnTo>
                      <a:pt x="2414" y="660"/>
                    </a:lnTo>
                    <a:lnTo>
                      <a:pt x="2414" y="660"/>
                    </a:lnTo>
                    <a:lnTo>
                      <a:pt x="2416" y="658"/>
                    </a:lnTo>
                    <a:lnTo>
                      <a:pt x="2416" y="656"/>
                    </a:lnTo>
                    <a:lnTo>
                      <a:pt x="2418" y="654"/>
                    </a:lnTo>
                    <a:lnTo>
                      <a:pt x="2420" y="648"/>
                    </a:lnTo>
                    <a:lnTo>
                      <a:pt x="2420" y="644"/>
                    </a:lnTo>
                    <a:lnTo>
                      <a:pt x="2422" y="642"/>
                    </a:lnTo>
                    <a:lnTo>
                      <a:pt x="2422" y="642"/>
                    </a:lnTo>
                    <a:lnTo>
                      <a:pt x="2422" y="642"/>
                    </a:lnTo>
                    <a:lnTo>
                      <a:pt x="2420" y="640"/>
                    </a:lnTo>
                    <a:lnTo>
                      <a:pt x="2420" y="640"/>
                    </a:lnTo>
                    <a:lnTo>
                      <a:pt x="2420" y="638"/>
                    </a:lnTo>
                    <a:lnTo>
                      <a:pt x="2420" y="638"/>
                    </a:lnTo>
                    <a:lnTo>
                      <a:pt x="2420" y="638"/>
                    </a:lnTo>
                    <a:lnTo>
                      <a:pt x="2420" y="636"/>
                    </a:lnTo>
                    <a:lnTo>
                      <a:pt x="2418" y="636"/>
                    </a:lnTo>
                    <a:lnTo>
                      <a:pt x="2416" y="634"/>
                    </a:lnTo>
                    <a:lnTo>
                      <a:pt x="2414" y="630"/>
                    </a:lnTo>
                    <a:lnTo>
                      <a:pt x="2412" y="628"/>
                    </a:lnTo>
                    <a:lnTo>
                      <a:pt x="2410" y="626"/>
                    </a:lnTo>
                    <a:lnTo>
                      <a:pt x="2410" y="624"/>
                    </a:lnTo>
                    <a:lnTo>
                      <a:pt x="2408" y="622"/>
                    </a:lnTo>
                    <a:lnTo>
                      <a:pt x="2404" y="614"/>
                    </a:lnTo>
                    <a:lnTo>
                      <a:pt x="2404" y="612"/>
                    </a:lnTo>
                    <a:lnTo>
                      <a:pt x="2402" y="608"/>
                    </a:lnTo>
                    <a:lnTo>
                      <a:pt x="2400" y="604"/>
                    </a:lnTo>
                    <a:lnTo>
                      <a:pt x="2398" y="602"/>
                    </a:lnTo>
                    <a:lnTo>
                      <a:pt x="2398" y="600"/>
                    </a:lnTo>
                    <a:lnTo>
                      <a:pt x="2396" y="600"/>
                    </a:lnTo>
                    <a:lnTo>
                      <a:pt x="2396" y="600"/>
                    </a:lnTo>
                    <a:lnTo>
                      <a:pt x="2396" y="598"/>
                    </a:lnTo>
                    <a:lnTo>
                      <a:pt x="2394" y="596"/>
                    </a:lnTo>
                    <a:lnTo>
                      <a:pt x="2392" y="594"/>
                    </a:lnTo>
                    <a:lnTo>
                      <a:pt x="2390" y="592"/>
                    </a:lnTo>
                    <a:lnTo>
                      <a:pt x="2386" y="592"/>
                    </a:lnTo>
                    <a:lnTo>
                      <a:pt x="2386" y="592"/>
                    </a:lnTo>
                    <a:lnTo>
                      <a:pt x="2386" y="590"/>
                    </a:lnTo>
                    <a:lnTo>
                      <a:pt x="2384" y="590"/>
                    </a:lnTo>
                    <a:lnTo>
                      <a:pt x="2382" y="588"/>
                    </a:lnTo>
                    <a:lnTo>
                      <a:pt x="2382" y="588"/>
                    </a:lnTo>
                    <a:lnTo>
                      <a:pt x="2380" y="584"/>
                    </a:lnTo>
                    <a:lnTo>
                      <a:pt x="2378" y="582"/>
                    </a:lnTo>
                    <a:lnTo>
                      <a:pt x="2376" y="578"/>
                    </a:lnTo>
                    <a:lnTo>
                      <a:pt x="2376" y="578"/>
                    </a:lnTo>
                    <a:lnTo>
                      <a:pt x="2376" y="578"/>
                    </a:lnTo>
                    <a:lnTo>
                      <a:pt x="2376" y="578"/>
                    </a:lnTo>
                    <a:lnTo>
                      <a:pt x="2378" y="578"/>
                    </a:lnTo>
                    <a:lnTo>
                      <a:pt x="2382" y="576"/>
                    </a:lnTo>
                    <a:lnTo>
                      <a:pt x="2382" y="576"/>
                    </a:lnTo>
                    <a:lnTo>
                      <a:pt x="2384" y="576"/>
                    </a:lnTo>
                    <a:lnTo>
                      <a:pt x="2384" y="578"/>
                    </a:lnTo>
                    <a:lnTo>
                      <a:pt x="2384" y="578"/>
                    </a:lnTo>
                    <a:lnTo>
                      <a:pt x="2386" y="580"/>
                    </a:lnTo>
                    <a:lnTo>
                      <a:pt x="2388" y="584"/>
                    </a:lnTo>
                    <a:lnTo>
                      <a:pt x="2388" y="584"/>
                    </a:lnTo>
                    <a:lnTo>
                      <a:pt x="2390" y="584"/>
                    </a:lnTo>
                    <a:lnTo>
                      <a:pt x="2390" y="584"/>
                    </a:lnTo>
                    <a:lnTo>
                      <a:pt x="2390" y="584"/>
                    </a:lnTo>
                    <a:lnTo>
                      <a:pt x="2392" y="586"/>
                    </a:lnTo>
                    <a:lnTo>
                      <a:pt x="2394" y="586"/>
                    </a:lnTo>
                    <a:lnTo>
                      <a:pt x="2394" y="586"/>
                    </a:lnTo>
                    <a:lnTo>
                      <a:pt x="2394" y="586"/>
                    </a:lnTo>
                    <a:lnTo>
                      <a:pt x="2396" y="586"/>
                    </a:lnTo>
                    <a:lnTo>
                      <a:pt x="2400" y="586"/>
                    </a:lnTo>
                    <a:lnTo>
                      <a:pt x="2406" y="586"/>
                    </a:lnTo>
                    <a:lnTo>
                      <a:pt x="2412" y="584"/>
                    </a:lnTo>
                    <a:lnTo>
                      <a:pt x="2414" y="584"/>
                    </a:lnTo>
                    <a:lnTo>
                      <a:pt x="2416" y="582"/>
                    </a:lnTo>
                    <a:lnTo>
                      <a:pt x="2416" y="582"/>
                    </a:lnTo>
                    <a:lnTo>
                      <a:pt x="2418" y="582"/>
                    </a:lnTo>
                    <a:lnTo>
                      <a:pt x="2420" y="580"/>
                    </a:lnTo>
                    <a:lnTo>
                      <a:pt x="2420" y="580"/>
                    </a:lnTo>
                    <a:lnTo>
                      <a:pt x="2420" y="580"/>
                    </a:lnTo>
                    <a:lnTo>
                      <a:pt x="2422" y="578"/>
                    </a:lnTo>
                    <a:lnTo>
                      <a:pt x="2424" y="576"/>
                    </a:lnTo>
                    <a:lnTo>
                      <a:pt x="2424" y="572"/>
                    </a:lnTo>
                    <a:lnTo>
                      <a:pt x="2426" y="570"/>
                    </a:lnTo>
                    <a:lnTo>
                      <a:pt x="2426" y="570"/>
                    </a:lnTo>
                    <a:lnTo>
                      <a:pt x="2426" y="570"/>
                    </a:lnTo>
                    <a:lnTo>
                      <a:pt x="2426" y="566"/>
                    </a:lnTo>
                    <a:lnTo>
                      <a:pt x="2428" y="564"/>
                    </a:lnTo>
                    <a:lnTo>
                      <a:pt x="2428" y="562"/>
                    </a:lnTo>
                    <a:lnTo>
                      <a:pt x="2428" y="560"/>
                    </a:lnTo>
                    <a:lnTo>
                      <a:pt x="2430" y="560"/>
                    </a:lnTo>
                    <a:lnTo>
                      <a:pt x="2432" y="558"/>
                    </a:lnTo>
                    <a:lnTo>
                      <a:pt x="2432" y="558"/>
                    </a:lnTo>
                    <a:lnTo>
                      <a:pt x="2432" y="558"/>
                    </a:lnTo>
                    <a:lnTo>
                      <a:pt x="2432" y="556"/>
                    </a:lnTo>
                    <a:lnTo>
                      <a:pt x="2432" y="556"/>
                    </a:lnTo>
                    <a:lnTo>
                      <a:pt x="2432" y="556"/>
                    </a:lnTo>
                    <a:lnTo>
                      <a:pt x="2432" y="558"/>
                    </a:lnTo>
                    <a:lnTo>
                      <a:pt x="2434" y="560"/>
                    </a:lnTo>
                    <a:lnTo>
                      <a:pt x="2434" y="560"/>
                    </a:lnTo>
                    <a:lnTo>
                      <a:pt x="2434" y="560"/>
                    </a:lnTo>
                    <a:lnTo>
                      <a:pt x="2436" y="562"/>
                    </a:lnTo>
                    <a:lnTo>
                      <a:pt x="2436" y="562"/>
                    </a:lnTo>
                    <a:lnTo>
                      <a:pt x="2436" y="562"/>
                    </a:lnTo>
                    <a:lnTo>
                      <a:pt x="2438" y="562"/>
                    </a:lnTo>
                    <a:lnTo>
                      <a:pt x="2438" y="562"/>
                    </a:lnTo>
                    <a:lnTo>
                      <a:pt x="2440" y="564"/>
                    </a:lnTo>
                    <a:lnTo>
                      <a:pt x="2442" y="564"/>
                    </a:lnTo>
                    <a:lnTo>
                      <a:pt x="2444" y="564"/>
                    </a:lnTo>
                    <a:lnTo>
                      <a:pt x="2450" y="562"/>
                    </a:lnTo>
                    <a:lnTo>
                      <a:pt x="2452" y="562"/>
                    </a:lnTo>
                    <a:lnTo>
                      <a:pt x="2456" y="562"/>
                    </a:lnTo>
                    <a:lnTo>
                      <a:pt x="2458" y="562"/>
                    </a:lnTo>
                    <a:lnTo>
                      <a:pt x="2458" y="562"/>
                    </a:lnTo>
                    <a:lnTo>
                      <a:pt x="2458" y="562"/>
                    </a:lnTo>
                    <a:lnTo>
                      <a:pt x="2460" y="560"/>
                    </a:lnTo>
                    <a:lnTo>
                      <a:pt x="2460" y="560"/>
                    </a:lnTo>
                    <a:lnTo>
                      <a:pt x="2460" y="560"/>
                    </a:lnTo>
                    <a:lnTo>
                      <a:pt x="2462" y="558"/>
                    </a:lnTo>
                    <a:lnTo>
                      <a:pt x="2466" y="556"/>
                    </a:lnTo>
                    <a:lnTo>
                      <a:pt x="2466" y="556"/>
                    </a:lnTo>
                    <a:lnTo>
                      <a:pt x="2466" y="556"/>
                    </a:lnTo>
                    <a:lnTo>
                      <a:pt x="2468" y="556"/>
                    </a:lnTo>
                    <a:lnTo>
                      <a:pt x="2472" y="556"/>
                    </a:lnTo>
                    <a:lnTo>
                      <a:pt x="2472" y="556"/>
                    </a:lnTo>
                    <a:lnTo>
                      <a:pt x="2474" y="556"/>
                    </a:lnTo>
                    <a:lnTo>
                      <a:pt x="2474" y="556"/>
                    </a:lnTo>
                    <a:lnTo>
                      <a:pt x="2474" y="558"/>
                    </a:lnTo>
                    <a:lnTo>
                      <a:pt x="2474" y="560"/>
                    </a:lnTo>
                    <a:lnTo>
                      <a:pt x="2472" y="564"/>
                    </a:lnTo>
                    <a:lnTo>
                      <a:pt x="2470" y="566"/>
                    </a:lnTo>
                    <a:lnTo>
                      <a:pt x="2470" y="570"/>
                    </a:lnTo>
                    <a:lnTo>
                      <a:pt x="2470" y="570"/>
                    </a:lnTo>
                    <a:lnTo>
                      <a:pt x="2470" y="572"/>
                    </a:lnTo>
                    <a:lnTo>
                      <a:pt x="2470" y="572"/>
                    </a:lnTo>
                    <a:lnTo>
                      <a:pt x="2470" y="572"/>
                    </a:lnTo>
                    <a:lnTo>
                      <a:pt x="2470" y="574"/>
                    </a:lnTo>
                    <a:lnTo>
                      <a:pt x="2470" y="574"/>
                    </a:lnTo>
                    <a:lnTo>
                      <a:pt x="2470" y="576"/>
                    </a:lnTo>
                    <a:lnTo>
                      <a:pt x="2472" y="578"/>
                    </a:lnTo>
                    <a:lnTo>
                      <a:pt x="2472" y="578"/>
                    </a:lnTo>
                    <a:lnTo>
                      <a:pt x="2472" y="578"/>
                    </a:lnTo>
                    <a:lnTo>
                      <a:pt x="2474" y="578"/>
                    </a:lnTo>
                    <a:lnTo>
                      <a:pt x="2474" y="578"/>
                    </a:lnTo>
                    <a:lnTo>
                      <a:pt x="2476" y="580"/>
                    </a:lnTo>
                    <a:lnTo>
                      <a:pt x="2478" y="580"/>
                    </a:lnTo>
                    <a:lnTo>
                      <a:pt x="2480" y="580"/>
                    </a:lnTo>
                    <a:lnTo>
                      <a:pt x="2486" y="580"/>
                    </a:lnTo>
                    <a:lnTo>
                      <a:pt x="2488" y="580"/>
                    </a:lnTo>
                    <a:lnTo>
                      <a:pt x="2490" y="582"/>
                    </a:lnTo>
                    <a:lnTo>
                      <a:pt x="2492" y="582"/>
                    </a:lnTo>
                    <a:lnTo>
                      <a:pt x="2492" y="584"/>
                    </a:lnTo>
                    <a:lnTo>
                      <a:pt x="2494" y="588"/>
                    </a:lnTo>
                    <a:lnTo>
                      <a:pt x="2496" y="592"/>
                    </a:lnTo>
                    <a:lnTo>
                      <a:pt x="2498" y="594"/>
                    </a:lnTo>
                    <a:lnTo>
                      <a:pt x="2500" y="596"/>
                    </a:lnTo>
                    <a:lnTo>
                      <a:pt x="2500" y="596"/>
                    </a:lnTo>
                    <a:lnTo>
                      <a:pt x="2500" y="596"/>
                    </a:lnTo>
                    <a:lnTo>
                      <a:pt x="2502" y="598"/>
                    </a:lnTo>
                    <a:lnTo>
                      <a:pt x="2504" y="600"/>
                    </a:lnTo>
                    <a:lnTo>
                      <a:pt x="2510" y="602"/>
                    </a:lnTo>
                    <a:lnTo>
                      <a:pt x="2512" y="604"/>
                    </a:lnTo>
                    <a:lnTo>
                      <a:pt x="2514" y="604"/>
                    </a:lnTo>
                    <a:lnTo>
                      <a:pt x="2514" y="604"/>
                    </a:lnTo>
                    <a:lnTo>
                      <a:pt x="2516" y="604"/>
                    </a:lnTo>
                    <a:lnTo>
                      <a:pt x="2516" y="604"/>
                    </a:lnTo>
                    <a:lnTo>
                      <a:pt x="2518" y="604"/>
                    </a:lnTo>
                    <a:lnTo>
                      <a:pt x="2520" y="604"/>
                    </a:lnTo>
                    <a:lnTo>
                      <a:pt x="2520" y="604"/>
                    </a:lnTo>
                    <a:lnTo>
                      <a:pt x="2520" y="602"/>
                    </a:lnTo>
                    <a:lnTo>
                      <a:pt x="2522" y="602"/>
                    </a:lnTo>
                    <a:lnTo>
                      <a:pt x="2522" y="602"/>
                    </a:lnTo>
                    <a:lnTo>
                      <a:pt x="2522" y="600"/>
                    </a:lnTo>
                    <a:lnTo>
                      <a:pt x="2522" y="598"/>
                    </a:lnTo>
                    <a:lnTo>
                      <a:pt x="2522" y="596"/>
                    </a:lnTo>
                    <a:lnTo>
                      <a:pt x="2522" y="594"/>
                    </a:lnTo>
                    <a:lnTo>
                      <a:pt x="2522" y="588"/>
                    </a:lnTo>
                    <a:lnTo>
                      <a:pt x="2522" y="586"/>
                    </a:lnTo>
                    <a:lnTo>
                      <a:pt x="2522" y="586"/>
                    </a:lnTo>
                    <a:lnTo>
                      <a:pt x="2522" y="584"/>
                    </a:lnTo>
                    <a:lnTo>
                      <a:pt x="2522" y="584"/>
                    </a:lnTo>
                    <a:lnTo>
                      <a:pt x="2524" y="580"/>
                    </a:lnTo>
                    <a:lnTo>
                      <a:pt x="2526" y="578"/>
                    </a:lnTo>
                    <a:lnTo>
                      <a:pt x="2528" y="574"/>
                    </a:lnTo>
                    <a:lnTo>
                      <a:pt x="2530" y="570"/>
                    </a:lnTo>
                    <a:lnTo>
                      <a:pt x="2534" y="566"/>
                    </a:lnTo>
                    <a:lnTo>
                      <a:pt x="2536" y="562"/>
                    </a:lnTo>
                    <a:lnTo>
                      <a:pt x="2538" y="560"/>
                    </a:lnTo>
                    <a:lnTo>
                      <a:pt x="2538" y="560"/>
                    </a:lnTo>
                    <a:lnTo>
                      <a:pt x="2538" y="560"/>
                    </a:lnTo>
                    <a:lnTo>
                      <a:pt x="2540" y="558"/>
                    </a:lnTo>
                    <a:lnTo>
                      <a:pt x="2540" y="558"/>
                    </a:lnTo>
                    <a:lnTo>
                      <a:pt x="2540" y="556"/>
                    </a:lnTo>
                    <a:lnTo>
                      <a:pt x="2540" y="556"/>
                    </a:lnTo>
                    <a:lnTo>
                      <a:pt x="2540" y="556"/>
                    </a:lnTo>
                    <a:lnTo>
                      <a:pt x="2540" y="554"/>
                    </a:lnTo>
                    <a:lnTo>
                      <a:pt x="2542" y="554"/>
                    </a:lnTo>
                    <a:lnTo>
                      <a:pt x="2544" y="554"/>
                    </a:lnTo>
                    <a:lnTo>
                      <a:pt x="2548" y="556"/>
                    </a:lnTo>
                    <a:lnTo>
                      <a:pt x="2548" y="556"/>
                    </a:lnTo>
                    <a:lnTo>
                      <a:pt x="2548" y="556"/>
                    </a:lnTo>
                    <a:lnTo>
                      <a:pt x="2552" y="554"/>
                    </a:lnTo>
                    <a:lnTo>
                      <a:pt x="2552" y="554"/>
                    </a:lnTo>
                    <a:lnTo>
                      <a:pt x="2552" y="554"/>
                    </a:lnTo>
                    <a:lnTo>
                      <a:pt x="2554" y="554"/>
                    </a:lnTo>
                    <a:lnTo>
                      <a:pt x="2554" y="554"/>
                    </a:lnTo>
                    <a:lnTo>
                      <a:pt x="2556" y="554"/>
                    </a:lnTo>
                    <a:lnTo>
                      <a:pt x="2558" y="552"/>
                    </a:lnTo>
                    <a:lnTo>
                      <a:pt x="2558" y="552"/>
                    </a:lnTo>
                    <a:lnTo>
                      <a:pt x="2558" y="552"/>
                    </a:lnTo>
                    <a:lnTo>
                      <a:pt x="2560" y="550"/>
                    </a:lnTo>
                    <a:lnTo>
                      <a:pt x="2562" y="548"/>
                    </a:lnTo>
                    <a:lnTo>
                      <a:pt x="2564" y="546"/>
                    </a:lnTo>
                    <a:lnTo>
                      <a:pt x="2566" y="542"/>
                    </a:lnTo>
                    <a:lnTo>
                      <a:pt x="2566" y="542"/>
                    </a:lnTo>
                    <a:lnTo>
                      <a:pt x="2566" y="540"/>
                    </a:lnTo>
                    <a:lnTo>
                      <a:pt x="2566" y="538"/>
                    </a:lnTo>
                    <a:lnTo>
                      <a:pt x="2566" y="538"/>
                    </a:lnTo>
                    <a:lnTo>
                      <a:pt x="2566" y="538"/>
                    </a:lnTo>
                    <a:lnTo>
                      <a:pt x="2568" y="536"/>
                    </a:lnTo>
                    <a:lnTo>
                      <a:pt x="2568" y="536"/>
                    </a:lnTo>
                    <a:lnTo>
                      <a:pt x="2568" y="534"/>
                    </a:lnTo>
                    <a:lnTo>
                      <a:pt x="2568" y="534"/>
                    </a:lnTo>
                    <a:lnTo>
                      <a:pt x="2568" y="532"/>
                    </a:lnTo>
                    <a:lnTo>
                      <a:pt x="2568" y="530"/>
                    </a:lnTo>
                    <a:close/>
                    <a:moveTo>
                      <a:pt x="874" y="436"/>
                    </a:moveTo>
                    <a:lnTo>
                      <a:pt x="872" y="434"/>
                    </a:lnTo>
                    <a:lnTo>
                      <a:pt x="870" y="434"/>
                    </a:lnTo>
                    <a:lnTo>
                      <a:pt x="870" y="432"/>
                    </a:lnTo>
                    <a:lnTo>
                      <a:pt x="868" y="428"/>
                    </a:lnTo>
                    <a:lnTo>
                      <a:pt x="866" y="426"/>
                    </a:lnTo>
                    <a:lnTo>
                      <a:pt x="864" y="422"/>
                    </a:lnTo>
                    <a:lnTo>
                      <a:pt x="862" y="418"/>
                    </a:lnTo>
                    <a:lnTo>
                      <a:pt x="862" y="414"/>
                    </a:lnTo>
                    <a:lnTo>
                      <a:pt x="860" y="414"/>
                    </a:lnTo>
                    <a:lnTo>
                      <a:pt x="862" y="414"/>
                    </a:lnTo>
                    <a:lnTo>
                      <a:pt x="864" y="414"/>
                    </a:lnTo>
                    <a:lnTo>
                      <a:pt x="864" y="414"/>
                    </a:lnTo>
                    <a:lnTo>
                      <a:pt x="866" y="414"/>
                    </a:lnTo>
                    <a:lnTo>
                      <a:pt x="868" y="416"/>
                    </a:lnTo>
                    <a:lnTo>
                      <a:pt x="868" y="414"/>
                    </a:lnTo>
                    <a:lnTo>
                      <a:pt x="870" y="416"/>
                    </a:lnTo>
                    <a:lnTo>
                      <a:pt x="874" y="420"/>
                    </a:lnTo>
                    <a:lnTo>
                      <a:pt x="876" y="422"/>
                    </a:lnTo>
                    <a:lnTo>
                      <a:pt x="880" y="424"/>
                    </a:lnTo>
                    <a:lnTo>
                      <a:pt x="880" y="428"/>
                    </a:lnTo>
                    <a:lnTo>
                      <a:pt x="880" y="428"/>
                    </a:lnTo>
                    <a:lnTo>
                      <a:pt x="882" y="430"/>
                    </a:lnTo>
                    <a:lnTo>
                      <a:pt x="882" y="432"/>
                    </a:lnTo>
                    <a:lnTo>
                      <a:pt x="882" y="438"/>
                    </a:lnTo>
                    <a:lnTo>
                      <a:pt x="882" y="442"/>
                    </a:lnTo>
                    <a:lnTo>
                      <a:pt x="880" y="442"/>
                    </a:lnTo>
                    <a:lnTo>
                      <a:pt x="880" y="442"/>
                    </a:lnTo>
                    <a:lnTo>
                      <a:pt x="880" y="442"/>
                    </a:lnTo>
                    <a:lnTo>
                      <a:pt x="880" y="440"/>
                    </a:lnTo>
                    <a:lnTo>
                      <a:pt x="878" y="440"/>
                    </a:lnTo>
                    <a:lnTo>
                      <a:pt x="876" y="438"/>
                    </a:lnTo>
                    <a:lnTo>
                      <a:pt x="874" y="436"/>
                    </a:lnTo>
                    <a:close/>
                    <a:moveTo>
                      <a:pt x="886" y="474"/>
                    </a:moveTo>
                    <a:lnTo>
                      <a:pt x="882" y="472"/>
                    </a:lnTo>
                    <a:lnTo>
                      <a:pt x="880" y="470"/>
                    </a:lnTo>
                    <a:lnTo>
                      <a:pt x="878" y="466"/>
                    </a:lnTo>
                    <a:lnTo>
                      <a:pt x="880" y="468"/>
                    </a:lnTo>
                    <a:lnTo>
                      <a:pt x="878" y="466"/>
                    </a:lnTo>
                    <a:lnTo>
                      <a:pt x="878" y="464"/>
                    </a:lnTo>
                    <a:lnTo>
                      <a:pt x="878" y="462"/>
                    </a:lnTo>
                    <a:lnTo>
                      <a:pt x="878" y="458"/>
                    </a:lnTo>
                    <a:lnTo>
                      <a:pt x="880" y="456"/>
                    </a:lnTo>
                    <a:lnTo>
                      <a:pt x="880" y="450"/>
                    </a:lnTo>
                    <a:lnTo>
                      <a:pt x="880" y="452"/>
                    </a:lnTo>
                    <a:lnTo>
                      <a:pt x="880" y="454"/>
                    </a:lnTo>
                    <a:lnTo>
                      <a:pt x="882" y="456"/>
                    </a:lnTo>
                    <a:lnTo>
                      <a:pt x="882" y="458"/>
                    </a:lnTo>
                    <a:lnTo>
                      <a:pt x="882" y="460"/>
                    </a:lnTo>
                    <a:lnTo>
                      <a:pt x="882" y="462"/>
                    </a:lnTo>
                    <a:lnTo>
                      <a:pt x="884" y="466"/>
                    </a:lnTo>
                    <a:lnTo>
                      <a:pt x="884" y="468"/>
                    </a:lnTo>
                    <a:lnTo>
                      <a:pt x="886" y="472"/>
                    </a:lnTo>
                    <a:lnTo>
                      <a:pt x="886" y="474"/>
                    </a:lnTo>
                    <a:lnTo>
                      <a:pt x="886" y="474"/>
                    </a:lnTo>
                    <a:close/>
                    <a:moveTo>
                      <a:pt x="888" y="330"/>
                    </a:moveTo>
                    <a:lnTo>
                      <a:pt x="886" y="330"/>
                    </a:lnTo>
                    <a:lnTo>
                      <a:pt x="882" y="330"/>
                    </a:lnTo>
                    <a:lnTo>
                      <a:pt x="878" y="330"/>
                    </a:lnTo>
                    <a:lnTo>
                      <a:pt x="874" y="330"/>
                    </a:lnTo>
                    <a:lnTo>
                      <a:pt x="872" y="328"/>
                    </a:lnTo>
                    <a:lnTo>
                      <a:pt x="868" y="328"/>
                    </a:lnTo>
                    <a:lnTo>
                      <a:pt x="866" y="326"/>
                    </a:lnTo>
                    <a:lnTo>
                      <a:pt x="862" y="324"/>
                    </a:lnTo>
                    <a:lnTo>
                      <a:pt x="858" y="320"/>
                    </a:lnTo>
                    <a:lnTo>
                      <a:pt x="854" y="318"/>
                    </a:lnTo>
                    <a:lnTo>
                      <a:pt x="852" y="316"/>
                    </a:lnTo>
                    <a:lnTo>
                      <a:pt x="848" y="314"/>
                    </a:lnTo>
                    <a:lnTo>
                      <a:pt x="846" y="310"/>
                    </a:lnTo>
                    <a:lnTo>
                      <a:pt x="848" y="312"/>
                    </a:lnTo>
                    <a:lnTo>
                      <a:pt x="846" y="310"/>
                    </a:lnTo>
                    <a:lnTo>
                      <a:pt x="846" y="308"/>
                    </a:lnTo>
                    <a:lnTo>
                      <a:pt x="846" y="308"/>
                    </a:lnTo>
                    <a:lnTo>
                      <a:pt x="846" y="306"/>
                    </a:lnTo>
                    <a:lnTo>
                      <a:pt x="846" y="304"/>
                    </a:lnTo>
                    <a:lnTo>
                      <a:pt x="846" y="300"/>
                    </a:lnTo>
                    <a:lnTo>
                      <a:pt x="848" y="296"/>
                    </a:lnTo>
                    <a:lnTo>
                      <a:pt x="848" y="296"/>
                    </a:lnTo>
                    <a:lnTo>
                      <a:pt x="848" y="296"/>
                    </a:lnTo>
                    <a:lnTo>
                      <a:pt x="850" y="296"/>
                    </a:lnTo>
                    <a:lnTo>
                      <a:pt x="852" y="296"/>
                    </a:lnTo>
                    <a:lnTo>
                      <a:pt x="852" y="296"/>
                    </a:lnTo>
                    <a:lnTo>
                      <a:pt x="852" y="294"/>
                    </a:lnTo>
                    <a:lnTo>
                      <a:pt x="854" y="294"/>
                    </a:lnTo>
                    <a:lnTo>
                      <a:pt x="854" y="294"/>
                    </a:lnTo>
                    <a:lnTo>
                      <a:pt x="854" y="294"/>
                    </a:lnTo>
                    <a:lnTo>
                      <a:pt x="856" y="292"/>
                    </a:lnTo>
                    <a:lnTo>
                      <a:pt x="856" y="292"/>
                    </a:lnTo>
                    <a:lnTo>
                      <a:pt x="856" y="292"/>
                    </a:lnTo>
                    <a:lnTo>
                      <a:pt x="856" y="292"/>
                    </a:lnTo>
                    <a:lnTo>
                      <a:pt x="854" y="294"/>
                    </a:lnTo>
                    <a:lnTo>
                      <a:pt x="854" y="298"/>
                    </a:lnTo>
                    <a:lnTo>
                      <a:pt x="854" y="298"/>
                    </a:lnTo>
                    <a:lnTo>
                      <a:pt x="856" y="300"/>
                    </a:lnTo>
                    <a:lnTo>
                      <a:pt x="856" y="302"/>
                    </a:lnTo>
                    <a:lnTo>
                      <a:pt x="856" y="302"/>
                    </a:lnTo>
                    <a:lnTo>
                      <a:pt x="856" y="302"/>
                    </a:lnTo>
                    <a:lnTo>
                      <a:pt x="856" y="304"/>
                    </a:lnTo>
                    <a:lnTo>
                      <a:pt x="856" y="304"/>
                    </a:lnTo>
                    <a:lnTo>
                      <a:pt x="856" y="304"/>
                    </a:lnTo>
                    <a:lnTo>
                      <a:pt x="858" y="306"/>
                    </a:lnTo>
                    <a:lnTo>
                      <a:pt x="858" y="306"/>
                    </a:lnTo>
                    <a:lnTo>
                      <a:pt x="858" y="308"/>
                    </a:lnTo>
                    <a:lnTo>
                      <a:pt x="860" y="310"/>
                    </a:lnTo>
                    <a:lnTo>
                      <a:pt x="862" y="312"/>
                    </a:lnTo>
                    <a:lnTo>
                      <a:pt x="864" y="312"/>
                    </a:lnTo>
                    <a:lnTo>
                      <a:pt x="868" y="316"/>
                    </a:lnTo>
                    <a:lnTo>
                      <a:pt x="874" y="318"/>
                    </a:lnTo>
                    <a:lnTo>
                      <a:pt x="878" y="322"/>
                    </a:lnTo>
                    <a:lnTo>
                      <a:pt x="884" y="324"/>
                    </a:lnTo>
                    <a:lnTo>
                      <a:pt x="888" y="326"/>
                    </a:lnTo>
                    <a:lnTo>
                      <a:pt x="888" y="328"/>
                    </a:lnTo>
                    <a:lnTo>
                      <a:pt x="890" y="328"/>
                    </a:lnTo>
                    <a:lnTo>
                      <a:pt x="888" y="330"/>
                    </a:lnTo>
                    <a:close/>
                    <a:moveTo>
                      <a:pt x="966" y="316"/>
                    </a:moveTo>
                    <a:lnTo>
                      <a:pt x="966" y="320"/>
                    </a:lnTo>
                    <a:lnTo>
                      <a:pt x="966" y="322"/>
                    </a:lnTo>
                    <a:lnTo>
                      <a:pt x="966" y="330"/>
                    </a:lnTo>
                    <a:lnTo>
                      <a:pt x="966" y="332"/>
                    </a:lnTo>
                    <a:lnTo>
                      <a:pt x="964" y="334"/>
                    </a:lnTo>
                    <a:lnTo>
                      <a:pt x="964" y="336"/>
                    </a:lnTo>
                    <a:lnTo>
                      <a:pt x="964" y="336"/>
                    </a:lnTo>
                    <a:lnTo>
                      <a:pt x="964" y="338"/>
                    </a:lnTo>
                    <a:lnTo>
                      <a:pt x="964" y="338"/>
                    </a:lnTo>
                    <a:lnTo>
                      <a:pt x="962" y="338"/>
                    </a:lnTo>
                    <a:lnTo>
                      <a:pt x="960" y="338"/>
                    </a:lnTo>
                    <a:lnTo>
                      <a:pt x="958" y="336"/>
                    </a:lnTo>
                    <a:lnTo>
                      <a:pt x="956" y="336"/>
                    </a:lnTo>
                    <a:lnTo>
                      <a:pt x="954" y="334"/>
                    </a:lnTo>
                    <a:lnTo>
                      <a:pt x="954" y="334"/>
                    </a:lnTo>
                    <a:lnTo>
                      <a:pt x="952" y="332"/>
                    </a:lnTo>
                    <a:lnTo>
                      <a:pt x="952" y="332"/>
                    </a:lnTo>
                    <a:lnTo>
                      <a:pt x="952" y="330"/>
                    </a:lnTo>
                    <a:lnTo>
                      <a:pt x="952" y="328"/>
                    </a:lnTo>
                    <a:lnTo>
                      <a:pt x="952" y="324"/>
                    </a:lnTo>
                    <a:lnTo>
                      <a:pt x="952" y="322"/>
                    </a:lnTo>
                    <a:lnTo>
                      <a:pt x="952" y="322"/>
                    </a:lnTo>
                    <a:lnTo>
                      <a:pt x="954" y="320"/>
                    </a:lnTo>
                    <a:lnTo>
                      <a:pt x="956" y="320"/>
                    </a:lnTo>
                    <a:lnTo>
                      <a:pt x="960" y="318"/>
                    </a:lnTo>
                    <a:lnTo>
                      <a:pt x="962" y="316"/>
                    </a:lnTo>
                    <a:lnTo>
                      <a:pt x="964" y="316"/>
                    </a:lnTo>
                    <a:lnTo>
                      <a:pt x="966" y="314"/>
                    </a:lnTo>
                    <a:lnTo>
                      <a:pt x="966" y="314"/>
                    </a:lnTo>
                    <a:lnTo>
                      <a:pt x="966" y="314"/>
                    </a:lnTo>
                    <a:lnTo>
                      <a:pt x="966" y="314"/>
                    </a:lnTo>
                    <a:lnTo>
                      <a:pt x="966" y="316"/>
                    </a:lnTo>
                    <a:close/>
                    <a:moveTo>
                      <a:pt x="1746" y="118"/>
                    </a:moveTo>
                    <a:lnTo>
                      <a:pt x="1746" y="118"/>
                    </a:lnTo>
                    <a:lnTo>
                      <a:pt x="1748" y="120"/>
                    </a:lnTo>
                    <a:lnTo>
                      <a:pt x="1748" y="120"/>
                    </a:lnTo>
                    <a:lnTo>
                      <a:pt x="1748" y="120"/>
                    </a:lnTo>
                    <a:lnTo>
                      <a:pt x="1748" y="120"/>
                    </a:lnTo>
                    <a:lnTo>
                      <a:pt x="1748" y="120"/>
                    </a:lnTo>
                    <a:lnTo>
                      <a:pt x="1750" y="122"/>
                    </a:lnTo>
                    <a:lnTo>
                      <a:pt x="1750" y="122"/>
                    </a:lnTo>
                    <a:lnTo>
                      <a:pt x="1752" y="118"/>
                    </a:lnTo>
                    <a:lnTo>
                      <a:pt x="1752" y="118"/>
                    </a:lnTo>
                    <a:lnTo>
                      <a:pt x="1752" y="118"/>
                    </a:lnTo>
                    <a:lnTo>
                      <a:pt x="1756" y="118"/>
                    </a:lnTo>
                    <a:lnTo>
                      <a:pt x="1756" y="118"/>
                    </a:lnTo>
                    <a:lnTo>
                      <a:pt x="1756" y="118"/>
                    </a:lnTo>
                    <a:lnTo>
                      <a:pt x="1760" y="116"/>
                    </a:lnTo>
                    <a:lnTo>
                      <a:pt x="1760" y="116"/>
                    </a:lnTo>
                    <a:lnTo>
                      <a:pt x="1760" y="116"/>
                    </a:lnTo>
                    <a:lnTo>
                      <a:pt x="1762" y="114"/>
                    </a:lnTo>
                    <a:lnTo>
                      <a:pt x="1762" y="114"/>
                    </a:lnTo>
                    <a:lnTo>
                      <a:pt x="1764" y="112"/>
                    </a:lnTo>
                    <a:lnTo>
                      <a:pt x="1766" y="110"/>
                    </a:lnTo>
                    <a:lnTo>
                      <a:pt x="1766" y="110"/>
                    </a:lnTo>
                    <a:lnTo>
                      <a:pt x="1766" y="110"/>
                    </a:lnTo>
                    <a:lnTo>
                      <a:pt x="1766" y="106"/>
                    </a:lnTo>
                    <a:lnTo>
                      <a:pt x="1766" y="106"/>
                    </a:lnTo>
                    <a:lnTo>
                      <a:pt x="1766" y="106"/>
                    </a:lnTo>
                    <a:lnTo>
                      <a:pt x="1766" y="102"/>
                    </a:lnTo>
                    <a:lnTo>
                      <a:pt x="1766" y="102"/>
                    </a:lnTo>
                    <a:lnTo>
                      <a:pt x="1764" y="102"/>
                    </a:lnTo>
                    <a:lnTo>
                      <a:pt x="1762" y="98"/>
                    </a:lnTo>
                    <a:lnTo>
                      <a:pt x="1762" y="98"/>
                    </a:lnTo>
                    <a:lnTo>
                      <a:pt x="1762" y="96"/>
                    </a:lnTo>
                    <a:lnTo>
                      <a:pt x="1760" y="92"/>
                    </a:lnTo>
                    <a:lnTo>
                      <a:pt x="1760" y="90"/>
                    </a:lnTo>
                    <a:lnTo>
                      <a:pt x="1760" y="88"/>
                    </a:lnTo>
                    <a:lnTo>
                      <a:pt x="1760" y="88"/>
                    </a:lnTo>
                    <a:lnTo>
                      <a:pt x="1760" y="88"/>
                    </a:lnTo>
                    <a:lnTo>
                      <a:pt x="1758" y="86"/>
                    </a:lnTo>
                    <a:lnTo>
                      <a:pt x="1758" y="86"/>
                    </a:lnTo>
                    <a:lnTo>
                      <a:pt x="1758" y="84"/>
                    </a:lnTo>
                    <a:lnTo>
                      <a:pt x="1756" y="84"/>
                    </a:lnTo>
                    <a:lnTo>
                      <a:pt x="1756" y="84"/>
                    </a:lnTo>
                    <a:lnTo>
                      <a:pt x="1754" y="84"/>
                    </a:lnTo>
                    <a:lnTo>
                      <a:pt x="1752" y="86"/>
                    </a:lnTo>
                    <a:lnTo>
                      <a:pt x="1752" y="86"/>
                    </a:lnTo>
                    <a:lnTo>
                      <a:pt x="1752" y="86"/>
                    </a:lnTo>
                    <a:lnTo>
                      <a:pt x="1752" y="88"/>
                    </a:lnTo>
                    <a:lnTo>
                      <a:pt x="1752" y="90"/>
                    </a:lnTo>
                    <a:lnTo>
                      <a:pt x="1750" y="92"/>
                    </a:lnTo>
                    <a:lnTo>
                      <a:pt x="1750" y="98"/>
                    </a:lnTo>
                    <a:lnTo>
                      <a:pt x="1748" y="102"/>
                    </a:lnTo>
                    <a:lnTo>
                      <a:pt x="1746" y="108"/>
                    </a:lnTo>
                    <a:lnTo>
                      <a:pt x="1746" y="110"/>
                    </a:lnTo>
                    <a:lnTo>
                      <a:pt x="1746" y="112"/>
                    </a:lnTo>
                    <a:lnTo>
                      <a:pt x="1746" y="112"/>
                    </a:lnTo>
                    <a:lnTo>
                      <a:pt x="1746" y="114"/>
                    </a:lnTo>
                    <a:lnTo>
                      <a:pt x="1746" y="116"/>
                    </a:lnTo>
                    <a:lnTo>
                      <a:pt x="1746" y="118"/>
                    </a:lnTo>
                    <a:close/>
                    <a:moveTo>
                      <a:pt x="1942" y="36"/>
                    </a:moveTo>
                    <a:lnTo>
                      <a:pt x="1944" y="38"/>
                    </a:lnTo>
                    <a:lnTo>
                      <a:pt x="1944" y="38"/>
                    </a:lnTo>
                    <a:lnTo>
                      <a:pt x="1944" y="40"/>
                    </a:lnTo>
                    <a:lnTo>
                      <a:pt x="1946" y="40"/>
                    </a:lnTo>
                    <a:lnTo>
                      <a:pt x="1950" y="40"/>
                    </a:lnTo>
                    <a:lnTo>
                      <a:pt x="1954" y="40"/>
                    </a:lnTo>
                    <a:lnTo>
                      <a:pt x="1956" y="38"/>
                    </a:lnTo>
                    <a:lnTo>
                      <a:pt x="1960" y="38"/>
                    </a:lnTo>
                    <a:lnTo>
                      <a:pt x="1960" y="38"/>
                    </a:lnTo>
                    <a:lnTo>
                      <a:pt x="1960" y="38"/>
                    </a:lnTo>
                    <a:lnTo>
                      <a:pt x="1962" y="38"/>
                    </a:lnTo>
                    <a:lnTo>
                      <a:pt x="1962" y="38"/>
                    </a:lnTo>
                    <a:lnTo>
                      <a:pt x="1962" y="36"/>
                    </a:lnTo>
                    <a:lnTo>
                      <a:pt x="1964" y="36"/>
                    </a:lnTo>
                    <a:lnTo>
                      <a:pt x="1964" y="36"/>
                    </a:lnTo>
                    <a:lnTo>
                      <a:pt x="1964" y="36"/>
                    </a:lnTo>
                    <a:lnTo>
                      <a:pt x="1966" y="34"/>
                    </a:lnTo>
                    <a:lnTo>
                      <a:pt x="1966" y="34"/>
                    </a:lnTo>
                    <a:lnTo>
                      <a:pt x="1966" y="32"/>
                    </a:lnTo>
                    <a:lnTo>
                      <a:pt x="1968" y="30"/>
                    </a:lnTo>
                    <a:lnTo>
                      <a:pt x="1968" y="30"/>
                    </a:lnTo>
                    <a:lnTo>
                      <a:pt x="1968" y="28"/>
                    </a:lnTo>
                    <a:lnTo>
                      <a:pt x="1968" y="28"/>
                    </a:lnTo>
                    <a:lnTo>
                      <a:pt x="1968" y="26"/>
                    </a:lnTo>
                    <a:lnTo>
                      <a:pt x="1964" y="24"/>
                    </a:lnTo>
                    <a:lnTo>
                      <a:pt x="1964" y="24"/>
                    </a:lnTo>
                    <a:lnTo>
                      <a:pt x="1962" y="24"/>
                    </a:lnTo>
                    <a:lnTo>
                      <a:pt x="1958" y="24"/>
                    </a:lnTo>
                    <a:lnTo>
                      <a:pt x="1958" y="24"/>
                    </a:lnTo>
                    <a:lnTo>
                      <a:pt x="1958" y="24"/>
                    </a:lnTo>
                    <a:lnTo>
                      <a:pt x="1954" y="24"/>
                    </a:lnTo>
                    <a:lnTo>
                      <a:pt x="1954" y="24"/>
                    </a:lnTo>
                    <a:lnTo>
                      <a:pt x="1954" y="24"/>
                    </a:lnTo>
                    <a:lnTo>
                      <a:pt x="1950" y="24"/>
                    </a:lnTo>
                    <a:lnTo>
                      <a:pt x="1950" y="24"/>
                    </a:lnTo>
                    <a:lnTo>
                      <a:pt x="1950" y="24"/>
                    </a:lnTo>
                    <a:lnTo>
                      <a:pt x="1946" y="26"/>
                    </a:lnTo>
                    <a:lnTo>
                      <a:pt x="1946" y="26"/>
                    </a:lnTo>
                    <a:lnTo>
                      <a:pt x="1946" y="26"/>
                    </a:lnTo>
                    <a:lnTo>
                      <a:pt x="1944" y="30"/>
                    </a:lnTo>
                    <a:lnTo>
                      <a:pt x="1944" y="30"/>
                    </a:lnTo>
                    <a:lnTo>
                      <a:pt x="1944" y="30"/>
                    </a:lnTo>
                    <a:lnTo>
                      <a:pt x="1942" y="32"/>
                    </a:lnTo>
                    <a:lnTo>
                      <a:pt x="1942" y="32"/>
                    </a:lnTo>
                    <a:lnTo>
                      <a:pt x="1942" y="32"/>
                    </a:lnTo>
                    <a:lnTo>
                      <a:pt x="1942" y="34"/>
                    </a:lnTo>
                    <a:lnTo>
                      <a:pt x="1942" y="34"/>
                    </a:lnTo>
                    <a:lnTo>
                      <a:pt x="1942" y="34"/>
                    </a:lnTo>
                    <a:lnTo>
                      <a:pt x="1942" y="36"/>
                    </a:lnTo>
                    <a:lnTo>
                      <a:pt x="1942" y="36"/>
                    </a:lnTo>
                    <a:lnTo>
                      <a:pt x="1942" y="36"/>
                    </a:lnTo>
                    <a:lnTo>
                      <a:pt x="1942" y="36"/>
                    </a:lnTo>
                    <a:close/>
                    <a:moveTo>
                      <a:pt x="1764" y="180"/>
                    </a:moveTo>
                    <a:lnTo>
                      <a:pt x="1762" y="180"/>
                    </a:lnTo>
                    <a:lnTo>
                      <a:pt x="1762" y="180"/>
                    </a:lnTo>
                    <a:lnTo>
                      <a:pt x="1762" y="180"/>
                    </a:lnTo>
                    <a:lnTo>
                      <a:pt x="1760" y="178"/>
                    </a:lnTo>
                    <a:lnTo>
                      <a:pt x="1760" y="178"/>
                    </a:lnTo>
                    <a:lnTo>
                      <a:pt x="1760" y="178"/>
                    </a:lnTo>
                    <a:lnTo>
                      <a:pt x="1758" y="176"/>
                    </a:lnTo>
                    <a:lnTo>
                      <a:pt x="1758" y="176"/>
                    </a:lnTo>
                    <a:lnTo>
                      <a:pt x="1756" y="176"/>
                    </a:lnTo>
                    <a:lnTo>
                      <a:pt x="1754" y="176"/>
                    </a:lnTo>
                    <a:lnTo>
                      <a:pt x="1754" y="176"/>
                    </a:lnTo>
                    <a:lnTo>
                      <a:pt x="1752" y="176"/>
                    </a:lnTo>
                    <a:lnTo>
                      <a:pt x="1748" y="178"/>
                    </a:lnTo>
                    <a:lnTo>
                      <a:pt x="1748" y="178"/>
                    </a:lnTo>
                    <a:lnTo>
                      <a:pt x="1748" y="178"/>
                    </a:lnTo>
                    <a:lnTo>
                      <a:pt x="1748" y="180"/>
                    </a:lnTo>
                    <a:lnTo>
                      <a:pt x="1748" y="180"/>
                    </a:lnTo>
                    <a:lnTo>
                      <a:pt x="1746" y="182"/>
                    </a:lnTo>
                    <a:lnTo>
                      <a:pt x="1746" y="182"/>
                    </a:lnTo>
                    <a:lnTo>
                      <a:pt x="1746" y="182"/>
                    </a:lnTo>
                    <a:lnTo>
                      <a:pt x="1746" y="184"/>
                    </a:lnTo>
                    <a:lnTo>
                      <a:pt x="1746" y="184"/>
                    </a:lnTo>
                    <a:lnTo>
                      <a:pt x="1746" y="184"/>
                    </a:lnTo>
                    <a:lnTo>
                      <a:pt x="1746" y="186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8" y="188"/>
                    </a:lnTo>
                    <a:lnTo>
                      <a:pt x="1748" y="190"/>
                    </a:lnTo>
                    <a:lnTo>
                      <a:pt x="1750" y="192"/>
                    </a:lnTo>
                    <a:lnTo>
                      <a:pt x="1752" y="194"/>
                    </a:lnTo>
                    <a:lnTo>
                      <a:pt x="1752" y="194"/>
                    </a:lnTo>
                    <a:lnTo>
                      <a:pt x="1752" y="194"/>
                    </a:lnTo>
                    <a:lnTo>
                      <a:pt x="1756" y="196"/>
                    </a:lnTo>
                    <a:lnTo>
                      <a:pt x="1760" y="198"/>
                    </a:lnTo>
                    <a:lnTo>
                      <a:pt x="1762" y="198"/>
                    </a:lnTo>
                    <a:lnTo>
                      <a:pt x="1762" y="198"/>
                    </a:lnTo>
                    <a:lnTo>
                      <a:pt x="1762" y="200"/>
                    </a:lnTo>
                    <a:lnTo>
                      <a:pt x="1764" y="200"/>
                    </a:lnTo>
                    <a:lnTo>
                      <a:pt x="1764" y="200"/>
                    </a:lnTo>
                    <a:lnTo>
                      <a:pt x="1766" y="200"/>
                    </a:lnTo>
                    <a:lnTo>
                      <a:pt x="1768" y="198"/>
                    </a:lnTo>
                    <a:lnTo>
                      <a:pt x="1768" y="198"/>
                    </a:lnTo>
                    <a:lnTo>
                      <a:pt x="1768" y="198"/>
                    </a:lnTo>
                    <a:lnTo>
                      <a:pt x="1770" y="196"/>
                    </a:lnTo>
                    <a:lnTo>
                      <a:pt x="1770" y="196"/>
                    </a:lnTo>
                    <a:lnTo>
                      <a:pt x="1770" y="196"/>
                    </a:lnTo>
                    <a:lnTo>
                      <a:pt x="1772" y="194"/>
                    </a:lnTo>
                    <a:lnTo>
                      <a:pt x="1772" y="194"/>
                    </a:lnTo>
                    <a:lnTo>
                      <a:pt x="1772" y="194"/>
                    </a:lnTo>
                    <a:lnTo>
                      <a:pt x="1774" y="190"/>
                    </a:lnTo>
                    <a:lnTo>
                      <a:pt x="1774" y="190"/>
                    </a:lnTo>
                    <a:lnTo>
                      <a:pt x="1774" y="188"/>
                    </a:lnTo>
                    <a:lnTo>
                      <a:pt x="1774" y="188"/>
                    </a:lnTo>
                    <a:lnTo>
                      <a:pt x="1772" y="186"/>
                    </a:lnTo>
                    <a:lnTo>
                      <a:pt x="1768" y="184"/>
                    </a:lnTo>
                    <a:lnTo>
                      <a:pt x="1768" y="184"/>
                    </a:lnTo>
                    <a:lnTo>
                      <a:pt x="1766" y="182"/>
                    </a:lnTo>
                    <a:lnTo>
                      <a:pt x="1764" y="180"/>
                    </a:lnTo>
                    <a:close/>
                    <a:moveTo>
                      <a:pt x="1774" y="106"/>
                    </a:moveTo>
                    <a:lnTo>
                      <a:pt x="1774" y="112"/>
                    </a:lnTo>
                    <a:lnTo>
                      <a:pt x="1774" y="116"/>
                    </a:lnTo>
                    <a:lnTo>
                      <a:pt x="1774" y="118"/>
                    </a:lnTo>
                    <a:lnTo>
                      <a:pt x="1774" y="122"/>
                    </a:lnTo>
                    <a:lnTo>
                      <a:pt x="1774" y="124"/>
                    </a:lnTo>
                    <a:lnTo>
                      <a:pt x="1774" y="128"/>
                    </a:lnTo>
                    <a:lnTo>
                      <a:pt x="1774" y="128"/>
                    </a:lnTo>
                    <a:lnTo>
                      <a:pt x="1774" y="128"/>
                    </a:lnTo>
                    <a:lnTo>
                      <a:pt x="1776" y="132"/>
                    </a:lnTo>
                    <a:lnTo>
                      <a:pt x="1776" y="132"/>
                    </a:lnTo>
                    <a:lnTo>
                      <a:pt x="1776" y="132"/>
                    </a:lnTo>
                    <a:lnTo>
                      <a:pt x="1776" y="134"/>
                    </a:lnTo>
                    <a:lnTo>
                      <a:pt x="1778" y="136"/>
                    </a:lnTo>
                    <a:lnTo>
                      <a:pt x="1778" y="136"/>
                    </a:lnTo>
                    <a:lnTo>
                      <a:pt x="1778" y="136"/>
                    </a:lnTo>
                    <a:lnTo>
                      <a:pt x="1780" y="138"/>
                    </a:lnTo>
                    <a:lnTo>
                      <a:pt x="1780" y="138"/>
                    </a:lnTo>
                    <a:lnTo>
                      <a:pt x="1780" y="138"/>
                    </a:lnTo>
                    <a:lnTo>
                      <a:pt x="1782" y="140"/>
                    </a:lnTo>
                    <a:lnTo>
                      <a:pt x="1784" y="142"/>
                    </a:lnTo>
                    <a:lnTo>
                      <a:pt x="1786" y="144"/>
                    </a:lnTo>
                    <a:lnTo>
                      <a:pt x="1792" y="148"/>
                    </a:lnTo>
                    <a:lnTo>
                      <a:pt x="1796" y="150"/>
                    </a:lnTo>
                    <a:lnTo>
                      <a:pt x="1798" y="152"/>
                    </a:lnTo>
                    <a:lnTo>
                      <a:pt x="1802" y="154"/>
                    </a:lnTo>
                    <a:lnTo>
                      <a:pt x="1804" y="156"/>
                    </a:lnTo>
                    <a:lnTo>
                      <a:pt x="1806" y="156"/>
                    </a:lnTo>
                    <a:lnTo>
                      <a:pt x="1808" y="158"/>
                    </a:lnTo>
                    <a:lnTo>
                      <a:pt x="1808" y="158"/>
                    </a:lnTo>
                    <a:lnTo>
                      <a:pt x="1808" y="158"/>
                    </a:lnTo>
                    <a:lnTo>
                      <a:pt x="1810" y="158"/>
                    </a:lnTo>
                    <a:lnTo>
                      <a:pt x="1810" y="158"/>
                    </a:lnTo>
                    <a:lnTo>
                      <a:pt x="1810" y="158"/>
                    </a:lnTo>
                    <a:lnTo>
                      <a:pt x="1812" y="156"/>
                    </a:lnTo>
                    <a:lnTo>
                      <a:pt x="1812" y="156"/>
                    </a:lnTo>
                    <a:lnTo>
                      <a:pt x="1812" y="156"/>
                    </a:lnTo>
                    <a:lnTo>
                      <a:pt x="1814" y="154"/>
                    </a:lnTo>
                    <a:lnTo>
                      <a:pt x="1814" y="154"/>
                    </a:lnTo>
                    <a:lnTo>
                      <a:pt x="1814" y="154"/>
                    </a:lnTo>
                    <a:lnTo>
                      <a:pt x="1814" y="152"/>
                    </a:lnTo>
                    <a:lnTo>
                      <a:pt x="1814" y="148"/>
                    </a:lnTo>
                    <a:lnTo>
                      <a:pt x="1812" y="146"/>
                    </a:lnTo>
                    <a:lnTo>
                      <a:pt x="1812" y="144"/>
                    </a:lnTo>
                    <a:lnTo>
                      <a:pt x="1812" y="142"/>
                    </a:lnTo>
                    <a:lnTo>
                      <a:pt x="1812" y="142"/>
                    </a:lnTo>
                    <a:lnTo>
                      <a:pt x="1812" y="142"/>
                    </a:lnTo>
                    <a:lnTo>
                      <a:pt x="1814" y="142"/>
                    </a:lnTo>
                    <a:lnTo>
                      <a:pt x="1816" y="142"/>
                    </a:lnTo>
                    <a:lnTo>
                      <a:pt x="1818" y="142"/>
                    </a:lnTo>
                    <a:lnTo>
                      <a:pt x="1824" y="142"/>
                    </a:lnTo>
                    <a:lnTo>
                      <a:pt x="1828" y="144"/>
                    </a:lnTo>
                    <a:lnTo>
                      <a:pt x="1830" y="144"/>
                    </a:lnTo>
                    <a:lnTo>
                      <a:pt x="1830" y="144"/>
                    </a:lnTo>
                    <a:lnTo>
                      <a:pt x="1830" y="144"/>
                    </a:lnTo>
                    <a:lnTo>
                      <a:pt x="1832" y="142"/>
                    </a:lnTo>
                    <a:lnTo>
                      <a:pt x="1832" y="142"/>
                    </a:lnTo>
                    <a:lnTo>
                      <a:pt x="1832" y="142"/>
                    </a:lnTo>
                    <a:lnTo>
                      <a:pt x="1834" y="142"/>
                    </a:lnTo>
                    <a:lnTo>
                      <a:pt x="1838" y="140"/>
                    </a:lnTo>
                    <a:lnTo>
                      <a:pt x="1842" y="140"/>
                    </a:lnTo>
                    <a:lnTo>
                      <a:pt x="1842" y="140"/>
                    </a:lnTo>
                    <a:lnTo>
                      <a:pt x="1844" y="140"/>
                    </a:lnTo>
                    <a:lnTo>
                      <a:pt x="1844" y="140"/>
                    </a:lnTo>
                    <a:lnTo>
                      <a:pt x="1844" y="140"/>
                    </a:lnTo>
                    <a:lnTo>
                      <a:pt x="1846" y="142"/>
                    </a:lnTo>
                    <a:lnTo>
                      <a:pt x="1848" y="144"/>
                    </a:lnTo>
                    <a:lnTo>
                      <a:pt x="1848" y="144"/>
                    </a:lnTo>
                    <a:lnTo>
                      <a:pt x="1848" y="146"/>
                    </a:lnTo>
                    <a:lnTo>
                      <a:pt x="1850" y="146"/>
                    </a:lnTo>
                    <a:lnTo>
                      <a:pt x="1850" y="146"/>
                    </a:lnTo>
                    <a:lnTo>
                      <a:pt x="1850" y="146"/>
                    </a:lnTo>
                    <a:lnTo>
                      <a:pt x="1852" y="148"/>
                    </a:lnTo>
                    <a:lnTo>
                      <a:pt x="1852" y="148"/>
                    </a:lnTo>
                    <a:lnTo>
                      <a:pt x="1852" y="148"/>
                    </a:lnTo>
                    <a:lnTo>
                      <a:pt x="1856" y="150"/>
                    </a:lnTo>
                    <a:lnTo>
                      <a:pt x="1856" y="150"/>
                    </a:lnTo>
                    <a:lnTo>
                      <a:pt x="1856" y="150"/>
                    </a:lnTo>
                    <a:lnTo>
                      <a:pt x="1860" y="150"/>
                    </a:lnTo>
                    <a:lnTo>
                      <a:pt x="1860" y="150"/>
                    </a:lnTo>
                    <a:lnTo>
                      <a:pt x="1860" y="150"/>
                    </a:lnTo>
                    <a:lnTo>
                      <a:pt x="1864" y="150"/>
                    </a:lnTo>
                    <a:lnTo>
                      <a:pt x="1864" y="150"/>
                    </a:lnTo>
                    <a:lnTo>
                      <a:pt x="1864" y="150"/>
                    </a:lnTo>
                    <a:lnTo>
                      <a:pt x="1868" y="148"/>
                    </a:lnTo>
                    <a:lnTo>
                      <a:pt x="1868" y="148"/>
                    </a:lnTo>
                    <a:lnTo>
                      <a:pt x="1868" y="148"/>
                    </a:lnTo>
                    <a:lnTo>
                      <a:pt x="1870" y="146"/>
                    </a:lnTo>
                    <a:lnTo>
                      <a:pt x="1870" y="146"/>
                    </a:lnTo>
                    <a:lnTo>
                      <a:pt x="1870" y="146"/>
                    </a:lnTo>
                    <a:lnTo>
                      <a:pt x="1870" y="144"/>
                    </a:lnTo>
                    <a:lnTo>
                      <a:pt x="1870" y="144"/>
                    </a:lnTo>
                    <a:lnTo>
                      <a:pt x="1870" y="144"/>
                    </a:lnTo>
                    <a:lnTo>
                      <a:pt x="1872" y="140"/>
                    </a:lnTo>
                    <a:lnTo>
                      <a:pt x="1874" y="136"/>
                    </a:lnTo>
                    <a:lnTo>
                      <a:pt x="1874" y="136"/>
                    </a:lnTo>
                    <a:lnTo>
                      <a:pt x="1874" y="136"/>
                    </a:lnTo>
                    <a:lnTo>
                      <a:pt x="1874" y="136"/>
                    </a:lnTo>
                    <a:lnTo>
                      <a:pt x="1876" y="136"/>
                    </a:lnTo>
                    <a:lnTo>
                      <a:pt x="1878" y="136"/>
                    </a:lnTo>
                    <a:lnTo>
                      <a:pt x="1882" y="134"/>
                    </a:lnTo>
                    <a:lnTo>
                      <a:pt x="1882" y="134"/>
                    </a:lnTo>
                    <a:lnTo>
                      <a:pt x="1882" y="134"/>
                    </a:lnTo>
                    <a:lnTo>
                      <a:pt x="1884" y="134"/>
                    </a:lnTo>
                    <a:lnTo>
                      <a:pt x="1884" y="134"/>
                    </a:lnTo>
                    <a:lnTo>
                      <a:pt x="1884" y="134"/>
                    </a:lnTo>
                    <a:lnTo>
                      <a:pt x="1886" y="132"/>
                    </a:lnTo>
                    <a:lnTo>
                      <a:pt x="1886" y="132"/>
                    </a:lnTo>
                    <a:lnTo>
                      <a:pt x="1886" y="132"/>
                    </a:lnTo>
                    <a:lnTo>
                      <a:pt x="1888" y="130"/>
                    </a:lnTo>
                    <a:lnTo>
                      <a:pt x="1890" y="128"/>
                    </a:lnTo>
                    <a:lnTo>
                      <a:pt x="1892" y="124"/>
                    </a:lnTo>
                    <a:lnTo>
                      <a:pt x="1894" y="118"/>
                    </a:lnTo>
                    <a:lnTo>
                      <a:pt x="1894" y="116"/>
                    </a:lnTo>
                    <a:lnTo>
                      <a:pt x="1896" y="114"/>
                    </a:lnTo>
                    <a:lnTo>
                      <a:pt x="1898" y="114"/>
                    </a:lnTo>
                    <a:lnTo>
                      <a:pt x="1898" y="112"/>
                    </a:lnTo>
                    <a:lnTo>
                      <a:pt x="1902" y="110"/>
                    </a:lnTo>
                    <a:lnTo>
                      <a:pt x="1902" y="108"/>
                    </a:lnTo>
                    <a:lnTo>
                      <a:pt x="1904" y="106"/>
                    </a:lnTo>
                    <a:lnTo>
                      <a:pt x="1904" y="106"/>
                    </a:lnTo>
                    <a:lnTo>
                      <a:pt x="1904" y="106"/>
                    </a:lnTo>
                    <a:lnTo>
                      <a:pt x="1906" y="104"/>
                    </a:lnTo>
                    <a:lnTo>
                      <a:pt x="1906" y="104"/>
                    </a:lnTo>
                    <a:lnTo>
                      <a:pt x="1906" y="102"/>
                    </a:lnTo>
                    <a:lnTo>
                      <a:pt x="1906" y="102"/>
                    </a:lnTo>
                    <a:lnTo>
                      <a:pt x="1906" y="102"/>
                    </a:lnTo>
                    <a:lnTo>
                      <a:pt x="1906" y="100"/>
                    </a:lnTo>
                    <a:lnTo>
                      <a:pt x="1904" y="98"/>
                    </a:lnTo>
                    <a:lnTo>
                      <a:pt x="1904" y="98"/>
                    </a:lnTo>
                    <a:lnTo>
                      <a:pt x="1904" y="98"/>
                    </a:lnTo>
                    <a:lnTo>
                      <a:pt x="1902" y="96"/>
                    </a:lnTo>
                    <a:lnTo>
                      <a:pt x="1902" y="96"/>
                    </a:lnTo>
                    <a:lnTo>
                      <a:pt x="1902" y="96"/>
                    </a:lnTo>
                    <a:lnTo>
                      <a:pt x="1900" y="96"/>
                    </a:lnTo>
                    <a:lnTo>
                      <a:pt x="1898" y="94"/>
                    </a:lnTo>
                    <a:lnTo>
                      <a:pt x="1892" y="92"/>
                    </a:lnTo>
                    <a:lnTo>
                      <a:pt x="1890" y="90"/>
                    </a:lnTo>
                    <a:lnTo>
                      <a:pt x="1888" y="90"/>
                    </a:lnTo>
                    <a:lnTo>
                      <a:pt x="1886" y="88"/>
                    </a:lnTo>
                    <a:lnTo>
                      <a:pt x="1884" y="84"/>
                    </a:lnTo>
                    <a:lnTo>
                      <a:pt x="1880" y="82"/>
                    </a:lnTo>
                    <a:lnTo>
                      <a:pt x="1876" y="80"/>
                    </a:lnTo>
                    <a:lnTo>
                      <a:pt x="1876" y="80"/>
                    </a:lnTo>
                    <a:lnTo>
                      <a:pt x="1876" y="80"/>
                    </a:lnTo>
                    <a:lnTo>
                      <a:pt x="1874" y="80"/>
                    </a:lnTo>
                    <a:lnTo>
                      <a:pt x="1874" y="80"/>
                    </a:lnTo>
                    <a:lnTo>
                      <a:pt x="1874" y="78"/>
                    </a:lnTo>
                    <a:lnTo>
                      <a:pt x="1872" y="78"/>
                    </a:lnTo>
                    <a:lnTo>
                      <a:pt x="1868" y="78"/>
                    </a:lnTo>
                    <a:lnTo>
                      <a:pt x="1862" y="78"/>
                    </a:lnTo>
                    <a:lnTo>
                      <a:pt x="1862" y="78"/>
                    </a:lnTo>
                    <a:lnTo>
                      <a:pt x="1860" y="76"/>
                    </a:lnTo>
                    <a:lnTo>
                      <a:pt x="1858" y="76"/>
                    </a:lnTo>
                    <a:lnTo>
                      <a:pt x="1856" y="74"/>
                    </a:lnTo>
                    <a:lnTo>
                      <a:pt x="1854" y="70"/>
                    </a:lnTo>
                    <a:lnTo>
                      <a:pt x="1854" y="70"/>
                    </a:lnTo>
                    <a:lnTo>
                      <a:pt x="1854" y="70"/>
                    </a:lnTo>
                    <a:lnTo>
                      <a:pt x="1852" y="68"/>
                    </a:lnTo>
                    <a:lnTo>
                      <a:pt x="1852" y="68"/>
                    </a:lnTo>
                    <a:lnTo>
                      <a:pt x="1852" y="68"/>
                    </a:lnTo>
                    <a:lnTo>
                      <a:pt x="1850" y="68"/>
                    </a:lnTo>
                    <a:lnTo>
                      <a:pt x="1848" y="66"/>
                    </a:lnTo>
                    <a:lnTo>
                      <a:pt x="1842" y="64"/>
                    </a:lnTo>
                    <a:lnTo>
                      <a:pt x="1842" y="64"/>
                    </a:lnTo>
                    <a:lnTo>
                      <a:pt x="1842" y="64"/>
                    </a:lnTo>
                    <a:lnTo>
                      <a:pt x="1838" y="64"/>
                    </a:lnTo>
                    <a:lnTo>
                      <a:pt x="1838" y="64"/>
                    </a:lnTo>
                    <a:lnTo>
                      <a:pt x="1838" y="64"/>
                    </a:lnTo>
                    <a:lnTo>
                      <a:pt x="1836" y="64"/>
                    </a:lnTo>
                    <a:lnTo>
                      <a:pt x="1836" y="64"/>
                    </a:lnTo>
                    <a:lnTo>
                      <a:pt x="1834" y="64"/>
                    </a:lnTo>
                    <a:lnTo>
                      <a:pt x="1834" y="64"/>
                    </a:lnTo>
                    <a:lnTo>
                      <a:pt x="1834" y="64"/>
                    </a:lnTo>
                    <a:lnTo>
                      <a:pt x="1832" y="66"/>
                    </a:lnTo>
                    <a:lnTo>
                      <a:pt x="1832" y="66"/>
                    </a:lnTo>
                    <a:lnTo>
                      <a:pt x="1832" y="66"/>
                    </a:lnTo>
                    <a:lnTo>
                      <a:pt x="1832" y="66"/>
                    </a:lnTo>
                    <a:lnTo>
                      <a:pt x="1830" y="68"/>
                    </a:lnTo>
                    <a:lnTo>
                      <a:pt x="1830" y="68"/>
                    </a:lnTo>
                    <a:lnTo>
                      <a:pt x="1830" y="68"/>
                    </a:lnTo>
                    <a:lnTo>
                      <a:pt x="1830" y="72"/>
                    </a:lnTo>
                    <a:lnTo>
                      <a:pt x="1830" y="72"/>
                    </a:lnTo>
                    <a:lnTo>
                      <a:pt x="1830" y="72"/>
                    </a:lnTo>
                    <a:lnTo>
                      <a:pt x="1828" y="76"/>
                    </a:lnTo>
                    <a:lnTo>
                      <a:pt x="1828" y="80"/>
                    </a:lnTo>
                    <a:lnTo>
                      <a:pt x="1828" y="82"/>
                    </a:lnTo>
                    <a:lnTo>
                      <a:pt x="1830" y="84"/>
                    </a:lnTo>
                    <a:lnTo>
                      <a:pt x="1830" y="88"/>
                    </a:lnTo>
                    <a:lnTo>
                      <a:pt x="1830" y="86"/>
                    </a:lnTo>
                    <a:lnTo>
                      <a:pt x="1826" y="82"/>
                    </a:lnTo>
                    <a:lnTo>
                      <a:pt x="1824" y="78"/>
                    </a:lnTo>
                    <a:lnTo>
                      <a:pt x="1820" y="74"/>
                    </a:lnTo>
                    <a:lnTo>
                      <a:pt x="1818" y="72"/>
                    </a:lnTo>
                    <a:lnTo>
                      <a:pt x="1814" y="66"/>
                    </a:lnTo>
                    <a:lnTo>
                      <a:pt x="1810" y="62"/>
                    </a:lnTo>
                    <a:lnTo>
                      <a:pt x="1808" y="60"/>
                    </a:lnTo>
                    <a:lnTo>
                      <a:pt x="1806" y="58"/>
                    </a:lnTo>
                    <a:lnTo>
                      <a:pt x="1804" y="58"/>
                    </a:lnTo>
                    <a:lnTo>
                      <a:pt x="1804" y="58"/>
                    </a:lnTo>
                    <a:lnTo>
                      <a:pt x="1804" y="58"/>
                    </a:lnTo>
                    <a:lnTo>
                      <a:pt x="1802" y="56"/>
                    </a:lnTo>
                    <a:lnTo>
                      <a:pt x="1802" y="56"/>
                    </a:lnTo>
                    <a:lnTo>
                      <a:pt x="1800" y="56"/>
                    </a:lnTo>
                    <a:lnTo>
                      <a:pt x="1800" y="58"/>
                    </a:lnTo>
                    <a:lnTo>
                      <a:pt x="1800" y="58"/>
                    </a:lnTo>
                    <a:lnTo>
                      <a:pt x="1798" y="58"/>
                    </a:lnTo>
                    <a:lnTo>
                      <a:pt x="1796" y="58"/>
                    </a:lnTo>
                    <a:lnTo>
                      <a:pt x="1796" y="58"/>
                    </a:lnTo>
                    <a:lnTo>
                      <a:pt x="1796" y="60"/>
                    </a:lnTo>
                    <a:lnTo>
                      <a:pt x="1796" y="60"/>
                    </a:lnTo>
                    <a:lnTo>
                      <a:pt x="1794" y="62"/>
                    </a:lnTo>
                    <a:lnTo>
                      <a:pt x="1792" y="66"/>
                    </a:lnTo>
                    <a:lnTo>
                      <a:pt x="1792" y="68"/>
                    </a:lnTo>
                    <a:lnTo>
                      <a:pt x="1792" y="68"/>
                    </a:lnTo>
                    <a:lnTo>
                      <a:pt x="1788" y="70"/>
                    </a:lnTo>
                    <a:lnTo>
                      <a:pt x="1786" y="72"/>
                    </a:lnTo>
                    <a:lnTo>
                      <a:pt x="1784" y="74"/>
                    </a:lnTo>
                    <a:lnTo>
                      <a:pt x="1784" y="74"/>
                    </a:lnTo>
                    <a:lnTo>
                      <a:pt x="1784" y="74"/>
                    </a:lnTo>
                    <a:lnTo>
                      <a:pt x="1782" y="76"/>
                    </a:lnTo>
                    <a:lnTo>
                      <a:pt x="1782" y="76"/>
                    </a:lnTo>
                    <a:lnTo>
                      <a:pt x="1780" y="76"/>
                    </a:lnTo>
                    <a:lnTo>
                      <a:pt x="1778" y="78"/>
                    </a:lnTo>
                    <a:lnTo>
                      <a:pt x="1778" y="78"/>
                    </a:lnTo>
                    <a:lnTo>
                      <a:pt x="1778" y="78"/>
                    </a:lnTo>
                    <a:lnTo>
                      <a:pt x="1778" y="80"/>
                    </a:lnTo>
                    <a:lnTo>
                      <a:pt x="1778" y="80"/>
                    </a:lnTo>
                    <a:lnTo>
                      <a:pt x="1778" y="80"/>
                    </a:lnTo>
                    <a:lnTo>
                      <a:pt x="1776" y="80"/>
                    </a:lnTo>
                    <a:lnTo>
                      <a:pt x="1776" y="80"/>
                    </a:lnTo>
                    <a:lnTo>
                      <a:pt x="1776" y="82"/>
                    </a:lnTo>
                    <a:lnTo>
                      <a:pt x="1776" y="84"/>
                    </a:lnTo>
                    <a:lnTo>
                      <a:pt x="1776" y="84"/>
                    </a:lnTo>
                    <a:lnTo>
                      <a:pt x="1776" y="84"/>
                    </a:lnTo>
                    <a:lnTo>
                      <a:pt x="1774" y="86"/>
                    </a:lnTo>
                    <a:lnTo>
                      <a:pt x="1774" y="90"/>
                    </a:lnTo>
                    <a:lnTo>
                      <a:pt x="1774" y="94"/>
                    </a:lnTo>
                    <a:lnTo>
                      <a:pt x="1774" y="98"/>
                    </a:lnTo>
                    <a:lnTo>
                      <a:pt x="1774" y="102"/>
                    </a:lnTo>
                    <a:lnTo>
                      <a:pt x="1774" y="106"/>
                    </a:lnTo>
                    <a:close/>
                    <a:moveTo>
                      <a:pt x="1912" y="124"/>
                    </a:moveTo>
                    <a:lnTo>
                      <a:pt x="1912" y="126"/>
                    </a:lnTo>
                    <a:lnTo>
                      <a:pt x="1912" y="126"/>
                    </a:lnTo>
                    <a:lnTo>
                      <a:pt x="1912" y="126"/>
                    </a:lnTo>
                    <a:lnTo>
                      <a:pt x="1914" y="128"/>
                    </a:lnTo>
                    <a:lnTo>
                      <a:pt x="1916" y="130"/>
                    </a:lnTo>
                    <a:lnTo>
                      <a:pt x="1918" y="132"/>
                    </a:lnTo>
                    <a:lnTo>
                      <a:pt x="1922" y="134"/>
                    </a:lnTo>
                    <a:lnTo>
                      <a:pt x="1924" y="136"/>
                    </a:lnTo>
                    <a:lnTo>
                      <a:pt x="1932" y="140"/>
                    </a:lnTo>
                    <a:lnTo>
                      <a:pt x="1934" y="142"/>
                    </a:lnTo>
                    <a:lnTo>
                      <a:pt x="1936" y="144"/>
                    </a:lnTo>
                    <a:lnTo>
                      <a:pt x="1938" y="144"/>
                    </a:lnTo>
                    <a:lnTo>
                      <a:pt x="1938" y="144"/>
                    </a:lnTo>
                    <a:lnTo>
                      <a:pt x="1938" y="144"/>
                    </a:lnTo>
                    <a:lnTo>
                      <a:pt x="1940" y="146"/>
                    </a:lnTo>
                    <a:lnTo>
                      <a:pt x="1940" y="146"/>
                    </a:lnTo>
                    <a:lnTo>
                      <a:pt x="1940" y="146"/>
                    </a:lnTo>
                    <a:lnTo>
                      <a:pt x="1942" y="148"/>
                    </a:lnTo>
                    <a:lnTo>
                      <a:pt x="1942" y="148"/>
                    </a:lnTo>
                    <a:lnTo>
                      <a:pt x="1942" y="148"/>
                    </a:lnTo>
                    <a:lnTo>
                      <a:pt x="1942" y="148"/>
                    </a:lnTo>
                    <a:lnTo>
                      <a:pt x="1942" y="148"/>
                    </a:lnTo>
                    <a:lnTo>
                      <a:pt x="1944" y="150"/>
                    </a:lnTo>
                    <a:lnTo>
                      <a:pt x="1944" y="150"/>
                    </a:lnTo>
                    <a:lnTo>
                      <a:pt x="1948" y="150"/>
                    </a:lnTo>
                    <a:lnTo>
                      <a:pt x="1950" y="150"/>
                    </a:lnTo>
                    <a:lnTo>
                      <a:pt x="1956" y="150"/>
                    </a:lnTo>
                    <a:lnTo>
                      <a:pt x="1960" y="150"/>
                    </a:lnTo>
                    <a:lnTo>
                      <a:pt x="1964" y="150"/>
                    </a:lnTo>
                    <a:lnTo>
                      <a:pt x="1966" y="150"/>
                    </a:lnTo>
                    <a:lnTo>
                      <a:pt x="1966" y="150"/>
                    </a:lnTo>
                    <a:lnTo>
                      <a:pt x="1966" y="150"/>
                    </a:lnTo>
                    <a:lnTo>
                      <a:pt x="1968" y="150"/>
                    </a:lnTo>
                    <a:lnTo>
                      <a:pt x="1968" y="150"/>
                    </a:lnTo>
                    <a:lnTo>
                      <a:pt x="1970" y="148"/>
                    </a:lnTo>
                    <a:lnTo>
                      <a:pt x="1972" y="148"/>
                    </a:lnTo>
                    <a:lnTo>
                      <a:pt x="1972" y="148"/>
                    </a:lnTo>
                    <a:lnTo>
                      <a:pt x="1972" y="148"/>
                    </a:lnTo>
                    <a:lnTo>
                      <a:pt x="1972" y="146"/>
                    </a:lnTo>
                    <a:lnTo>
                      <a:pt x="1972" y="146"/>
                    </a:lnTo>
                    <a:lnTo>
                      <a:pt x="1972" y="144"/>
                    </a:lnTo>
                    <a:lnTo>
                      <a:pt x="1974" y="142"/>
                    </a:lnTo>
                    <a:lnTo>
                      <a:pt x="1974" y="138"/>
                    </a:lnTo>
                    <a:lnTo>
                      <a:pt x="1974" y="138"/>
                    </a:lnTo>
                    <a:lnTo>
                      <a:pt x="1974" y="138"/>
                    </a:lnTo>
                    <a:lnTo>
                      <a:pt x="1974" y="138"/>
                    </a:lnTo>
                    <a:lnTo>
                      <a:pt x="1976" y="136"/>
                    </a:lnTo>
                    <a:lnTo>
                      <a:pt x="1976" y="136"/>
                    </a:lnTo>
                    <a:lnTo>
                      <a:pt x="1982" y="136"/>
                    </a:lnTo>
                    <a:lnTo>
                      <a:pt x="1984" y="138"/>
                    </a:lnTo>
                    <a:lnTo>
                      <a:pt x="1986" y="138"/>
                    </a:lnTo>
                    <a:lnTo>
                      <a:pt x="1988" y="138"/>
                    </a:lnTo>
                    <a:lnTo>
                      <a:pt x="1988" y="138"/>
                    </a:lnTo>
                    <a:lnTo>
                      <a:pt x="1990" y="136"/>
                    </a:lnTo>
                    <a:lnTo>
                      <a:pt x="1990" y="136"/>
                    </a:lnTo>
                    <a:lnTo>
                      <a:pt x="1990" y="136"/>
                    </a:lnTo>
                    <a:lnTo>
                      <a:pt x="1990" y="132"/>
                    </a:lnTo>
                    <a:lnTo>
                      <a:pt x="1990" y="132"/>
                    </a:lnTo>
                    <a:lnTo>
                      <a:pt x="1990" y="132"/>
                    </a:lnTo>
                    <a:lnTo>
                      <a:pt x="1990" y="130"/>
                    </a:lnTo>
                    <a:lnTo>
                      <a:pt x="1988" y="130"/>
                    </a:lnTo>
                    <a:lnTo>
                      <a:pt x="1986" y="128"/>
                    </a:lnTo>
                    <a:lnTo>
                      <a:pt x="1984" y="126"/>
                    </a:lnTo>
                    <a:lnTo>
                      <a:pt x="1978" y="122"/>
                    </a:lnTo>
                    <a:lnTo>
                      <a:pt x="1974" y="120"/>
                    </a:lnTo>
                    <a:lnTo>
                      <a:pt x="1972" y="118"/>
                    </a:lnTo>
                    <a:lnTo>
                      <a:pt x="1972" y="118"/>
                    </a:lnTo>
                    <a:lnTo>
                      <a:pt x="1972" y="118"/>
                    </a:lnTo>
                    <a:lnTo>
                      <a:pt x="1966" y="118"/>
                    </a:lnTo>
                    <a:lnTo>
                      <a:pt x="1962" y="118"/>
                    </a:lnTo>
                    <a:lnTo>
                      <a:pt x="1956" y="116"/>
                    </a:lnTo>
                    <a:lnTo>
                      <a:pt x="1956" y="116"/>
                    </a:lnTo>
                    <a:lnTo>
                      <a:pt x="1954" y="116"/>
                    </a:lnTo>
                    <a:lnTo>
                      <a:pt x="1954" y="116"/>
                    </a:lnTo>
                    <a:lnTo>
                      <a:pt x="1952" y="114"/>
                    </a:lnTo>
                    <a:lnTo>
                      <a:pt x="1952" y="112"/>
                    </a:lnTo>
                    <a:lnTo>
                      <a:pt x="1950" y="108"/>
                    </a:lnTo>
                    <a:lnTo>
                      <a:pt x="1950" y="108"/>
                    </a:lnTo>
                    <a:lnTo>
                      <a:pt x="1950" y="108"/>
                    </a:lnTo>
                    <a:lnTo>
                      <a:pt x="1950" y="108"/>
                    </a:lnTo>
                    <a:lnTo>
                      <a:pt x="1950" y="108"/>
                    </a:lnTo>
                    <a:lnTo>
                      <a:pt x="1948" y="106"/>
                    </a:lnTo>
                    <a:lnTo>
                      <a:pt x="1948" y="106"/>
                    </a:lnTo>
                    <a:lnTo>
                      <a:pt x="1948" y="106"/>
                    </a:lnTo>
                    <a:lnTo>
                      <a:pt x="1946" y="104"/>
                    </a:lnTo>
                    <a:lnTo>
                      <a:pt x="1944" y="104"/>
                    </a:lnTo>
                    <a:lnTo>
                      <a:pt x="1944" y="104"/>
                    </a:lnTo>
                    <a:lnTo>
                      <a:pt x="1944" y="104"/>
                    </a:lnTo>
                    <a:lnTo>
                      <a:pt x="1940" y="104"/>
                    </a:lnTo>
                    <a:lnTo>
                      <a:pt x="1940" y="104"/>
                    </a:lnTo>
                    <a:lnTo>
                      <a:pt x="1936" y="104"/>
                    </a:lnTo>
                    <a:lnTo>
                      <a:pt x="1932" y="104"/>
                    </a:lnTo>
                    <a:lnTo>
                      <a:pt x="1932" y="104"/>
                    </a:lnTo>
                    <a:lnTo>
                      <a:pt x="1932" y="104"/>
                    </a:lnTo>
                    <a:lnTo>
                      <a:pt x="1932" y="106"/>
                    </a:lnTo>
                    <a:lnTo>
                      <a:pt x="1932" y="106"/>
                    </a:lnTo>
                    <a:lnTo>
                      <a:pt x="1930" y="106"/>
                    </a:lnTo>
                    <a:lnTo>
                      <a:pt x="1930" y="106"/>
                    </a:lnTo>
                    <a:lnTo>
                      <a:pt x="1928" y="108"/>
                    </a:lnTo>
                    <a:lnTo>
                      <a:pt x="1926" y="110"/>
                    </a:lnTo>
                    <a:lnTo>
                      <a:pt x="1926" y="110"/>
                    </a:lnTo>
                    <a:lnTo>
                      <a:pt x="1924" y="108"/>
                    </a:lnTo>
                    <a:lnTo>
                      <a:pt x="1924" y="106"/>
                    </a:lnTo>
                    <a:lnTo>
                      <a:pt x="1922" y="104"/>
                    </a:lnTo>
                    <a:lnTo>
                      <a:pt x="1922" y="104"/>
                    </a:lnTo>
                    <a:lnTo>
                      <a:pt x="1922" y="104"/>
                    </a:lnTo>
                    <a:lnTo>
                      <a:pt x="1922" y="102"/>
                    </a:lnTo>
                    <a:lnTo>
                      <a:pt x="1922" y="102"/>
                    </a:lnTo>
                    <a:lnTo>
                      <a:pt x="1920" y="102"/>
                    </a:lnTo>
                    <a:lnTo>
                      <a:pt x="1920" y="100"/>
                    </a:lnTo>
                    <a:lnTo>
                      <a:pt x="1920" y="100"/>
                    </a:lnTo>
                    <a:lnTo>
                      <a:pt x="1918" y="100"/>
                    </a:lnTo>
                    <a:lnTo>
                      <a:pt x="1916" y="102"/>
                    </a:lnTo>
                    <a:lnTo>
                      <a:pt x="1916" y="102"/>
                    </a:lnTo>
                    <a:lnTo>
                      <a:pt x="1916" y="102"/>
                    </a:lnTo>
                    <a:lnTo>
                      <a:pt x="1914" y="104"/>
                    </a:lnTo>
                    <a:lnTo>
                      <a:pt x="1914" y="104"/>
                    </a:lnTo>
                    <a:lnTo>
                      <a:pt x="1914" y="104"/>
                    </a:lnTo>
                    <a:lnTo>
                      <a:pt x="1914" y="106"/>
                    </a:lnTo>
                    <a:lnTo>
                      <a:pt x="1914" y="108"/>
                    </a:lnTo>
                    <a:lnTo>
                      <a:pt x="1912" y="112"/>
                    </a:lnTo>
                    <a:lnTo>
                      <a:pt x="1912" y="114"/>
                    </a:lnTo>
                    <a:lnTo>
                      <a:pt x="1912" y="116"/>
                    </a:lnTo>
                    <a:lnTo>
                      <a:pt x="1912" y="118"/>
                    </a:lnTo>
                    <a:lnTo>
                      <a:pt x="1912" y="120"/>
                    </a:lnTo>
                    <a:lnTo>
                      <a:pt x="1912" y="120"/>
                    </a:lnTo>
                    <a:lnTo>
                      <a:pt x="1912" y="122"/>
                    </a:lnTo>
                    <a:lnTo>
                      <a:pt x="1912" y="122"/>
                    </a:lnTo>
                    <a:lnTo>
                      <a:pt x="1912" y="124"/>
                    </a:lnTo>
                    <a:lnTo>
                      <a:pt x="1912" y="124"/>
                    </a:lnTo>
                    <a:lnTo>
                      <a:pt x="1912" y="124"/>
                    </a:lnTo>
                    <a:lnTo>
                      <a:pt x="1912" y="124"/>
                    </a:lnTo>
                    <a:close/>
                    <a:moveTo>
                      <a:pt x="1880" y="222"/>
                    </a:moveTo>
                    <a:lnTo>
                      <a:pt x="1878" y="218"/>
                    </a:lnTo>
                    <a:lnTo>
                      <a:pt x="1878" y="216"/>
                    </a:lnTo>
                    <a:lnTo>
                      <a:pt x="1874" y="210"/>
                    </a:lnTo>
                    <a:lnTo>
                      <a:pt x="1872" y="206"/>
                    </a:lnTo>
                    <a:lnTo>
                      <a:pt x="1872" y="204"/>
                    </a:lnTo>
                    <a:lnTo>
                      <a:pt x="1870" y="202"/>
                    </a:lnTo>
                    <a:lnTo>
                      <a:pt x="1870" y="202"/>
                    </a:lnTo>
                    <a:lnTo>
                      <a:pt x="1870" y="202"/>
                    </a:lnTo>
                    <a:lnTo>
                      <a:pt x="1868" y="198"/>
                    </a:lnTo>
                    <a:lnTo>
                      <a:pt x="1866" y="196"/>
                    </a:lnTo>
                    <a:lnTo>
                      <a:pt x="1864" y="194"/>
                    </a:lnTo>
                    <a:lnTo>
                      <a:pt x="1862" y="192"/>
                    </a:lnTo>
                    <a:lnTo>
                      <a:pt x="1860" y="190"/>
                    </a:lnTo>
                    <a:lnTo>
                      <a:pt x="1858" y="190"/>
                    </a:lnTo>
                    <a:lnTo>
                      <a:pt x="1858" y="190"/>
                    </a:lnTo>
                    <a:lnTo>
                      <a:pt x="1856" y="188"/>
                    </a:lnTo>
                    <a:lnTo>
                      <a:pt x="1856" y="188"/>
                    </a:lnTo>
                    <a:lnTo>
                      <a:pt x="1856" y="188"/>
                    </a:lnTo>
                    <a:lnTo>
                      <a:pt x="1854" y="188"/>
                    </a:lnTo>
                    <a:lnTo>
                      <a:pt x="1854" y="188"/>
                    </a:lnTo>
                    <a:lnTo>
                      <a:pt x="1854" y="188"/>
                    </a:lnTo>
                    <a:lnTo>
                      <a:pt x="1854" y="188"/>
                    </a:lnTo>
                    <a:lnTo>
                      <a:pt x="1852" y="188"/>
                    </a:lnTo>
                    <a:lnTo>
                      <a:pt x="1850" y="188"/>
                    </a:lnTo>
                    <a:lnTo>
                      <a:pt x="1846" y="190"/>
                    </a:lnTo>
                    <a:lnTo>
                      <a:pt x="1846" y="190"/>
                    </a:lnTo>
                    <a:lnTo>
                      <a:pt x="1844" y="190"/>
                    </a:lnTo>
                    <a:lnTo>
                      <a:pt x="1840" y="192"/>
                    </a:lnTo>
                    <a:lnTo>
                      <a:pt x="1840" y="192"/>
                    </a:lnTo>
                    <a:lnTo>
                      <a:pt x="1840" y="192"/>
                    </a:lnTo>
                    <a:lnTo>
                      <a:pt x="1838" y="192"/>
                    </a:lnTo>
                    <a:lnTo>
                      <a:pt x="1838" y="192"/>
                    </a:lnTo>
                    <a:lnTo>
                      <a:pt x="1838" y="194"/>
                    </a:lnTo>
                    <a:lnTo>
                      <a:pt x="1836" y="194"/>
                    </a:lnTo>
                    <a:lnTo>
                      <a:pt x="1836" y="194"/>
                    </a:lnTo>
                    <a:lnTo>
                      <a:pt x="1836" y="196"/>
                    </a:lnTo>
                    <a:lnTo>
                      <a:pt x="1834" y="198"/>
                    </a:lnTo>
                    <a:lnTo>
                      <a:pt x="1834" y="198"/>
                    </a:lnTo>
                    <a:lnTo>
                      <a:pt x="1834" y="198"/>
                    </a:lnTo>
                    <a:lnTo>
                      <a:pt x="1834" y="200"/>
                    </a:lnTo>
                    <a:lnTo>
                      <a:pt x="1834" y="200"/>
                    </a:lnTo>
                    <a:lnTo>
                      <a:pt x="1834" y="200"/>
                    </a:lnTo>
                    <a:lnTo>
                      <a:pt x="1834" y="206"/>
                    </a:lnTo>
                    <a:lnTo>
                      <a:pt x="1834" y="210"/>
                    </a:lnTo>
                    <a:lnTo>
                      <a:pt x="1834" y="212"/>
                    </a:lnTo>
                    <a:lnTo>
                      <a:pt x="1834" y="212"/>
                    </a:lnTo>
                    <a:lnTo>
                      <a:pt x="1832" y="212"/>
                    </a:lnTo>
                    <a:lnTo>
                      <a:pt x="1830" y="212"/>
                    </a:lnTo>
                    <a:lnTo>
                      <a:pt x="1826" y="214"/>
                    </a:lnTo>
                    <a:lnTo>
                      <a:pt x="1824" y="214"/>
                    </a:lnTo>
                    <a:lnTo>
                      <a:pt x="1822" y="214"/>
                    </a:lnTo>
                    <a:lnTo>
                      <a:pt x="1820" y="214"/>
                    </a:lnTo>
                    <a:lnTo>
                      <a:pt x="1820" y="214"/>
                    </a:lnTo>
                    <a:lnTo>
                      <a:pt x="1818" y="216"/>
                    </a:lnTo>
                    <a:lnTo>
                      <a:pt x="1818" y="216"/>
                    </a:lnTo>
                    <a:lnTo>
                      <a:pt x="1818" y="216"/>
                    </a:lnTo>
                    <a:lnTo>
                      <a:pt x="1818" y="218"/>
                    </a:lnTo>
                    <a:lnTo>
                      <a:pt x="1818" y="218"/>
                    </a:lnTo>
                    <a:lnTo>
                      <a:pt x="1820" y="220"/>
                    </a:lnTo>
                    <a:lnTo>
                      <a:pt x="1820" y="220"/>
                    </a:lnTo>
                    <a:lnTo>
                      <a:pt x="1820" y="220"/>
                    </a:lnTo>
                    <a:lnTo>
                      <a:pt x="1822" y="220"/>
                    </a:lnTo>
                    <a:lnTo>
                      <a:pt x="1824" y="220"/>
                    </a:lnTo>
                    <a:lnTo>
                      <a:pt x="1826" y="220"/>
                    </a:lnTo>
                    <a:lnTo>
                      <a:pt x="1828" y="220"/>
                    </a:lnTo>
                    <a:lnTo>
                      <a:pt x="1834" y="222"/>
                    </a:lnTo>
                    <a:lnTo>
                      <a:pt x="1836" y="222"/>
                    </a:lnTo>
                    <a:lnTo>
                      <a:pt x="1838" y="222"/>
                    </a:lnTo>
                    <a:lnTo>
                      <a:pt x="1840" y="224"/>
                    </a:lnTo>
                    <a:lnTo>
                      <a:pt x="1842" y="224"/>
                    </a:lnTo>
                    <a:lnTo>
                      <a:pt x="1844" y="228"/>
                    </a:lnTo>
                    <a:lnTo>
                      <a:pt x="1848" y="230"/>
                    </a:lnTo>
                    <a:lnTo>
                      <a:pt x="1848" y="230"/>
                    </a:lnTo>
                    <a:lnTo>
                      <a:pt x="1848" y="230"/>
                    </a:lnTo>
                    <a:lnTo>
                      <a:pt x="1850" y="232"/>
                    </a:lnTo>
                    <a:lnTo>
                      <a:pt x="1850" y="232"/>
                    </a:lnTo>
                    <a:lnTo>
                      <a:pt x="1852" y="232"/>
                    </a:lnTo>
                    <a:lnTo>
                      <a:pt x="1854" y="232"/>
                    </a:lnTo>
                    <a:lnTo>
                      <a:pt x="1854" y="232"/>
                    </a:lnTo>
                    <a:lnTo>
                      <a:pt x="1854" y="232"/>
                    </a:lnTo>
                    <a:lnTo>
                      <a:pt x="1856" y="234"/>
                    </a:lnTo>
                    <a:lnTo>
                      <a:pt x="1860" y="234"/>
                    </a:lnTo>
                    <a:lnTo>
                      <a:pt x="1868" y="234"/>
                    </a:lnTo>
                    <a:lnTo>
                      <a:pt x="1872" y="232"/>
                    </a:lnTo>
                    <a:lnTo>
                      <a:pt x="1874" y="232"/>
                    </a:lnTo>
                    <a:lnTo>
                      <a:pt x="1874" y="232"/>
                    </a:lnTo>
                    <a:lnTo>
                      <a:pt x="1876" y="232"/>
                    </a:lnTo>
                    <a:lnTo>
                      <a:pt x="1878" y="232"/>
                    </a:lnTo>
                    <a:lnTo>
                      <a:pt x="1878" y="232"/>
                    </a:lnTo>
                    <a:lnTo>
                      <a:pt x="1878" y="230"/>
                    </a:lnTo>
                    <a:lnTo>
                      <a:pt x="1880" y="230"/>
                    </a:lnTo>
                    <a:lnTo>
                      <a:pt x="1880" y="230"/>
                    </a:lnTo>
                    <a:lnTo>
                      <a:pt x="1880" y="228"/>
                    </a:lnTo>
                    <a:lnTo>
                      <a:pt x="1880" y="226"/>
                    </a:lnTo>
                    <a:lnTo>
                      <a:pt x="1880" y="226"/>
                    </a:lnTo>
                    <a:lnTo>
                      <a:pt x="1880" y="224"/>
                    </a:lnTo>
                    <a:lnTo>
                      <a:pt x="1880" y="222"/>
                    </a:lnTo>
                    <a:lnTo>
                      <a:pt x="1880" y="222"/>
                    </a:lnTo>
                    <a:lnTo>
                      <a:pt x="1880" y="222"/>
                    </a:lnTo>
                    <a:lnTo>
                      <a:pt x="1880" y="222"/>
                    </a:lnTo>
                    <a:close/>
                    <a:moveTo>
                      <a:pt x="2236" y="868"/>
                    </a:moveTo>
                    <a:lnTo>
                      <a:pt x="2236" y="868"/>
                    </a:lnTo>
                    <a:lnTo>
                      <a:pt x="2236" y="868"/>
                    </a:lnTo>
                    <a:lnTo>
                      <a:pt x="2234" y="866"/>
                    </a:lnTo>
                    <a:lnTo>
                      <a:pt x="2234" y="866"/>
                    </a:lnTo>
                    <a:lnTo>
                      <a:pt x="2232" y="864"/>
                    </a:lnTo>
                    <a:lnTo>
                      <a:pt x="2228" y="862"/>
                    </a:lnTo>
                    <a:lnTo>
                      <a:pt x="2226" y="860"/>
                    </a:lnTo>
                    <a:lnTo>
                      <a:pt x="2222" y="860"/>
                    </a:lnTo>
                    <a:lnTo>
                      <a:pt x="2218" y="858"/>
                    </a:lnTo>
                    <a:lnTo>
                      <a:pt x="2214" y="856"/>
                    </a:lnTo>
                    <a:lnTo>
                      <a:pt x="2208" y="856"/>
                    </a:lnTo>
                    <a:lnTo>
                      <a:pt x="2208" y="856"/>
                    </a:lnTo>
                    <a:lnTo>
                      <a:pt x="2206" y="856"/>
                    </a:lnTo>
                    <a:lnTo>
                      <a:pt x="2206" y="856"/>
                    </a:lnTo>
                    <a:lnTo>
                      <a:pt x="2204" y="858"/>
                    </a:lnTo>
                    <a:lnTo>
                      <a:pt x="2204" y="862"/>
                    </a:lnTo>
                    <a:lnTo>
                      <a:pt x="2204" y="864"/>
                    </a:lnTo>
                    <a:lnTo>
                      <a:pt x="2204" y="868"/>
                    </a:lnTo>
                    <a:lnTo>
                      <a:pt x="2204" y="870"/>
                    </a:lnTo>
                    <a:lnTo>
                      <a:pt x="2204" y="872"/>
                    </a:lnTo>
                    <a:lnTo>
                      <a:pt x="2204" y="874"/>
                    </a:lnTo>
                    <a:lnTo>
                      <a:pt x="2204" y="874"/>
                    </a:lnTo>
                    <a:lnTo>
                      <a:pt x="2204" y="876"/>
                    </a:lnTo>
                    <a:lnTo>
                      <a:pt x="2206" y="878"/>
                    </a:lnTo>
                    <a:lnTo>
                      <a:pt x="2206" y="878"/>
                    </a:lnTo>
                    <a:lnTo>
                      <a:pt x="2206" y="878"/>
                    </a:lnTo>
                    <a:lnTo>
                      <a:pt x="2206" y="880"/>
                    </a:lnTo>
                    <a:lnTo>
                      <a:pt x="2208" y="880"/>
                    </a:lnTo>
                    <a:lnTo>
                      <a:pt x="2210" y="882"/>
                    </a:lnTo>
                    <a:lnTo>
                      <a:pt x="2212" y="884"/>
                    </a:lnTo>
                    <a:lnTo>
                      <a:pt x="2212" y="888"/>
                    </a:lnTo>
                    <a:lnTo>
                      <a:pt x="2216" y="892"/>
                    </a:lnTo>
                    <a:lnTo>
                      <a:pt x="2216" y="892"/>
                    </a:lnTo>
                    <a:lnTo>
                      <a:pt x="2218" y="892"/>
                    </a:lnTo>
                    <a:lnTo>
                      <a:pt x="2218" y="892"/>
                    </a:lnTo>
                    <a:lnTo>
                      <a:pt x="2220" y="892"/>
                    </a:lnTo>
                    <a:lnTo>
                      <a:pt x="2224" y="888"/>
                    </a:lnTo>
                    <a:lnTo>
                      <a:pt x="2228" y="886"/>
                    </a:lnTo>
                    <a:lnTo>
                      <a:pt x="2232" y="882"/>
                    </a:lnTo>
                    <a:lnTo>
                      <a:pt x="2234" y="880"/>
                    </a:lnTo>
                    <a:lnTo>
                      <a:pt x="2234" y="880"/>
                    </a:lnTo>
                    <a:lnTo>
                      <a:pt x="2236" y="878"/>
                    </a:lnTo>
                    <a:lnTo>
                      <a:pt x="2236" y="878"/>
                    </a:lnTo>
                    <a:lnTo>
                      <a:pt x="2236" y="876"/>
                    </a:lnTo>
                    <a:lnTo>
                      <a:pt x="2236" y="874"/>
                    </a:lnTo>
                    <a:lnTo>
                      <a:pt x="2236" y="874"/>
                    </a:lnTo>
                    <a:lnTo>
                      <a:pt x="2236" y="874"/>
                    </a:lnTo>
                    <a:lnTo>
                      <a:pt x="2236" y="872"/>
                    </a:lnTo>
                    <a:lnTo>
                      <a:pt x="2236" y="872"/>
                    </a:lnTo>
                    <a:lnTo>
                      <a:pt x="2236" y="870"/>
                    </a:lnTo>
                    <a:lnTo>
                      <a:pt x="2236" y="868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US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84" name="Freeform 171">
                <a:extLst>
                  <a:ext uri="{FF2B5EF4-FFF2-40B4-BE49-F238E27FC236}">
                    <a16:creationId xmlns:a16="http://schemas.microsoft.com/office/drawing/2014/main" id="{955B4F19-11BB-46AF-9EB3-9518E7B9C2F9}"/>
                  </a:ext>
                </a:extLst>
              </p:cNvPr>
              <p:cNvSpPr>
                <a:spLocks/>
              </p:cNvSpPr>
              <p:nvPr>
                <p:custDataLst>
                  <p:tags r:id="rId168"/>
                </p:custDataLst>
              </p:nvPr>
            </p:nvSpPr>
            <p:spPr bwMode="gray">
              <a:xfrm>
                <a:off x="4350563" y="3050184"/>
                <a:ext cx="307907" cy="314184"/>
              </a:xfrm>
              <a:custGeom>
                <a:avLst/>
                <a:gdLst/>
                <a:ahLst/>
                <a:cxnLst/>
                <a:rect l="l" t="t" r="r" b="b"/>
                <a:pathLst>
                  <a:path w="330050" h="323637">
                    <a:moveTo>
                      <a:pt x="318742" y="280797"/>
                    </a:moveTo>
                    <a:cubicBezTo>
                      <a:pt x="322512" y="280018"/>
                      <a:pt x="327275" y="280404"/>
                      <a:pt x="328069" y="281954"/>
                    </a:cubicBezTo>
                    <a:cubicBezTo>
                      <a:pt x="331241" y="292853"/>
                      <a:pt x="329653" y="303747"/>
                      <a:pt x="329653" y="314646"/>
                    </a:cubicBezTo>
                    <a:cubicBezTo>
                      <a:pt x="325154" y="323205"/>
                      <a:pt x="310605" y="326083"/>
                      <a:pt x="308223" y="321408"/>
                    </a:cubicBezTo>
                    <a:cubicBezTo>
                      <a:pt x="330450" y="318299"/>
                      <a:pt x="312195" y="305301"/>
                      <a:pt x="315368" y="286629"/>
                    </a:cubicBezTo>
                    <a:cubicBezTo>
                      <a:pt x="312194" y="283520"/>
                      <a:pt x="314972" y="281576"/>
                      <a:pt x="318742" y="280797"/>
                    </a:cubicBezTo>
                    <a:close/>
                    <a:moveTo>
                      <a:pt x="177056" y="323"/>
                    </a:moveTo>
                    <a:cubicBezTo>
                      <a:pt x="181620" y="-260"/>
                      <a:pt x="185986" y="-260"/>
                      <a:pt x="189954" y="2071"/>
                    </a:cubicBezTo>
                    <a:cubicBezTo>
                      <a:pt x="205829" y="12950"/>
                      <a:pt x="232817" y="44031"/>
                      <a:pt x="243929" y="61126"/>
                    </a:cubicBezTo>
                    <a:cubicBezTo>
                      <a:pt x="264567" y="73559"/>
                      <a:pt x="293142" y="61126"/>
                      <a:pt x="296317" y="81329"/>
                    </a:cubicBezTo>
                    <a:cubicBezTo>
                      <a:pt x="302667" y="89100"/>
                      <a:pt x="283617" y="98424"/>
                      <a:pt x="282029" y="104640"/>
                    </a:cubicBezTo>
                    <a:cubicBezTo>
                      <a:pt x="280442" y="110857"/>
                      <a:pt x="291554" y="112411"/>
                      <a:pt x="285204" y="123289"/>
                    </a:cubicBezTo>
                    <a:cubicBezTo>
                      <a:pt x="270917" y="127952"/>
                      <a:pt x="239167" y="143492"/>
                      <a:pt x="253454" y="160587"/>
                    </a:cubicBezTo>
                    <a:cubicBezTo>
                      <a:pt x="283617" y="177682"/>
                      <a:pt x="275679" y="168358"/>
                      <a:pt x="277267" y="219642"/>
                    </a:cubicBezTo>
                    <a:cubicBezTo>
                      <a:pt x="302667" y="267819"/>
                      <a:pt x="261392" y="256940"/>
                      <a:pt x="215354" y="258494"/>
                    </a:cubicBezTo>
                    <a:cubicBezTo>
                      <a:pt x="199479" y="256940"/>
                      <a:pt x="193129" y="252278"/>
                      <a:pt x="189954" y="267819"/>
                    </a:cubicBezTo>
                    <a:cubicBezTo>
                      <a:pt x="186779" y="275589"/>
                      <a:pt x="182017" y="281806"/>
                      <a:pt x="177254" y="289576"/>
                    </a:cubicBezTo>
                    <a:cubicBezTo>
                      <a:pt x="172492" y="292684"/>
                      <a:pt x="162967" y="289576"/>
                      <a:pt x="158204" y="286468"/>
                    </a:cubicBezTo>
                    <a:cubicBezTo>
                      <a:pt x="153442" y="283360"/>
                      <a:pt x="156617" y="275589"/>
                      <a:pt x="143917" y="272481"/>
                    </a:cubicBezTo>
                    <a:cubicBezTo>
                      <a:pt x="112167" y="270927"/>
                      <a:pt x="105817" y="274035"/>
                      <a:pt x="85179" y="258494"/>
                    </a:cubicBezTo>
                    <a:cubicBezTo>
                      <a:pt x="66129" y="255386"/>
                      <a:pt x="77242" y="230521"/>
                      <a:pt x="77242" y="214980"/>
                    </a:cubicBezTo>
                    <a:cubicBezTo>
                      <a:pt x="86767" y="210318"/>
                      <a:pt x="89942" y="208764"/>
                      <a:pt x="91529" y="197885"/>
                    </a:cubicBezTo>
                    <a:cubicBezTo>
                      <a:pt x="85179" y="188561"/>
                      <a:pt x="77242" y="183898"/>
                      <a:pt x="72479" y="173020"/>
                    </a:cubicBezTo>
                    <a:cubicBezTo>
                      <a:pt x="64542" y="155925"/>
                      <a:pt x="72479" y="138830"/>
                      <a:pt x="56604" y="127952"/>
                    </a:cubicBezTo>
                    <a:cubicBezTo>
                      <a:pt x="45492" y="126397"/>
                      <a:pt x="32792" y="123289"/>
                      <a:pt x="23267" y="117073"/>
                    </a:cubicBezTo>
                    <a:cubicBezTo>
                      <a:pt x="1042" y="112411"/>
                      <a:pt x="-2133" y="107748"/>
                      <a:pt x="1042" y="84437"/>
                    </a:cubicBezTo>
                    <a:cubicBezTo>
                      <a:pt x="31204" y="79775"/>
                      <a:pt x="28029" y="76667"/>
                      <a:pt x="48667" y="90654"/>
                    </a:cubicBezTo>
                    <a:cubicBezTo>
                      <a:pt x="61367" y="87545"/>
                      <a:pt x="70892" y="87545"/>
                      <a:pt x="75654" y="75113"/>
                    </a:cubicBezTo>
                    <a:cubicBezTo>
                      <a:pt x="70892" y="67342"/>
                      <a:pt x="66129" y="62680"/>
                      <a:pt x="56604" y="58018"/>
                    </a:cubicBezTo>
                    <a:cubicBezTo>
                      <a:pt x="45492" y="56464"/>
                      <a:pt x="43507" y="54133"/>
                      <a:pt x="45492" y="51413"/>
                    </a:cubicBezTo>
                    <a:lnTo>
                      <a:pt x="58192" y="42477"/>
                    </a:lnTo>
                    <a:cubicBezTo>
                      <a:pt x="69304" y="48693"/>
                      <a:pt x="75654" y="56464"/>
                      <a:pt x="85179" y="62680"/>
                    </a:cubicBezTo>
                    <a:cubicBezTo>
                      <a:pt x="148679" y="67342"/>
                      <a:pt x="110579" y="72005"/>
                      <a:pt x="129629" y="47139"/>
                    </a:cubicBezTo>
                    <a:cubicBezTo>
                      <a:pt x="155029" y="33153"/>
                      <a:pt x="132804" y="8287"/>
                      <a:pt x="162967" y="2071"/>
                    </a:cubicBezTo>
                    <a:cubicBezTo>
                      <a:pt x="167729" y="2071"/>
                      <a:pt x="172492" y="906"/>
                      <a:pt x="177056" y="323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85" name="Freeform 172">
                <a:extLst>
                  <a:ext uri="{FF2B5EF4-FFF2-40B4-BE49-F238E27FC236}">
                    <a16:creationId xmlns:a16="http://schemas.microsoft.com/office/drawing/2014/main" id="{1542CD43-B113-427E-A8CF-DDD93CF9EBA4}"/>
                  </a:ext>
                </a:extLst>
              </p:cNvPr>
              <p:cNvSpPr>
                <a:spLocks/>
              </p:cNvSpPr>
              <p:nvPr>
                <p:custDataLst>
                  <p:tags r:id="rId169"/>
                </p:custDataLst>
              </p:nvPr>
            </p:nvSpPr>
            <p:spPr bwMode="gray">
              <a:xfrm>
                <a:off x="4608654" y="3198944"/>
                <a:ext cx="259421" cy="301935"/>
              </a:xfrm>
              <a:custGeom>
                <a:avLst/>
                <a:gdLst/>
                <a:ahLst/>
                <a:cxnLst/>
                <a:rect l="l" t="t" r="r" b="b"/>
                <a:pathLst>
                  <a:path w="278077" h="311019">
                    <a:moveTo>
                      <a:pt x="42763" y="185722"/>
                    </a:moveTo>
                    <a:cubicBezTo>
                      <a:pt x="50272" y="185101"/>
                      <a:pt x="58295" y="185679"/>
                      <a:pt x="61734" y="188662"/>
                    </a:cubicBezTo>
                    <a:cubicBezTo>
                      <a:pt x="68612" y="194629"/>
                      <a:pt x="66025" y="217687"/>
                      <a:pt x="68150" y="225777"/>
                    </a:cubicBezTo>
                    <a:cubicBezTo>
                      <a:pt x="61802" y="233553"/>
                      <a:pt x="58626" y="239786"/>
                      <a:pt x="55450" y="249118"/>
                    </a:cubicBezTo>
                    <a:cubicBezTo>
                      <a:pt x="48441" y="248550"/>
                      <a:pt x="30843" y="232229"/>
                      <a:pt x="26081" y="222364"/>
                    </a:cubicBezTo>
                    <a:cubicBezTo>
                      <a:pt x="21323" y="212524"/>
                      <a:pt x="21980" y="198485"/>
                      <a:pt x="26874" y="189981"/>
                    </a:cubicBezTo>
                    <a:cubicBezTo>
                      <a:pt x="28258" y="188165"/>
                      <a:pt x="35254" y="186344"/>
                      <a:pt x="42763" y="185722"/>
                    </a:cubicBezTo>
                    <a:close/>
                    <a:moveTo>
                      <a:pt x="34737" y="93844"/>
                    </a:moveTo>
                    <a:lnTo>
                      <a:pt x="12511" y="103195"/>
                    </a:lnTo>
                    <a:lnTo>
                      <a:pt x="22869" y="96731"/>
                    </a:lnTo>
                    <a:cubicBezTo>
                      <a:pt x="27546" y="96686"/>
                      <a:pt x="32592" y="93844"/>
                      <a:pt x="34737" y="93844"/>
                    </a:cubicBezTo>
                    <a:close/>
                    <a:moveTo>
                      <a:pt x="104795" y="94"/>
                    </a:moveTo>
                    <a:cubicBezTo>
                      <a:pt x="113330" y="-297"/>
                      <a:pt x="121268" y="477"/>
                      <a:pt x="126817" y="3589"/>
                    </a:cubicBezTo>
                    <a:cubicBezTo>
                      <a:pt x="145868" y="6716"/>
                      <a:pt x="149043" y="26934"/>
                      <a:pt x="141120" y="42509"/>
                    </a:cubicBezTo>
                    <a:cubicBezTo>
                      <a:pt x="118893" y="50280"/>
                      <a:pt x="125244" y="51828"/>
                      <a:pt x="122069" y="79850"/>
                    </a:cubicBezTo>
                    <a:lnTo>
                      <a:pt x="141120" y="107871"/>
                    </a:lnTo>
                    <a:cubicBezTo>
                      <a:pt x="153820" y="115642"/>
                      <a:pt x="161744" y="128089"/>
                      <a:pt x="168094" y="140536"/>
                    </a:cubicBezTo>
                    <a:cubicBezTo>
                      <a:pt x="176046" y="145212"/>
                      <a:pt x="179222" y="151435"/>
                      <a:pt x="183970" y="159207"/>
                    </a:cubicBezTo>
                    <a:cubicBezTo>
                      <a:pt x="183970" y="159207"/>
                      <a:pt x="203021" y="160755"/>
                      <a:pt x="212547" y="163882"/>
                    </a:cubicBezTo>
                    <a:cubicBezTo>
                      <a:pt x="217324" y="165430"/>
                      <a:pt x="217324" y="173233"/>
                      <a:pt x="222072" y="176329"/>
                    </a:cubicBezTo>
                    <a:cubicBezTo>
                      <a:pt x="234773" y="179457"/>
                      <a:pt x="249075" y="188776"/>
                      <a:pt x="255426" y="199675"/>
                    </a:cubicBezTo>
                    <a:cubicBezTo>
                      <a:pt x="255426" y="199675"/>
                      <a:pt x="274477" y="207446"/>
                      <a:pt x="277652" y="215249"/>
                    </a:cubicBezTo>
                    <a:cubicBezTo>
                      <a:pt x="279225" y="218345"/>
                      <a:pt x="276050" y="219893"/>
                      <a:pt x="274477" y="223021"/>
                    </a:cubicBezTo>
                    <a:cubicBezTo>
                      <a:pt x="256999" y="226117"/>
                      <a:pt x="255426" y="227696"/>
                      <a:pt x="250649" y="209026"/>
                    </a:cubicBezTo>
                    <a:cubicBezTo>
                      <a:pt x="241123" y="204350"/>
                      <a:pt x="236375" y="207446"/>
                      <a:pt x="234773" y="218345"/>
                    </a:cubicBezTo>
                    <a:cubicBezTo>
                      <a:pt x="230024" y="229244"/>
                      <a:pt x="237948" y="230792"/>
                      <a:pt x="244298" y="238564"/>
                    </a:cubicBezTo>
                    <a:cubicBezTo>
                      <a:pt x="239550" y="246367"/>
                      <a:pt x="234773" y="252590"/>
                      <a:pt x="230024" y="260362"/>
                    </a:cubicBezTo>
                    <a:cubicBezTo>
                      <a:pt x="206196" y="274356"/>
                      <a:pt x="214148" y="286835"/>
                      <a:pt x="203021" y="308601"/>
                    </a:cubicBezTo>
                    <a:cubicBezTo>
                      <a:pt x="183970" y="311729"/>
                      <a:pt x="182397" y="313277"/>
                      <a:pt x="168094" y="303926"/>
                    </a:cubicBezTo>
                    <a:cubicBezTo>
                      <a:pt x="158569" y="302378"/>
                      <a:pt x="152219" y="299282"/>
                      <a:pt x="144295" y="294606"/>
                    </a:cubicBezTo>
                    <a:cubicBezTo>
                      <a:pt x="129992" y="291479"/>
                      <a:pt x="129992" y="291479"/>
                      <a:pt x="126817" y="275936"/>
                    </a:cubicBezTo>
                    <a:cubicBezTo>
                      <a:pt x="180795" y="271260"/>
                      <a:pt x="209372" y="289931"/>
                      <a:pt x="212547" y="237016"/>
                    </a:cubicBezTo>
                    <a:cubicBezTo>
                      <a:pt x="210973" y="227696"/>
                      <a:pt x="206196" y="223021"/>
                      <a:pt x="201448" y="215249"/>
                    </a:cubicBezTo>
                    <a:cubicBezTo>
                      <a:pt x="190321" y="213670"/>
                      <a:pt x="193496" y="209026"/>
                      <a:pt x="187145" y="199675"/>
                    </a:cubicBezTo>
                    <a:cubicBezTo>
                      <a:pt x="176046" y="193451"/>
                      <a:pt x="174445" y="182552"/>
                      <a:pt x="163346" y="177877"/>
                    </a:cubicBezTo>
                    <a:cubicBezTo>
                      <a:pt x="147470" y="174781"/>
                      <a:pt x="123642" y="159207"/>
                      <a:pt x="117292" y="145212"/>
                    </a:cubicBezTo>
                    <a:cubicBezTo>
                      <a:pt x="107766" y="137409"/>
                      <a:pt x="106193" y="128089"/>
                      <a:pt x="96667" y="121866"/>
                    </a:cubicBezTo>
                    <a:cubicBezTo>
                      <a:pt x="82365" y="118738"/>
                      <a:pt x="83967" y="112515"/>
                      <a:pt x="82365" y="98520"/>
                    </a:cubicBezTo>
                    <a:cubicBezTo>
                      <a:pt x="76015" y="84525"/>
                      <a:pt x="56964" y="89169"/>
                      <a:pt x="44263" y="87621"/>
                    </a:cubicBezTo>
                    <a:cubicBezTo>
                      <a:pt x="35798" y="88653"/>
                      <a:pt x="29454" y="92463"/>
                      <a:pt x="22869" y="96731"/>
                    </a:cubicBezTo>
                    <a:lnTo>
                      <a:pt x="17288" y="96972"/>
                    </a:lnTo>
                    <a:cubicBezTo>
                      <a:pt x="12511" y="93844"/>
                      <a:pt x="4587" y="82946"/>
                      <a:pt x="1412" y="75174"/>
                    </a:cubicBezTo>
                    <a:cubicBezTo>
                      <a:pt x="-1763" y="67403"/>
                      <a:pt x="1412" y="58052"/>
                      <a:pt x="1412" y="50280"/>
                    </a:cubicBezTo>
                    <a:cubicBezTo>
                      <a:pt x="2986" y="42509"/>
                      <a:pt x="6161" y="36285"/>
                      <a:pt x="7763" y="28482"/>
                    </a:cubicBezTo>
                    <a:cubicBezTo>
                      <a:pt x="17288" y="26934"/>
                      <a:pt x="26814" y="28482"/>
                      <a:pt x="34737" y="22259"/>
                    </a:cubicBezTo>
                    <a:cubicBezTo>
                      <a:pt x="45865" y="17583"/>
                      <a:pt x="63314" y="6716"/>
                      <a:pt x="79190" y="3589"/>
                    </a:cubicBezTo>
                    <a:cubicBezTo>
                      <a:pt x="87128" y="2041"/>
                      <a:pt x="96260" y="485"/>
                      <a:pt x="104795" y="94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86" name="Freeform 56">
                <a:extLst>
                  <a:ext uri="{FF2B5EF4-FFF2-40B4-BE49-F238E27FC236}">
                    <a16:creationId xmlns:a16="http://schemas.microsoft.com/office/drawing/2014/main" id="{B4FEAA36-AB33-41D9-A5FD-00164AA0CA7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96494" y="4279237"/>
                <a:ext cx="1039660" cy="388365"/>
              </a:xfrm>
              <a:custGeom>
                <a:avLst/>
                <a:gdLst>
                  <a:gd name="T0" fmla="*/ 628 w 702"/>
                  <a:gd name="T1" fmla="*/ 114 h 252"/>
                  <a:gd name="T2" fmla="*/ 576 w 702"/>
                  <a:gd name="T3" fmla="*/ 84 h 252"/>
                  <a:gd name="T4" fmla="*/ 542 w 702"/>
                  <a:gd name="T5" fmla="*/ 106 h 252"/>
                  <a:gd name="T6" fmla="*/ 564 w 702"/>
                  <a:gd name="T7" fmla="*/ 122 h 252"/>
                  <a:gd name="T8" fmla="*/ 574 w 702"/>
                  <a:gd name="T9" fmla="*/ 146 h 252"/>
                  <a:gd name="T10" fmla="*/ 646 w 702"/>
                  <a:gd name="T11" fmla="*/ 212 h 252"/>
                  <a:gd name="T12" fmla="*/ 702 w 702"/>
                  <a:gd name="T13" fmla="*/ 218 h 252"/>
                  <a:gd name="T14" fmla="*/ 32 w 702"/>
                  <a:gd name="T15" fmla="*/ 56 h 252"/>
                  <a:gd name="T16" fmla="*/ 50 w 702"/>
                  <a:gd name="T17" fmla="*/ 80 h 252"/>
                  <a:gd name="T18" fmla="*/ 50 w 702"/>
                  <a:gd name="T19" fmla="*/ 100 h 252"/>
                  <a:gd name="T20" fmla="*/ 74 w 702"/>
                  <a:gd name="T21" fmla="*/ 96 h 252"/>
                  <a:gd name="T22" fmla="*/ 530 w 702"/>
                  <a:gd name="T23" fmla="*/ 222 h 252"/>
                  <a:gd name="T24" fmla="*/ 556 w 702"/>
                  <a:gd name="T25" fmla="*/ 200 h 252"/>
                  <a:gd name="T26" fmla="*/ 274 w 702"/>
                  <a:gd name="T27" fmla="*/ 198 h 252"/>
                  <a:gd name="T28" fmla="*/ 232 w 702"/>
                  <a:gd name="T29" fmla="*/ 182 h 252"/>
                  <a:gd name="T30" fmla="*/ 170 w 702"/>
                  <a:gd name="T31" fmla="*/ 168 h 252"/>
                  <a:gd name="T32" fmla="*/ 196 w 702"/>
                  <a:gd name="T33" fmla="*/ 204 h 252"/>
                  <a:gd name="T34" fmla="*/ 296 w 702"/>
                  <a:gd name="T35" fmla="*/ 208 h 252"/>
                  <a:gd name="T36" fmla="*/ 612 w 702"/>
                  <a:gd name="T37" fmla="*/ 172 h 252"/>
                  <a:gd name="T38" fmla="*/ 206 w 702"/>
                  <a:gd name="T39" fmla="*/ 144 h 252"/>
                  <a:gd name="T40" fmla="*/ 188 w 702"/>
                  <a:gd name="T41" fmla="*/ 122 h 252"/>
                  <a:gd name="T42" fmla="*/ 382 w 702"/>
                  <a:gd name="T43" fmla="*/ 228 h 252"/>
                  <a:gd name="T44" fmla="*/ 388 w 702"/>
                  <a:gd name="T45" fmla="*/ 252 h 252"/>
                  <a:gd name="T46" fmla="*/ 458 w 702"/>
                  <a:gd name="T47" fmla="*/ 208 h 252"/>
                  <a:gd name="T48" fmla="*/ 450 w 702"/>
                  <a:gd name="T49" fmla="*/ 244 h 252"/>
                  <a:gd name="T50" fmla="*/ 224 w 702"/>
                  <a:gd name="T51" fmla="*/ 106 h 252"/>
                  <a:gd name="T52" fmla="*/ 254 w 702"/>
                  <a:gd name="T53" fmla="*/ 138 h 252"/>
                  <a:gd name="T54" fmla="*/ 326 w 702"/>
                  <a:gd name="T55" fmla="*/ 136 h 252"/>
                  <a:gd name="T56" fmla="*/ 352 w 702"/>
                  <a:gd name="T57" fmla="*/ 80 h 252"/>
                  <a:gd name="T58" fmla="*/ 352 w 702"/>
                  <a:gd name="T59" fmla="*/ 54 h 252"/>
                  <a:gd name="T60" fmla="*/ 350 w 702"/>
                  <a:gd name="T61" fmla="*/ 20 h 252"/>
                  <a:gd name="T62" fmla="*/ 262 w 702"/>
                  <a:gd name="T63" fmla="*/ 56 h 252"/>
                  <a:gd name="T64" fmla="*/ 204 w 702"/>
                  <a:gd name="T65" fmla="*/ 66 h 252"/>
                  <a:gd name="T66" fmla="*/ 172 w 702"/>
                  <a:gd name="T67" fmla="*/ 134 h 252"/>
                  <a:gd name="T68" fmla="*/ 182 w 702"/>
                  <a:gd name="T69" fmla="*/ 124 h 252"/>
                  <a:gd name="T70" fmla="*/ 152 w 702"/>
                  <a:gd name="T71" fmla="*/ 114 h 252"/>
                  <a:gd name="T72" fmla="*/ 124 w 702"/>
                  <a:gd name="T73" fmla="*/ 76 h 252"/>
                  <a:gd name="T74" fmla="*/ 34 w 702"/>
                  <a:gd name="T75" fmla="*/ 8 h 252"/>
                  <a:gd name="T76" fmla="*/ 2 w 702"/>
                  <a:gd name="T77" fmla="*/ 14 h 252"/>
                  <a:gd name="T78" fmla="*/ 60 w 702"/>
                  <a:gd name="T79" fmla="*/ 80 h 252"/>
                  <a:gd name="T80" fmla="*/ 158 w 702"/>
                  <a:gd name="T81" fmla="*/ 174 h 252"/>
                  <a:gd name="T82" fmla="*/ 324 w 702"/>
                  <a:gd name="T83" fmla="*/ 208 h 252"/>
                  <a:gd name="T84" fmla="*/ 334 w 702"/>
                  <a:gd name="T85" fmla="*/ 232 h 252"/>
                  <a:gd name="T86" fmla="*/ 442 w 702"/>
                  <a:gd name="T87" fmla="*/ 210 h 252"/>
                  <a:gd name="T88" fmla="*/ 368 w 702"/>
                  <a:gd name="T89" fmla="*/ 138 h 252"/>
                  <a:gd name="T90" fmla="*/ 382 w 702"/>
                  <a:gd name="T91" fmla="*/ 164 h 252"/>
                  <a:gd name="T92" fmla="*/ 388 w 702"/>
                  <a:gd name="T93" fmla="*/ 138 h 252"/>
                  <a:gd name="T94" fmla="*/ 416 w 702"/>
                  <a:gd name="T95" fmla="*/ 172 h 252"/>
                  <a:gd name="T96" fmla="*/ 430 w 702"/>
                  <a:gd name="T97" fmla="*/ 154 h 252"/>
                  <a:gd name="T98" fmla="*/ 404 w 702"/>
                  <a:gd name="T99" fmla="*/ 116 h 252"/>
                  <a:gd name="T100" fmla="*/ 426 w 702"/>
                  <a:gd name="T101" fmla="*/ 96 h 252"/>
                  <a:gd name="T102" fmla="*/ 390 w 702"/>
                  <a:gd name="T103" fmla="*/ 82 h 252"/>
                  <a:gd name="T104" fmla="*/ 454 w 702"/>
                  <a:gd name="T105" fmla="*/ 56 h 252"/>
                  <a:gd name="T106" fmla="*/ 386 w 702"/>
                  <a:gd name="T107" fmla="*/ 76 h 252"/>
                  <a:gd name="T108" fmla="*/ 494 w 702"/>
                  <a:gd name="T109" fmla="*/ 90 h 252"/>
                  <a:gd name="T110" fmla="*/ 508 w 702"/>
                  <a:gd name="T111" fmla="*/ 98 h 252"/>
                  <a:gd name="T112" fmla="*/ 508 w 702"/>
                  <a:gd name="T113" fmla="*/ 58 h 252"/>
                  <a:gd name="T114" fmla="*/ 496 w 702"/>
                  <a:gd name="T115" fmla="*/ 48 h 252"/>
                  <a:gd name="T116" fmla="*/ 494 w 702"/>
                  <a:gd name="T117" fmla="*/ 90 h 252"/>
                  <a:gd name="T118" fmla="*/ 488 w 702"/>
                  <a:gd name="T119" fmla="*/ 156 h 252"/>
                  <a:gd name="T120" fmla="*/ 544 w 702"/>
                  <a:gd name="T121" fmla="*/ 146 h 252"/>
                  <a:gd name="T122" fmla="*/ 528 w 702"/>
                  <a:gd name="T123" fmla="*/ 122 h 252"/>
                  <a:gd name="T124" fmla="*/ 544 w 702"/>
                  <a:gd name="T125" fmla="*/ 146 h 2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02" h="252">
                    <a:moveTo>
                      <a:pt x="700" y="124"/>
                    </a:moveTo>
                    <a:lnTo>
                      <a:pt x="698" y="124"/>
                    </a:lnTo>
                    <a:lnTo>
                      <a:pt x="700" y="122"/>
                    </a:lnTo>
                    <a:lnTo>
                      <a:pt x="650" y="104"/>
                    </a:lnTo>
                    <a:lnTo>
                      <a:pt x="650" y="104"/>
                    </a:lnTo>
                    <a:lnTo>
                      <a:pt x="648" y="104"/>
                    </a:lnTo>
                    <a:lnTo>
                      <a:pt x="628" y="114"/>
                    </a:lnTo>
                    <a:lnTo>
                      <a:pt x="628" y="114"/>
                    </a:lnTo>
                    <a:lnTo>
                      <a:pt x="628" y="114"/>
                    </a:lnTo>
                    <a:lnTo>
                      <a:pt x="612" y="130"/>
                    </a:lnTo>
                    <a:lnTo>
                      <a:pt x="594" y="114"/>
                    </a:lnTo>
                    <a:lnTo>
                      <a:pt x="594" y="98"/>
                    </a:lnTo>
                    <a:lnTo>
                      <a:pt x="594" y="98"/>
                    </a:lnTo>
                    <a:lnTo>
                      <a:pt x="594" y="96"/>
                    </a:lnTo>
                    <a:lnTo>
                      <a:pt x="576" y="84"/>
                    </a:lnTo>
                    <a:lnTo>
                      <a:pt x="576" y="84"/>
                    </a:lnTo>
                    <a:lnTo>
                      <a:pt x="574" y="84"/>
                    </a:lnTo>
                    <a:lnTo>
                      <a:pt x="564" y="84"/>
                    </a:lnTo>
                    <a:lnTo>
                      <a:pt x="564" y="84"/>
                    </a:lnTo>
                    <a:lnTo>
                      <a:pt x="562" y="86"/>
                    </a:lnTo>
                    <a:lnTo>
                      <a:pt x="542" y="104"/>
                    </a:lnTo>
                    <a:lnTo>
                      <a:pt x="542" y="104"/>
                    </a:lnTo>
                    <a:lnTo>
                      <a:pt x="542" y="106"/>
                    </a:lnTo>
                    <a:lnTo>
                      <a:pt x="542" y="106"/>
                    </a:lnTo>
                    <a:lnTo>
                      <a:pt x="544" y="108"/>
                    </a:lnTo>
                    <a:lnTo>
                      <a:pt x="550" y="108"/>
                    </a:lnTo>
                    <a:lnTo>
                      <a:pt x="562" y="118"/>
                    </a:lnTo>
                    <a:lnTo>
                      <a:pt x="562" y="118"/>
                    </a:lnTo>
                    <a:lnTo>
                      <a:pt x="564" y="120"/>
                    </a:lnTo>
                    <a:lnTo>
                      <a:pt x="584" y="120"/>
                    </a:lnTo>
                    <a:lnTo>
                      <a:pt x="580" y="122"/>
                    </a:lnTo>
                    <a:lnTo>
                      <a:pt x="564" y="122"/>
                    </a:lnTo>
                    <a:lnTo>
                      <a:pt x="564" y="122"/>
                    </a:lnTo>
                    <a:lnTo>
                      <a:pt x="560" y="124"/>
                    </a:lnTo>
                    <a:lnTo>
                      <a:pt x="560" y="124"/>
                    </a:lnTo>
                    <a:lnTo>
                      <a:pt x="562" y="126"/>
                    </a:lnTo>
                    <a:lnTo>
                      <a:pt x="572" y="136"/>
                    </a:lnTo>
                    <a:lnTo>
                      <a:pt x="572" y="144"/>
                    </a:lnTo>
                    <a:lnTo>
                      <a:pt x="572" y="144"/>
                    </a:lnTo>
                    <a:lnTo>
                      <a:pt x="574" y="146"/>
                    </a:lnTo>
                    <a:lnTo>
                      <a:pt x="574" y="146"/>
                    </a:lnTo>
                    <a:lnTo>
                      <a:pt x="576" y="146"/>
                    </a:lnTo>
                    <a:lnTo>
                      <a:pt x="582" y="138"/>
                    </a:lnTo>
                    <a:lnTo>
                      <a:pt x="646" y="172"/>
                    </a:lnTo>
                    <a:lnTo>
                      <a:pt x="656" y="190"/>
                    </a:lnTo>
                    <a:lnTo>
                      <a:pt x="646" y="210"/>
                    </a:lnTo>
                    <a:lnTo>
                      <a:pt x="646" y="210"/>
                    </a:lnTo>
                    <a:lnTo>
                      <a:pt x="646" y="212"/>
                    </a:lnTo>
                    <a:lnTo>
                      <a:pt x="646" y="212"/>
                    </a:lnTo>
                    <a:lnTo>
                      <a:pt x="650" y="214"/>
                    </a:lnTo>
                    <a:lnTo>
                      <a:pt x="678" y="204"/>
                    </a:lnTo>
                    <a:lnTo>
                      <a:pt x="698" y="220"/>
                    </a:lnTo>
                    <a:lnTo>
                      <a:pt x="698" y="220"/>
                    </a:lnTo>
                    <a:lnTo>
                      <a:pt x="700" y="220"/>
                    </a:lnTo>
                    <a:lnTo>
                      <a:pt x="700" y="220"/>
                    </a:lnTo>
                    <a:lnTo>
                      <a:pt x="702" y="218"/>
                    </a:lnTo>
                    <a:lnTo>
                      <a:pt x="702" y="124"/>
                    </a:lnTo>
                    <a:lnTo>
                      <a:pt x="700" y="124"/>
                    </a:lnTo>
                    <a:close/>
                    <a:moveTo>
                      <a:pt x="54" y="80"/>
                    </a:moveTo>
                    <a:lnTo>
                      <a:pt x="54" y="80"/>
                    </a:lnTo>
                    <a:lnTo>
                      <a:pt x="54" y="78"/>
                    </a:lnTo>
                    <a:lnTo>
                      <a:pt x="52" y="7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0" y="56"/>
                    </a:lnTo>
                    <a:lnTo>
                      <a:pt x="30" y="56"/>
                    </a:lnTo>
                    <a:lnTo>
                      <a:pt x="28" y="58"/>
                    </a:lnTo>
                    <a:lnTo>
                      <a:pt x="28" y="68"/>
                    </a:lnTo>
                    <a:lnTo>
                      <a:pt x="30" y="68"/>
                    </a:lnTo>
                    <a:lnTo>
                      <a:pt x="30" y="68"/>
                    </a:lnTo>
                    <a:lnTo>
                      <a:pt x="30" y="72"/>
                    </a:lnTo>
                    <a:lnTo>
                      <a:pt x="50" y="80"/>
                    </a:lnTo>
                    <a:lnTo>
                      <a:pt x="50" y="80"/>
                    </a:lnTo>
                    <a:lnTo>
                      <a:pt x="52" y="80"/>
                    </a:lnTo>
                    <a:lnTo>
                      <a:pt x="54" y="80"/>
                    </a:lnTo>
                    <a:lnTo>
                      <a:pt x="54" y="80"/>
                    </a:lnTo>
                    <a:close/>
                    <a:moveTo>
                      <a:pt x="72" y="96"/>
                    </a:moveTo>
                    <a:lnTo>
                      <a:pt x="52" y="96"/>
                    </a:lnTo>
                    <a:lnTo>
                      <a:pt x="52" y="98"/>
                    </a:lnTo>
                    <a:lnTo>
                      <a:pt x="50" y="100"/>
                    </a:lnTo>
                    <a:lnTo>
                      <a:pt x="70" y="118"/>
                    </a:lnTo>
                    <a:lnTo>
                      <a:pt x="70" y="118"/>
                    </a:lnTo>
                    <a:lnTo>
                      <a:pt x="74" y="118"/>
                    </a:lnTo>
                    <a:lnTo>
                      <a:pt x="74" y="118"/>
                    </a:lnTo>
                    <a:lnTo>
                      <a:pt x="74" y="114"/>
                    </a:lnTo>
                    <a:lnTo>
                      <a:pt x="74" y="98"/>
                    </a:lnTo>
                    <a:lnTo>
                      <a:pt x="74" y="98"/>
                    </a:lnTo>
                    <a:lnTo>
                      <a:pt x="74" y="96"/>
                    </a:lnTo>
                    <a:lnTo>
                      <a:pt x="72" y="96"/>
                    </a:lnTo>
                    <a:lnTo>
                      <a:pt x="72" y="96"/>
                    </a:lnTo>
                    <a:close/>
                    <a:moveTo>
                      <a:pt x="552" y="200"/>
                    </a:moveTo>
                    <a:lnTo>
                      <a:pt x="534" y="200"/>
                    </a:lnTo>
                    <a:lnTo>
                      <a:pt x="534" y="200"/>
                    </a:lnTo>
                    <a:lnTo>
                      <a:pt x="532" y="200"/>
                    </a:lnTo>
                    <a:lnTo>
                      <a:pt x="530" y="202"/>
                    </a:lnTo>
                    <a:lnTo>
                      <a:pt x="530" y="222"/>
                    </a:lnTo>
                    <a:lnTo>
                      <a:pt x="534" y="222"/>
                    </a:lnTo>
                    <a:lnTo>
                      <a:pt x="534" y="224"/>
                    </a:lnTo>
                    <a:lnTo>
                      <a:pt x="544" y="224"/>
                    </a:lnTo>
                    <a:lnTo>
                      <a:pt x="544" y="224"/>
                    </a:lnTo>
                    <a:lnTo>
                      <a:pt x="546" y="222"/>
                    </a:lnTo>
                    <a:lnTo>
                      <a:pt x="556" y="204"/>
                    </a:lnTo>
                    <a:lnTo>
                      <a:pt x="556" y="204"/>
                    </a:lnTo>
                    <a:lnTo>
                      <a:pt x="556" y="200"/>
                    </a:lnTo>
                    <a:lnTo>
                      <a:pt x="556" y="200"/>
                    </a:lnTo>
                    <a:lnTo>
                      <a:pt x="552" y="200"/>
                    </a:lnTo>
                    <a:lnTo>
                      <a:pt x="552" y="200"/>
                    </a:lnTo>
                    <a:close/>
                    <a:moveTo>
                      <a:pt x="296" y="200"/>
                    </a:moveTo>
                    <a:lnTo>
                      <a:pt x="296" y="200"/>
                    </a:lnTo>
                    <a:lnTo>
                      <a:pt x="296" y="198"/>
                    </a:lnTo>
                    <a:lnTo>
                      <a:pt x="294" y="198"/>
                    </a:lnTo>
                    <a:lnTo>
                      <a:pt x="274" y="198"/>
                    </a:lnTo>
                    <a:lnTo>
                      <a:pt x="266" y="190"/>
                    </a:lnTo>
                    <a:lnTo>
                      <a:pt x="266" y="190"/>
                    </a:lnTo>
                    <a:lnTo>
                      <a:pt x="266" y="188"/>
                    </a:lnTo>
                    <a:lnTo>
                      <a:pt x="236" y="180"/>
                    </a:lnTo>
                    <a:lnTo>
                      <a:pt x="236" y="180"/>
                    </a:lnTo>
                    <a:lnTo>
                      <a:pt x="234" y="180"/>
                    </a:lnTo>
                    <a:lnTo>
                      <a:pt x="234" y="180"/>
                    </a:lnTo>
                    <a:lnTo>
                      <a:pt x="232" y="182"/>
                    </a:lnTo>
                    <a:lnTo>
                      <a:pt x="232" y="186"/>
                    </a:lnTo>
                    <a:lnTo>
                      <a:pt x="218" y="180"/>
                    </a:lnTo>
                    <a:lnTo>
                      <a:pt x="218" y="180"/>
                    </a:lnTo>
                    <a:lnTo>
                      <a:pt x="218" y="180"/>
                    </a:lnTo>
                    <a:lnTo>
                      <a:pt x="188" y="168"/>
                    </a:lnTo>
                    <a:lnTo>
                      <a:pt x="188" y="168"/>
                    </a:lnTo>
                    <a:lnTo>
                      <a:pt x="188" y="168"/>
                    </a:lnTo>
                    <a:lnTo>
                      <a:pt x="170" y="168"/>
                    </a:lnTo>
                    <a:lnTo>
                      <a:pt x="170" y="168"/>
                    </a:lnTo>
                    <a:lnTo>
                      <a:pt x="168" y="170"/>
                    </a:lnTo>
                    <a:lnTo>
                      <a:pt x="156" y="180"/>
                    </a:lnTo>
                    <a:lnTo>
                      <a:pt x="158" y="182"/>
                    </a:lnTo>
                    <a:lnTo>
                      <a:pt x="158" y="184"/>
                    </a:lnTo>
                    <a:lnTo>
                      <a:pt x="196" y="204"/>
                    </a:lnTo>
                    <a:lnTo>
                      <a:pt x="196" y="204"/>
                    </a:lnTo>
                    <a:lnTo>
                      <a:pt x="196" y="204"/>
                    </a:lnTo>
                    <a:lnTo>
                      <a:pt x="294" y="214"/>
                    </a:lnTo>
                    <a:lnTo>
                      <a:pt x="294" y="214"/>
                    </a:lnTo>
                    <a:lnTo>
                      <a:pt x="296" y="214"/>
                    </a:lnTo>
                    <a:lnTo>
                      <a:pt x="296" y="214"/>
                    </a:lnTo>
                    <a:lnTo>
                      <a:pt x="296" y="214"/>
                    </a:lnTo>
                    <a:lnTo>
                      <a:pt x="318" y="214"/>
                    </a:lnTo>
                    <a:lnTo>
                      <a:pt x="318" y="208"/>
                    </a:lnTo>
                    <a:lnTo>
                      <a:pt x="296" y="208"/>
                    </a:lnTo>
                    <a:lnTo>
                      <a:pt x="296" y="200"/>
                    </a:lnTo>
                    <a:close/>
                    <a:moveTo>
                      <a:pt x="612" y="160"/>
                    </a:moveTo>
                    <a:lnTo>
                      <a:pt x="612" y="160"/>
                    </a:lnTo>
                    <a:lnTo>
                      <a:pt x="608" y="162"/>
                    </a:lnTo>
                    <a:lnTo>
                      <a:pt x="590" y="188"/>
                    </a:lnTo>
                    <a:lnTo>
                      <a:pt x="592" y="190"/>
                    </a:lnTo>
                    <a:lnTo>
                      <a:pt x="594" y="192"/>
                    </a:lnTo>
                    <a:lnTo>
                      <a:pt x="612" y="172"/>
                    </a:lnTo>
                    <a:lnTo>
                      <a:pt x="612" y="172"/>
                    </a:lnTo>
                    <a:lnTo>
                      <a:pt x="614" y="170"/>
                    </a:lnTo>
                    <a:lnTo>
                      <a:pt x="614" y="162"/>
                    </a:lnTo>
                    <a:lnTo>
                      <a:pt x="614" y="162"/>
                    </a:lnTo>
                    <a:lnTo>
                      <a:pt x="612" y="160"/>
                    </a:lnTo>
                    <a:lnTo>
                      <a:pt x="612" y="160"/>
                    </a:lnTo>
                    <a:close/>
                    <a:moveTo>
                      <a:pt x="188" y="144"/>
                    </a:moveTo>
                    <a:lnTo>
                      <a:pt x="206" y="144"/>
                    </a:lnTo>
                    <a:lnTo>
                      <a:pt x="206" y="144"/>
                    </a:lnTo>
                    <a:lnTo>
                      <a:pt x="208" y="144"/>
                    </a:lnTo>
                    <a:lnTo>
                      <a:pt x="210" y="142"/>
                    </a:lnTo>
                    <a:lnTo>
                      <a:pt x="210" y="124"/>
                    </a:lnTo>
                    <a:lnTo>
                      <a:pt x="210" y="124"/>
                    </a:lnTo>
                    <a:lnTo>
                      <a:pt x="208" y="122"/>
                    </a:lnTo>
                    <a:lnTo>
                      <a:pt x="206" y="122"/>
                    </a:lnTo>
                    <a:lnTo>
                      <a:pt x="188" y="122"/>
                    </a:lnTo>
                    <a:lnTo>
                      <a:pt x="188" y="122"/>
                    </a:lnTo>
                    <a:lnTo>
                      <a:pt x="186" y="122"/>
                    </a:lnTo>
                    <a:lnTo>
                      <a:pt x="184" y="124"/>
                    </a:lnTo>
                    <a:lnTo>
                      <a:pt x="184" y="142"/>
                    </a:lnTo>
                    <a:lnTo>
                      <a:pt x="188" y="142"/>
                    </a:lnTo>
                    <a:lnTo>
                      <a:pt x="188" y="144"/>
                    </a:lnTo>
                    <a:close/>
                    <a:moveTo>
                      <a:pt x="382" y="228"/>
                    </a:moveTo>
                    <a:lnTo>
                      <a:pt x="382" y="228"/>
                    </a:lnTo>
                    <a:lnTo>
                      <a:pt x="380" y="228"/>
                    </a:lnTo>
                    <a:lnTo>
                      <a:pt x="360" y="228"/>
                    </a:lnTo>
                    <a:lnTo>
                      <a:pt x="360" y="230"/>
                    </a:lnTo>
                    <a:lnTo>
                      <a:pt x="358" y="232"/>
                    </a:lnTo>
                    <a:lnTo>
                      <a:pt x="378" y="252"/>
                    </a:lnTo>
                    <a:lnTo>
                      <a:pt x="378" y="252"/>
                    </a:lnTo>
                    <a:lnTo>
                      <a:pt x="380" y="252"/>
                    </a:lnTo>
                    <a:lnTo>
                      <a:pt x="388" y="252"/>
                    </a:lnTo>
                    <a:lnTo>
                      <a:pt x="388" y="252"/>
                    </a:lnTo>
                    <a:lnTo>
                      <a:pt x="392" y="250"/>
                    </a:lnTo>
                    <a:lnTo>
                      <a:pt x="392" y="250"/>
                    </a:lnTo>
                    <a:lnTo>
                      <a:pt x="392" y="248"/>
                    </a:lnTo>
                    <a:lnTo>
                      <a:pt x="382" y="228"/>
                    </a:lnTo>
                    <a:close/>
                    <a:moveTo>
                      <a:pt x="486" y="208"/>
                    </a:moveTo>
                    <a:lnTo>
                      <a:pt x="458" y="208"/>
                    </a:lnTo>
                    <a:lnTo>
                      <a:pt x="458" y="208"/>
                    </a:lnTo>
                    <a:lnTo>
                      <a:pt x="454" y="208"/>
                    </a:lnTo>
                    <a:lnTo>
                      <a:pt x="436" y="228"/>
                    </a:lnTo>
                    <a:lnTo>
                      <a:pt x="426" y="240"/>
                    </a:lnTo>
                    <a:lnTo>
                      <a:pt x="428" y="242"/>
                    </a:lnTo>
                    <a:lnTo>
                      <a:pt x="428" y="244"/>
                    </a:lnTo>
                    <a:lnTo>
                      <a:pt x="448" y="244"/>
                    </a:lnTo>
                    <a:lnTo>
                      <a:pt x="448" y="244"/>
                    </a:lnTo>
                    <a:lnTo>
                      <a:pt x="450" y="244"/>
                    </a:lnTo>
                    <a:lnTo>
                      <a:pt x="488" y="214"/>
                    </a:lnTo>
                    <a:lnTo>
                      <a:pt x="488" y="214"/>
                    </a:lnTo>
                    <a:lnTo>
                      <a:pt x="490" y="210"/>
                    </a:lnTo>
                    <a:lnTo>
                      <a:pt x="490" y="210"/>
                    </a:lnTo>
                    <a:lnTo>
                      <a:pt x="486" y="208"/>
                    </a:lnTo>
                    <a:lnTo>
                      <a:pt x="486" y="208"/>
                    </a:lnTo>
                    <a:close/>
                    <a:moveTo>
                      <a:pt x="214" y="88"/>
                    </a:moveTo>
                    <a:lnTo>
                      <a:pt x="224" y="106"/>
                    </a:lnTo>
                    <a:lnTo>
                      <a:pt x="232" y="126"/>
                    </a:lnTo>
                    <a:lnTo>
                      <a:pt x="232" y="126"/>
                    </a:lnTo>
                    <a:lnTo>
                      <a:pt x="236" y="126"/>
                    </a:lnTo>
                    <a:lnTo>
                      <a:pt x="252" y="126"/>
                    </a:lnTo>
                    <a:lnTo>
                      <a:pt x="252" y="134"/>
                    </a:lnTo>
                    <a:lnTo>
                      <a:pt x="252" y="134"/>
                    </a:lnTo>
                    <a:lnTo>
                      <a:pt x="252" y="136"/>
                    </a:lnTo>
                    <a:lnTo>
                      <a:pt x="254" y="138"/>
                    </a:lnTo>
                    <a:lnTo>
                      <a:pt x="294" y="138"/>
                    </a:lnTo>
                    <a:lnTo>
                      <a:pt x="300" y="146"/>
                    </a:lnTo>
                    <a:lnTo>
                      <a:pt x="300" y="146"/>
                    </a:lnTo>
                    <a:lnTo>
                      <a:pt x="300" y="146"/>
                    </a:lnTo>
                    <a:lnTo>
                      <a:pt x="302" y="146"/>
                    </a:lnTo>
                    <a:lnTo>
                      <a:pt x="324" y="136"/>
                    </a:lnTo>
                    <a:lnTo>
                      <a:pt x="324" y="136"/>
                    </a:lnTo>
                    <a:lnTo>
                      <a:pt x="326" y="136"/>
                    </a:lnTo>
                    <a:lnTo>
                      <a:pt x="334" y="116"/>
                    </a:lnTo>
                    <a:lnTo>
                      <a:pt x="334" y="116"/>
                    </a:lnTo>
                    <a:lnTo>
                      <a:pt x="334" y="114"/>
                    </a:lnTo>
                    <a:lnTo>
                      <a:pt x="334" y="114"/>
                    </a:lnTo>
                    <a:lnTo>
                      <a:pt x="332" y="112"/>
                    </a:lnTo>
                    <a:lnTo>
                      <a:pt x="328" y="112"/>
                    </a:lnTo>
                    <a:lnTo>
                      <a:pt x="334" y="98"/>
                    </a:lnTo>
                    <a:lnTo>
                      <a:pt x="352" y="80"/>
                    </a:lnTo>
                    <a:lnTo>
                      <a:pt x="362" y="70"/>
                    </a:lnTo>
                    <a:lnTo>
                      <a:pt x="362" y="70"/>
                    </a:lnTo>
                    <a:lnTo>
                      <a:pt x="362" y="68"/>
                    </a:lnTo>
                    <a:lnTo>
                      <a:pt x="362" y="68"/>
                    </a:lnTo>
                    <a:lnTo>
                      <a:pt x="362" y="66"/>
                    </a:lnTo>
                    <a:lnTo>
                      <a:pt x="348" y="58"/>
                    </a:lnTo>
                    <a:lnTo>
                      <a:pt x="352" y="54"/>
                    </a:lnTo>
                    <a:lnTo>
                      <a:pt x="352" y="54"/>
                    </a:lnTo>
                    <a:lnTo>
                      <a:pt x="354" y="52"/>
                    </a:lnTo>
                    <a:lnTo>
                      <a:pt x="352" y="50"/>
                    </a:lnTo>
                    <a:lnTo>
                      <a:pt x="346" y="40"/>
                    </a:lnTo>
                    <a:lnTo>
                      <a:pt x="354" y="24"/>
                    </a:lnTo>
                    <a:lnTo>
                      <a:pt x="354" y="24"/>
                    </a:lnTo>
                    <a:lnTo>
                      <a:pt x="352" y="20"/>
                    </a:lnTo>
                    <a:lnTo>
                      <a:pt x="352" y="20"/>
                    </a:lnTo>
                    <a:lnTo>
                      <a:pt x="350" y="20"/>
                    </a:lnTo>
                    <a:lnTo>
                      <a:pt x="324" y="20"/>
                    </a:lnTo>
                    <a:lnTo>
                      <a:pt x="324" y="20"/>
                    </a:lnTo>
                    <a:lnTo>
                      <a:pt x="320" y="20"/>
                    </a:lnTo>
                    <a:lnTo>
                      <a:pt x="292" y="56"/>
                    </a:lnTo>
                    <a:lnTo>
                      <a:pt x="284" y="64"/>
                    </a:lnTo>
                    <a:lnTo>
                      <a:pt x="266" y="56"/>
                    </a:lnTo>
                    <a:lnTo>
                      <a:pt x="266" y="56"/>
                    </a:lnTo>
                    <a:lnTo>
                      <a:pt x="262" y="56"/>
                    </a:lnTo>
                    <a:lnTo>
                      <a:pt x="252" y="66"/>
                    </a:lnTo>
                    <a:lnTo>
                      <a:pt x="236" y="66"/>
                    </a:lnTo>
                    <a:lnTo>
                      <a:pt x="218" y="56"/>
                    </a:lnTo>
                    <a:lnTo>
                      <a:pt x="218" y="58"/>
                    </a:lnTo>
                    <a:lnTo>
                      <a:pt x="218" y="58"/>
                    </a:lnTo>
                    <a:lnTo>
                      <a:pt x="218" y="58"/>
                    </a:lnTo>
                    <a:lnTo>
                      <a:pt x="216" y="56"/>
                    </a:lnTo>
                    <a:lnTo>
                      <a:pt x="204" y="66"/>
                    </a:lnTo>
                    <a:lnTo>
                      <a:pt x="204" y="66"/>
                    </a:lnTo>
                    <a:lnTo>
                      <a:pt x="204" y="68"/>
                    </a:lnTo>
                    <a:lnTo>
                      <a:pt x="204" y="70"/>
                    </a:lnTo>
                    <a:lnTo>
                      <a:pt x="214" y="88"/>
                    </a:lnTo>
                    <a:close/>
                    <a:moveTo>
                      <a:pt x="160" y="172"/>
                    </a:moveTo>
                    <a:lnTo>
                      <a:pt x="172" y="136"/>
                    </a:lnTo>
                    <a:lnTo>
                      <a:pt x="172" y="136"/>
                    </a:lnTo>
                    <a:lnTo>
                      <a:pt x="172" y="134"/>
                    </a:lnTo>
                    <a:lnTo>
                      <a:pt x="168" y="128"/>
                    </a:lnTo>
                    <a:lnTo>
                      <a:pt x="176" y="136"/>
                    </a:lnTo>
                    <a:lnTo>
                      <a:pt x="176" y="136"/>
                    </a:lnTo>
                    <a:lnTo>
                      <a:pt x="180" y="138"/>
                    </a:lnTo>
                    <a:lnTo>
                      <a:pt x="180" y="138"/>
                    </a:lnTo>
                    <a:lnTo>
                      <a:pt x="182" y="134"/>
                    </a:lnTo>
                    <a:lnTo>
                      <a:pt x="182" y="124"/>
                    </a:lnTo>
                    <a:lnTo>
                      <a:pt x="182" y="124"/>
                    </a:lnTo>
                    <a:lnTo>
                      <a:pt x="182" y="122"/>
                    </a:lnTo>
                    <a:lnTo>
                      <a:pt x="172" y="104"/>
                    </a:lnTo>
                    <a:lnTo>
                      <a:pt x="172" y="104"/>
                    </a:lnTo>
                    <a:lnTo>
                      <a:pt x="168" y="102"/>
                    </a:lnTo>
                    <a:lnTo>
                      <a:pt x="168" y="102"/>
                    </a:lnTo>
                    <a:lnTo>
                      <a:pt x="166" y="104"/>
                    </a:lnTo>
                    <a:lnTo>
                      <a:pt x="156" y="114"/>
                    </a:lnTo>
                    <a:lnTo>
                      <a:pt x="152" y="114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40" y="94"/>
                    </a:lnTo>
                    <a:lnTo>
                      <a:pt x="134" y="94"/>
                    </a:lnTo>
                    <a:lnTo>
                      <a:pt x="134" y="88"/>
                    </a:lnTo>
                    <a:lnTo>
                      <a:pt x="134" y="88"/>
                    </a:lnTo>
                    <a:lnTo>
                      <a:pt x="134" y="84"/>
                    </a:lnTo>
                    <a:lnTo>
                      <a:pt x="124" y="76"/>
                    </a:lnTo>
                    <a:lnTo>
                      <a:pt x="124" y="68"/>
                    </a:lnTo>
                    <a:lnTo>
                      <a:pt x="124" y="68"/>
                    </a:lnTo>
                    <a:lnTo>
                      <a:pt x="122" y="66"/>
                    </a:lnTo>
                    <a:lnTo>
                      <a:pt x="94" y="48"/>
                    </a:lnTo>
                    <a:lnTo>
                      <a:pt x="94" y="48"/>
                    </a:lnTo>
                    <a:lnTo>
                      <a:pt x="92" y="48"/>
                    </a:lnTo>
                    <a:lnTo>
                      <a:pt x="82" y="4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34" y="8"/>
                    </a:lnTo>
                    <a:lnTo>
                      <a:pt x="4" y="0"/>
                    </a:lnTo>
                    <a:lnTo>
                      <a:pt x="4" y="2"/>
                    </a:lnTo>
                    <a:lnTo>
                      <a:pt x="0" y="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4" y="3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2" y="54"/>
                    </a:lnTo>
                    <a:lnTo>
                      <a:pt x="52" y="60"/>
                    </a:lnTo>
                    <a:lnTo>
                      <a:pt x="60" y="78"/>
                    </a:lnTo>
                    <a:lnTo>
                      <a:pt x="60" y="78"/>
                    </a:lnTo>
                    <a:lnTo>
                      <a:pt x="60" y="80"/>
                    </a:lnTo>
                    <a:lnTo>
                      <a:pt x="78" y="100"/>
                    </a:lnTo>
                    <a:lnTo>
                      <a:pt x="100" y="136"/>
                    </a:lnTo>
                    <a:lnTo>
                      <a:pt x="100" y="136"/>
                    </a:lnTo>
                    <a:lnTo>
                      <a:pt x="100" y="138"/>
                    </a:lnTo>
                    <a:lnTo>
                      <a:pt x="138" y="174"/>
                    </a:lnTo>
                    <a:lnTo>
                      <a:pt x="138" y="174"/>
                    </a:lnTo>
                    <a:lnTo>
                      <a:pt x="140" y="174"/>
                    </a:lnTo>
                    <a:lnTo>
                      <a:pt x="158" y="174"/>
                    </a:lnTo>
                    <a:lnTo>
                      <a:pt x="158" y="174"/>
                    </a:lnTo>
                    <a:lnTo>
                      <a:pt x="160" y="172"/>
                    </a:lnTo>
                    <a:lnTo>
                      <a:pt x="160" y="172"/>
                    </a:lnTo>
                    <a:close/>
                    <a:moveTo>
                      <a:pt x="442" y="210"/>
                    </a:moveTo>
                    <a:lnTo>
                      <a:pt x="442" y="210"/>
                    </a:lnTo>
                    <a:lnTo>
                      <a:pt x="440" y="208"/>
                    </a:lnTo>
                    <a:lnTo>
                      <a:pt x="324" y="208"/>
                    </a:lnTo>
                    <a:lnTo>
                      <a:pt x="324" y="208"/>
                    </a:lnTo>
                    <a:lnTo>
                      <a:pt x="322" y="208"/>
                    </a:lnTo>
                    <a:lnTo>
                      <a:pt x="320" y="210"/>
                    </a:lnTo>
                    <a:lnTo>
                      <a:pt x="320" y="230"/>
                    </a:lnTo>
                    <a:lnTo>
                      <a:pt x="324" y="230"/>
                    </a:lnTo>
                    <a:lnTo>
                      <a:pt x="324" y="232"/>
                    </a:lnTo>
                    <a:lnTo>
                      <a:pt x="332" y="232"/>
                    </a:lnTo>
                    <a:lnTo>
                      <a:pt x="332" y="232"/>
                    </a:lnTo>
                    <a:lnTo>
                      <a:pt x="334" y="232"/>
                    </a:lnTo>
                    <a:lnTo>
                      <a:pt x="372" y="214"/>
                    </a:lnTo>
                    <a:lnTo>
                      <a:pt x="410" y="232"/>
                    </a:lnTo>
                    <a:lnTo>
                      <a:pt x="410" y="232"/>
                    </a:lnTo>
                    <a:lnTo>
                      <a:pt x="412" y="232"/>
                    </a:lnTo>
                    <a:lnTo>
                      <a:pt x="442" y="214"/>
                    </a:lnTo>
                    <a:lnTo>
                      <a:pt x="442" y="214"/>
                    </a:lnTo>
                    <a:lnTo>
                      <a:pt x="442" y="210"/>
                    </a:lnTo>
                    <a:lnTo>
                      <a:pt x="442" y="210"/>
                    </a:lnTo>
                    <a:close/>
                    <a:moveTo>
                      <a:pt x="360" y="124"/>
                    </a:moveTo>
                    <a:lnTo>
                      <a:pt x="360" y="124"/>
                    </a:lnTo>
                    <a:lnTo>
                      <a:pt x="358" y="124"/>
                    </a:lnTo>
                    <a:lnTo>
                      <a:pt x="358" y="136"/>
                    </a:lnTo>
                    <a:lnTo>
                      <a:pt x="358" y="136"/>
                    </a:lnTo>
                    <a:lnTo>
                      <a:pt x="358" y="138"/>
                    </a:lnTo>
                    <a:lnTo>
                      <a:pt x="360" y="138"/>
                    </a:lnTo>
                    <a:lnTo>
                      <a:pt x="368" y="138"/>
                    </a:lnTo>
                    <a:lnTo>
                      <a:pt x="368" y="172"/>
                    </a:lnTo>
                    <a:lnTo>
                      <a:pt x="368" y="172"/>
                    </a:lnTo>
                    <a:lnTo>
                      <a:pt x="370" y="174"/>
                    </a:lnTo>
                    <a:lnTo>
                      <a:pt x="370" y="174"/>
                    </a:lnTo>
                    <a:lnTo>
                      <a:pt x="374" y="174"/>
                    </a:lnTo>
                    <a:lnTo>
                      <a:pt x="382" y="166"/>
                    </a:lnTo>
                    <a:lnTo>
                      <a:pt x="382" y="166"/>
                    </a:lnTo>
                    <a:lnTo>
                      <a:pt x="382" y="164"/>
                    </a:lnTo>
                    <a:lnTo>
                      <a:pt x="382" y="136"/>
                    </a:lnTo>
                    <a:lnTo>
                      <a:pt x="390" y="128"/>
                    </a:lnTo>
                    <a:lnTo>
                      <a:pt x="392" y="128"/>
                    </a:lnTo>
                    <a:lnTo>
                      <a:pt x="388" y="134"/>
                    </a:lnTo>
                    <a:lnTo>
                      <a:pt x="388" y="134"/>
                    </a:lnTo>
                    <a:lnTo>
                      <a:pt x="386" y="136"/>
                    </a:lnTo>
                    <a:lnTo>
                      <a:pt x="386" y="136"/>
                    </a:lnTo>
                    <a:lnTo>
                      <a:pt x="388" y="138"/>
                    </a:lnTo>
                    <a:lnTo>
                      <a:pt x="398" y="146"/>
                    </a:lnTo>
                    <a:lnTo>
                      <a:pt x="398" y="154"/>
                    </a:lnTo>
                    <a:lnTo>
                      <a:pt x="398" y="154"/>
                    </a:lnTo>
                    <a:lnTo>
                      <a:pt x="398" y="156"/>
                    </a:lnTo>
                    <a:lnTo>
                      <a:pt x="400" y="156"/>
                    </a:lnTo>
                    <a:lnTo>
                      <a:pt x="416" y="156"/>
                    </a:lnTo>
                    <a:lnTo>
                      <a:pt x="416" y="172"/>
                    </a:lnTo>
                    <a:lnTo>
                      <a:pt x="416" y="172"/>
                    </a:lnTo>
                    <a:lnTo>
                      <a:pt x="418" y="174"/>
                    </a:lnTo>
                    <a:lnTo>
                      <a:pt x="418" y="174"/>
                    </a:lnTo>
                    <a:lnTo>
                      <a:pt x="420" y="174"/>
                    </a:lnTo>
                    <a:lnTo>
                      <a:pt x="428" y="166"/>
                    </a:lnTo>
                    <a:lnTo>
                      <a:pt x="428" y="166"/>
                    </a:lnTo>
                    <a:lnTo>
                      <a:pt x="430" y="164"/>
                    </a:lnTo>
                    <a:lnTo>
                      <a:pt x="430" y="154"/>
                    </a:lnTo>
                    <a:lnTo>
                      <a:pt x="430" y="154"/>
                    </a:lnTo>
                    <a:lnTo>
                      <a:pt x="428" y="152"/>
                    </a:lnTo>
                    <a:lnTo>
                      <a:pt x="416" y="138"/>
                    </a:lnTo>
                    <a:lnTo>
                      <a:pt x="418" y="138"/>
                    </a:lnTo>
                    <a:lnTo>
                      <a:pt x="418" y="138"/>
                    </a:lnTo>
                    <a:lnTo>
                      <a:pt x="422" y="136"/>
                    </a:lnTo>
                    <a:lnTo>
                      <a:pt x="422" y="136"/>
                    </a:lnTo>
                    <a:lnTo>
                      <a:pt x="420" y="134"/>
                    </a:lnTo>
                    <a:lnTo>
                      <a:pt x="404" y="116"/>
                    </a:lnTo>
                    <a:lnTo>
                      <a:pt x="418" y="102"/>
                    </a:lnTo>
                    <a:lnTo>
                      <a:pt x="428" y="100"/>
                    </a:lnTo>
                    <a:lnTo>
                      <a:pt x="428" y="100"/>
                    </a:lnTo>
                    <a:lnTo>
                      <a:pt x="430" y="100"/>
                    </a:lnTo>
                    <a:lnTo>
                      <a:pt x="430" y="98"/>
                    </a:lnTo>
                    <a:lnTo>
                      <a:pt x="430" y="98"/>
                    </a:lnTo>
                    <a:lnTo>
                      <a:pt x="428" y="96"/>
                    </a:lnTo>
                    <a:lnTo>
                      <a:pt x="426" y="96"/>
                    </a:lnTo>
                    <a:lnTo>
                      <a:pt x="418" y="96"/>
                    </a:lnTo>
                    <a:lnTo>
                      <a:pt x="418" y="96"/>
                    </a:lnTo>
                    <a:lnTo>
                      <a:pt x="416" y="96"/>
                    </a:lnTo>
                    <a:lnTo>
                      <a:pt x="414" y="98"/>
                    </a:lnTo>
                    <a:lnTo>
                      <a:pt x="390" y="104"/>
                    </a:lnTo>
                    <a:lnTo>
                      <a:pt x="382" y="96"/>
                    </a:lnTo>
                    <a:lnTo>
                      <a:pt x="382" y="88"/>
                    </a:lnTo>
                    <a:lnTo>
                      <a:pt x="390" y="82"/>
                    </a:lnTo>
                    <a:lnTo>
                      <a:pt x="448" y="82"/>
                    </a:lnTo>
                    <a:lnTo>
                      <a:pt x="448" y="82"/>
                    </a:lnTo>
                    <a:lnTo>
                      <a:pt x="450" y="80"/>
                    </a:lnTo>
                    <a:lnTo>
                      <a:pt x="458" y="60"/>
                    </a:lnTo>
                    <a:lnTo>
                      <a:pt x="458" y="60"/>
                    </a:lnTo>
                    <a:lnTo>
                      <a:pt x="458" y="56"/>
                    </a:lnTo>
                    <a:lnTo>
                      <a:pt x="458" y="56"/>
                    </a:lnTo>
                    <a:lnTo>
                      <a:pt x="454" y="56"/>
                    </a:lnTo>
                    <a:lnTo>
                      <a:pt x="436" y="66"/>
                    </a:lnTo>
                    <a:lnTo>
                      <a:pt x="418" y="76"/>
                    </a:lnTo>
                    <a:lnTo>
                      <a:pt x="390" y="66"/>
                    </a:lnTo>
                    <a:lnTo>
                      <a:pt x="390" y="66"/>
                    </a:lnTo>
                    <a:lnTo>
                      <a:pt x="388" y="66"/>
                    </a:lnTo>
                    <a:lnTo>
                      <a:pt x="388" y="66"/>
                    </a:lnTo>
                    <a:lnTo>
                      <a:pt x="386" y="68"/>
                    </a:lnTo>
                    <a:lnTo>
                      <a:pt x="386" y="76"/>
                    </a:lnTo>
                    <a:lnTo>
                      <a:pt x="380" y="76"/>
                    </a:lnTo>
                    <a:lnTo>
                      <a:pt x="380" y="76"/>
                    </a:lnTo>
                    <a:lnTo>
                      <a:pt x="378" y="76"/>
                    </a:lnTo>
                    <a:lnTo>
                      <a:pt x="378" y="78"/>
                    </a:lnTo>
                    <a:lnTo>
                      <a:pt x="378" y="98"/>
                    </a:lnTo>
                    <a:lnTo>
                      <a:pt x="358" y="124"/>
                    </a:lnTo>
                    <a:lnTo>
                      <a:pt x="360" y="124"/>
                    </a:lnTo>
                    <a:close/>
                    <a:moveTo>
                      <a:pt x="494" y="90"/>
                    </a:moveTo>
                    <a:lnTo>
                      <a:pt x="494" y="90"/>
                    </a:lnTo>
                    <a:lnTo>
                      <a:pt x="494" y="90"/>
                    </a:lnTo>
                    <a:lnTo>
                      <a:pt x="504" y="100"/>
                    </a:lnTo>
                    <a:lnTo>
                      <a:pt x="504" y="100"/>
                    </a:lnTo>
                    <a:lnTo>
                      <a:pt x="506" y="102"/>
                    </a:lnTo>
                    <a:lnTo>
                      <a:pt x="508" y="100"/>
                    </a:lnTo>
                    <a:lnTo>
                      <a:pt x="508" y="100"/>
                    </a:lnTo>
                    <a:lnTo>
                      <a:pt x="508" y="98"/>
                    </a:lnTo>
                    <a:lnTo>
                      <a:pt x="508" y="96"/>
                    </a:lnTo>
                    <a:lnTo>
                      <a:pt x="500" y="86"/>
                    </a:lnTo>
                    <a:lnTo>
                      <a:pt x="500" y="82"/>
                    </a:lnTo>
                    <a:lnTo>
                      <a:pt x="506" y="82"/>
                    </a:lnTo>
                    <a:lnTo>
                      <a:pt x="506" y="82"/>
                    </a:lnTo>
                    <a:lnTo>
                      <a:pt x="508" y="80"/>
                    </a:lnTo>
                    <a:lnTo>
                      <a:pt x="508" y="78"/>
                    </a:lnTo>
                    <a:lnTo>
                      <a:pt x="508" y="58"/>
                    </a:lnTo>
                    <a:lnTo>
                      <a:pt x="508" y="58"/>
                    </a:lnTo>
                    <a:lnTo>
                      <a:pt x="508" y="56"/>
                    </a:lnTo>
                    <a:lnTo>
                      <a:pt x="506" y="56"/>
                    </a:lnTo>
                    <a:lnTo>
                      <a:pt x="504" y="56"/>
                    </a:lnTo>
                    <a:lnTo>
                      <a:pt x="504" y="58"/>
                    </a:lnTo>
                    <a:lnTo>
                      <a:pt x="498" y="50"/>
                    </a:lnTo>
                    <a:lnTo>
                      <a:pt x="498" y="50"/>
                    </a:lnTo>
                    <a:lnTo>
                      <a:pt x="496" y="48"/>
                    </a:lnTo>
                    <a:lnTo>
                      <a:pt x="496" y="48"/>
                    </a:lnTo>
                    <a:lnTo>
                      <a:pt x="494" y="50"/>
                    </a:lnTo>
                    <a:lnTo>
                      <a:pt x="484" y="68"/>
                    </a:lnTo>
                    <a:lnTo>
                      <a:pt x="486" y="70"/>
                    </a:lnTo>
                    <a:lnTo>
                      <a:pt x="486" y="70"/>
                    </a:lnTo>
                    <a:lnTo>
                      <a:pt x="486" y="70"/>
                    </a:lnTo>
                    <a:lnTo>
                      <a:pt x="484" y="70"/>
                    </a:lnTo>
                    <a:lnTo>
                      <a:pt x="494" y="90"/>
                    </a:lnTo>
                    <a:close/>
                    <a:moveTo>
                      <a:pt x="486" y="132"/>
                    </a:moveTo>
                    <a:lnTo>
                      <a:pt x="468" y="132"/>
                    </a:lnTo>
                    <a:lnTo>
                      <a:pt x="468" y="136"/>
                    </a:lnTo>
                    <a:lnTo>
                      <a:pt x="466" y="138"/>
                    </a:lnTo>
                    <a:lnTo>
                      <a:pt x="484" y="156"/>
                    </a:lnTo>
                    <a:lnTo>
                      <a:pt x="484" y="156"/>
                    </a:lnTo>
                    <a:lnTo>
                      <a:pt x="488" y="156"/>
                    </a:lnTo>
                    <a:lnTo>
                      <a:pt x="488" y="156"/>
                    </a:lnTo>
                    <a:lnTo>
                      <a:pt x="490" y="154"/>
                    </a:lnTo>
                    <a:lnTo>
                      <a:pt x="490" y="136"/>
                    </a:lnTo>
                    <a:lnTo>
                      <a:pt x="490" y="136"/>
                    </a:lnTo>
                    <a:lnTo>
                      <a:pt x="488" y="134"/>
                    </a:lnTo>
                    <a:lnTo>
                      <a:pt x="486" y="132"/>
                    </a:lnTo>
                    <a:lnTo>
                      <a:pt x="486" y="132"/>
                    </a:lnTo>
                    <a:close/>
                    <a:moveTo>
                      <a:pt x="544" y="146"/>
                    </a:moveTo>
                    <a:lnTo>
                      <a:pt x="544" y="146"/>
                    </a:lnTo>
                    <a:lnTo>
                      <a:pt x="546" y="146"/>
                    </a:lnTo>
                    <a:lnTo>
                      <a:pt x="546" y="144"/>
                    </a:lnTo>
                    <a:lnTo>
                      <a:pt x="546" y="144"/>
                    </a:lnTo>
                    <a:lnTo>
                      <a:pt x="548" y="142"/>
                    </a:lnTo>
                    <a:lnTo>
                      <a:pt x="546" y="142"/>
                    </a:lnTo>
                    <a:lnTo>
                      <a:pt x="536" y="132"/>
                    </a:lnTo>
                    <a:lnTo>
                      <a:pt x="528" y="122"/>
                    </a:lnTo>
                    <a:lnTo>
                      <a:pt x="528" y="122"/>
                    </a:lnTo>
                    <a:lnTo>
                      <a:pt x="524" y="122"/>
                    </a:lnTo>
                    <a:lnTo>
                      <a:pt x="504" y="122"/>
                    </a:lnTo>
                    <a:lnTo>
                      <a:pt x="504" y="122"/>
                    </a:lnTo>
                    <a:lnTo>
                      <a:pt x="500" y="122"/>
                    </a:lnTo>
                    <a:lnTo>
                      <a:pt x="492" y="132"/>
                    </a:lnTo>
                    <a:lnTo>
                      <a:pt x="494" y="134"/>
                    </a:lnTo>
                    <a:lnTo>
                      <a:pt x="494" y="138"/>
                    </a:lnTo>
                    <a:lnTo>
                      <a:pt x="544" y="146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/>
              <a:lstStyle/>
              <a:p>
                <a:pPr defTabSz="913156">
                  <a:defRPr/>
                </a:pPr>
                <a:endParaRPr lang="en-US" sz="1837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10" name="Group 9">
              <a:extLst>
                <a:ext uri="{FF2B5EF4-FFF2-40B4-BE49-F238E27FC236}">
                  <a16:creationId xmlns:a16="http://schemas.microsoft.com/office/drawing/2014/main" id="{32B44DCE-8C83-4D05-B223-A1F8211F8250}"/>
                </a:ext>
              </a:extLst>
            </p:cNvPr>
            <p:cNvGrpSpPr/>
            <p:nvPr>
              <p:custDataLst>
                <p:tags r:id="rId1"/>
              </p:custDataLst>
            </p:nvPr>
          </p:nvGrpSpPr>
          <p:grpSpPr>
            <a:xfrm>
              <a:off x="5476861" y="2903006"/>
              <a:ext cx="946358" cy="480833"/>
              <a:chOff x="5476861" y="2903006"/>
              <a:chExt cx="946358" cy="480833"/>
            </a:xfrm>
            <a:grpFill/>
          </p:grpSpPr>
          <p:sp>
            <p:nvSpPr>
              <p:cNvPr id="14" name="Freeform 234">
                <a:extLst>
                  <a:ext uri="{FF2B5EF4-FFF2-40B4-BE49-F238E27FC236}">
                    <a16:creationId xmlns:a16="http://schemas.microsoft.com/office/drawing/2014/main" id="{0225E494-BEE0-4CB8-8CA8-5BCDC1B1CA8C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5887601" y="2903006"/>
                <a:ext cx="535618" cy="480833"/>
              </a:xfrm>
              <a:custGeom>
                <a:avLst/>
                <a:gdLst>
                  <a:gd name="T0" fmla="*/ 0 w 356"/>
                  <a:gd name="T1" fmla="*/ 25 h 312"/>
                  <a:gd name="T2" fmla="*/ 75 w 356"/>
                  <a:gd name="T3" fmla="*/ 0 h 312"/>
                  <a:gd name="T4" fmla="*/ 99 w 356"/>
                  <a:gd name="T5" fmla="*/ 27 h 312"/>
                  <a:gd name="T6" fmla="*/ 114 w 356"/>
                  <a:gd name="T7" fmla="*/ 12 h 312"/>
                  <a:gd name="T8" fmla="*/ 154 w 356"/>
                  <a:gd name="T9" fmla="*/ 40 h 312"/>
                  <a:gd name="T10" fmla="*/ 160 w 356"/>
                  <a:gd name="T11" fmla="*/ 42 h 312"/>
                  <a:gd name="T12" fmla="*/ 187 w 356"/>
                  <a:gd name="T13" fmla="*/ 30 h 312"/>
                  <a:gd name="T14" fmla="*/ 191 w 356"/>
                  <a:gd name="T15" fmla="*/ 28 h 312"/>
                  <a:gd name="T16" fmla="*/ 196 w 356"/>
                  <a:gd name="T17" fmla="*/ 42 h 312"/>
                  <a:gd name="T18" fmla="*/ 214 w 356"/>
                  <a:gd name="T19" fmla="*/ 54 h 312"/>
                  <a:gd name="T20" fmla="*/ 226 w 356"/>
                  <a:gd name="T21" fmla="*/ 70 h 312"/>
                  <a:gd name="T22" fmla="*/ 233 w 356"/>
                  <a:gd name="T23" fmla="*/ 85 h 312"/>
                  <a:gd name="T24" fmla="*/ 232 w 356"/>
                  <a:gd name="T25" fmla="*/ 100 h 312"/>
                  <a:gd name="T26" fmla="*/ 236 w 356"/>
                  <a:gd name="T27" fmla="*/ 103 h 312"/>
                  <a:gd name="T28" fmla="*/ 248 w 356"/>
                  <a:gd name="T29" fmla="*/ 108 h 312"/>
                  <a:gd name="T30" fmla="*/ 265 w 356"/>
                  <a:gd name="T31" fmla="*/ 105 h 312"/>
                  <a:gd name="T32" fmla="*/ 277 w 356"/>
                  <a:gd name="T33" fmla="*/ 112 h 312"/>
                  <a:gd name="T34" fmla="*/ 287 w 356"/>
                  <a:gd name="T35" fmla="*/ 108 h 312"/>
                  <a:gd name="T36" fmla="*/ 302 w 356"/>
                  <a:gd name="T37" fmla="*/ 114 h 312"/>
                  <a:gd name="T38" fmla="*/ 320 w 356"/>
                  <a:gd name="T39" fmla="*/ 130 h 312"/>
                  <a:gd name="T40" fmla="*/ 353 w 356"/>
                  <a:gd name="T41" fmla="*/ 138 h 312"/>
                  <a:gd name="T42" fmla="*/ 340 w 356"/>
                  <a:gd name="T43" fmla="*/ 152 h 312"/>
                  <a:gd name="T44" fmla="*/ 329 w 356"/>
                  <a:gd name="T45" fmla="*/ 157 h 312"/>
                  <a:gd name="T46" fmla="*/ 328 w 356"/>
                  <a:gd name="T47" fmla="*/ 175 h 312"/>
                  <a:gd name="T48" fmla="*/ 323 w 356"/>
                  <a:gd name="T49" fmla="*/ 195 h 312"/>
                  <a:gd name="T50" fmla="*/ 319 w 356"/>
                  <a:gd name="T51" fmla="*/ 192 h 312"/>
                  <a:gd name="T52" fmla="*/ 305 w 356"/>
                  <a:gd name="T53" fmla="*/ 183 h 312"/>
                  <a:gd name="T54" fmla="*/ 281 w 356"/>
                  <a:gd name="T55" fmla="*/ 195 h 312"/>
                  <a:gd name="T56" fmla="*/ 274 w 356"/>
                  <a:gd name="T57" fmla="*/ 214 h 312"/>
                  <a:gd name="T58" fmla="*/ 278 w 356"/>
                  <a:gd name="T59" fmla="*/ 234 h 312"/>
                  <a:gd name="T60" fmla="*/ 268 w 356"/>
                  <a:gd name="T61" fmla="*/ 226 h 312"/>
                  <a:gd name="T62" fmla="*/ 241 w 356"/>
                  <a:gd name="T63" fmla="*/ 232 h 312"/>
                  <a:gd name="T64" fmla="*/ 247 w 356"/>
                  <a:gd name="T65" fmla="*/ 261 h 312"/>
                  <a:gd name="T66" fmla="*/ 245 w 356"/>
                  <a:gd name="T67" fmla="*/ 274 h 312"/>
                  <a:gd name="T68" fmla="*/ 254 w 356"/>
                  <a:gd name="T69" fmla="*/ 283 h 312"/>
                  <a:gd name="T70" fmla="*/ 242 w 356"/>
                  <a:gd name="T71" fmla="*/ 287 h 312"/>
                  <a:gd name="T72" fmla="*/ 196 w 356"/>
                  <a:gd name="T73" fmla="*/ 309 h 312"/>
                  <a:gd name="T74" fmla="*/ 208 w 356"/>
                  <a:gd name="T75" fmla="*/ 282 h 312"/>
                  <a:gd name="T76" fmla="*/ 172 w 356"/>
                  <a:gd name="T77" fmla="*/ 279 h 312"/>
                  <a:gd name="T78" fmla="*/ 144 w 356"/>
                  <a:gd name="T79" fmla="*/ 270 h 312"/>
                  <a:gd name="T80" fmla="*/ 124 w 356"/>
                  <a:gd name="T81" fmla="*/ 283 h 312"/>
                  <a:gd name="T82" fmla="*/ 109 w 356"/>
                  <a:gd name="T83" fmla="*/ 279 h 312"/>
                  <a:gd name="T84" fmla="*/ 79 w 356"/>
                  <a:gd name="T85" fmla="*/ 292 h 312"/>
                  <a:gd name="T86" fmla="*/ 51 w 356"/>
                  <a:gd name="T87" fmla="*/ 312 h 3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356" h="312">
                    <a:moveTo>
                      <a:pt x="0" y="25"/>
                    </a:moveTo>
                    <a:cubicBezTo>
                      <a:pt x="10" y="28"/>
                      <a:pt x="59" y="0"/>
                      <a:pt x="75" y="0"/>
                    </a:cubicBezTo>
                    <a:cubicBezTo>
                      <a:pt x="91" y="0"/>
                      <a:pt x="92" y="25"/>
                      <a:pt x="99" y="27"/>
                    </a:cubicBezTo>
                    <a:cubicBezTo>
                      <a:pt x="106" y="29"/>
                      <a:pt x="105" y="10"/>
                      <a:pt x="114" y="12"/>
                    </a:cubicBezTo>
                    <a:cubicBezTo>
                      <a:pt x="123" y="14"/>
                      <a:pt x="146" y="35"/>
                      <a:pt x="154" y="40"/>
                    </a:cubicBezTo>
                    <a:cubicBezTo>
                      <a:pt x="162" y="45"/>
                      <a:pt x="155" y="44"/>
                      <a:pt x="160" y="42"/>
                    </a:cubicBezTo>
                    <a:cubicBezTo>
                      <a:pt x="166" y="32"/>
                      <a:pt x="176" y="31"/>
                      <a:pt x="187" y="30"/>
                    </a:cubicBezTo>
                    <a:cubicBezTo>
                      <a:pt x="188" y="29"/>
                      <a:pt x="190" y="27"/>
                      <a:pt x="191" y="28"/>
                    </a:cubicBezTo>
                    <a:cubicBezTo>
                      <a:pt x="194" y="29"/>
                      <a:pt x="195" y="41"/>
                      <a:pt x="196" y="42"/>
                    </a:cubicBezTo>
                    <a:cubicBezTo>
                      <a:pt x="198" y="46"/>
                      <a:pt x="210" y="52"/>
                      <a:pt x="214" y="54"/>
                    </a:cubicBezTo>
                    <a:cubicBezTo>
                      <a:pt x="218" y="60"/>
                      <a:pt x="222" y="64"/>
                      <a:pt x="226" y="70"/>
                    </a:cubicBezTo>
                    <a:cubicBezTo>
                      <a:pt x="228" y="76"/>
                      <a:pt x="232" y="80"/>
                      <a:pt x="233" y="85"/>
                    </a:cubicBezTo>
                    <a:cubicBezTo>
                      <a:pt x="234" y="90"/>
                      <a:pt x="231" y="97"/>
                      <a:pt x="232" y="100"/>
                    </a:cubicBezTo>
                    <a:cubicBezTo>
                      <a:pt x="233" y="106"/>
                      <a:pt x="233" y="102"/>
                      <a:pt x="236" y="103"/>
                    </a:cubicBezTo>
                    <a:cubicBezTo>
                      <a:pt x="239" y="104"/>
                      <a:pt x="243" y="108"/>
                      <a:pt x="248" y="108"/>
                    </a:cubicBezTo>
                    <a:cubicBezTo>
                      <a:pt x="254" y="104"/>
                      <a:pt x="258" y="106"/>
                      <a:pt x="265" y="105"/>
                    </a:cubicBezTo>
                    <a:cubicBezTo>
                      <a:pt x="269" y="110"/>
                      <a:pt x="271" y="111"/>
                      <a:pt x="277" y="112"/>
                    </a:cubicBezTo>
                    <a:cubicBezTo>
                      <a:pt x="281" y="111"/>
                      <a:pt x="283" y="108"/>
                      <a:pt x="287" y="108"/>
                    </a:cubicBezTo>
                    <a:cubicBezTo>
                      <a:pt x="291" y="108"/>
                      <a:pt x="299" y="111"/>
                      <a:pt x="302" y="114"/>
                    </a:cubicBezTo>
                    <a:cubicBezTo>
                      <a:pt x="306" y="120"/>
                      <a:pt x="314" y="127"/>
                      <a:pt x="320" y="130"/>
                    </a:cubicBezTo>
                    <a:cubicBezTo>
                      <a:pt x="329" y="141"/>
                      <a:pt x="338" y="136"/>
                      <a:pt x="353" y="138"/>
                    </a:cubicBezTo>
                    <a:cubicBezTo>
                      <a:pt x="356" y="142"/>
                      <a:pt x="344" y="149"/>
                      <a:pt x="340" y="152"/>
                    </a:cubicBezTo>
                    <a:cubicBezTo>
                      <a:pt x="336" y="155"/>
                      <a:pt x="331" y="153"/>
                      <a:pt x="329" y="157"/>
                    </a:cubicBezTo>
                    <a:cubicBezTo>
                      <a:pt x="325" y="162"/>
                      <a:pt x="329" y="169"/>
                      <a:pt x="328" y="175"/>
                    </a:cubicBezTo>
                    <a:cubicBezTo>
                      <a:pt x="327" y="181"/>
                      <a:pt x="324" y="192"/>
                      <a:pt x="323" y="195"/>
                    </a:cubicBezTo>
                    <a:cubicBezTo>
                      <a:pt x="323" y="197"/>
                      <a:pt x="320" y="193"/>
                      <a:pt x="319" y="192"/>
                    </a:cubicBezTo>
                    <a:cubicBezTo>
                      <a:pt x="314" y="189"/>
                      <a:pt x="310" y="186"/>
                      <a:pt x="305" y="183"/>
                    </a:cubicBezTo>
                    <a:cubicBezTo>
                      <a:pt x="287" y="186"/>
                      <a:pt x="286" y="182"/>
                      <a:pt x="281" y="195"/>
                    </a:cubicBezTo>
                    <a:cubicBezTo>
                      <a:pt x="277" y="200"/>
                      <a:pt x="275" y="207"/>
                      <a:pt x="274" y="214"/>
                    </a:cubicBezTo>
                    <a:cubicBezTo>
                      <a:pt x="274" y="220"/>
                      <a:pt x="279" y="232"/>
                      <a:pt x="278" y="234"/>
                    </a:cubicBezTo>
                    <a:cubicBezTo>
                      <a:pt x="274" y="230"/>
                      <a:pt x="273" y="229"/>
                      <a:pt x="268" y="226"/>
                    </a:cubicBezTo>
                    <a:cubicBezTo>
                      <a:pt x="263" y="226"/>
                      <a:pt x="244" y="226"/>
                      <a:pt x="241" y="232"/>
                    </a:cubicBezTo>
                    <a:cubicBezTo>
                      <a:pt x="238" y="238"/>
                      <a:pt x="246" y="254"/>
                      <a:pt x="247" y="261"/>
                    </a:cubicBezTo>
                    <a:cubicBezTo>
                      <a:pt x="246" y="265"/>
                      <a:pt x="244" y="270"/>
                      <a:pt x="245" y="274"/>
                    </a:cubicBezTo>
                    <a:cubicBezTo>
                      <a:pt x="246" y="278"/>
                      <a:pt x="254" y="283"/>
                      <a:pt x="254" y="283"/>
                    </a:cubicBezTo>
                    <a:cubicBezTo>
                      <a:pt x="254" y="285"/>
                      <a:pt x="248" y="284"/>
                      <a:pt x="242" y="287"/>
                    </a:cubicBezTo>
                    <a:cubicBezTo>
                      <a:pt x="232" y="291"/>
                      <a:pt x="202" y="310"/>
                      <a:pt x="196" y="309"/>
                    </a:cubicBezTo>
                    <a:cubicBezTo>
                      <a:pt x="190" y="308"/>
                      <a:pt x="212" y="287"/>
                      <a:pt x="208" y="282"/>
                    </a:cubicBezTo>
                    <a:cubicBezTo>
                      <a:pt x="204" y="277"/>
                      <a:pt x="183" y="281"/>
                      <a:pt x="172" y="279"/>
                    </a:cubicBezTo>
                    <a:cubicBezTo>
                      <a:pt x="161" y="277"/>
                      <a:pt x="152" y="269"/>
                      <a:pt x="144" y="270"/>
                    </a:cubicBezTo>
                    <a:cubicBezTo>
                      <a:pt x="136" y="271"/>
                      <a:pt x="130" y="282"/>
                      <a:pt x="124" y="283"/>
                    </a:cubicBezTo>
                    <a:cubicBezTo>
                      <a:pt x="118" y="284"/>
                      <a:pt x="116" y="278"/>
                      <a:pt x="109" y="279"/>
                    </a:cubicBezTo>
                    <a:cubicBezTo>
                      <a:pt x="102" y="280"/>
                      <a:pt x="89" y="287"/>
                      <a:pt x="79" y="292"/>
                    </a:cubicBezTo>
                    <a:cubicBezTo>
                      <a:pt x="69" y="297"/>
                      <a:pt x="57" y="308"/>
                      <a:pt x="51" y="312"/>
                    </a:cubicBez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  <p:sp>
            <p:nvSpPr>
              <p:cNvPr id="16" name="Freeform 235">
                <a:extLst>
                  <a:ext uri="{FF2B5EF4-FFF2-40B4-BE49-F238E27FC236}">
                    <a16:creationId xmlns:a16="http://schemas.microsoft.com/office/drawing/2014/main" id="{134AEDBD-66DF-4413-9EF9-725892D6B237}"/>
                  </a:ext>
                </a:extLst>
              </p:cNvPr>
              <p:cNvSpPr>
                <a:spLocks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5476861" y="2906088"/>
                <a:ext cx="510040" cy="474668"/>
              </a:xfrm>
              <a:custGeom>
                <a:avLst/>
                <a:gdLst>
                  <a:gd name="T0" fmla="*/ 339 w 339"/>
                  <a:gd name="T1" fmla="*/ 0 h 308"/>
                  <a:gd name="T2" fmla="*/ 273 w 339"/>
                  <a:gd name="T3" fmla="*/ 23 h 308"/>
                  <a:gd name="T4" fmla="*/ 252 w 339"/>
                  <a:gd name="T5" fmla="*/ 31 h 308"/>
                  <a:gd name="T6" fmla="*/ 233 w 339"/>
                  <a:gd name="T7" fmla="*/ 34 h 308"/>
                  <a:gd name="T8" fmla="*/ 226 w 339"/>
                  <a:gd name="T9" fmla="*/ 55 h 308"/>
                  <a:gd name="T10" fmla="*/ 216 w 339"/>
                  <a:gd name="T11" fmla="*/ 74 h 308"/>
                  <a:gd name="T12" fmla="*/ 221 w 339"/>
                  <a:gd name="T13" fmla="*/ 92 h 308"/>
                  <a:gd name="T14" fmla="*/ 228 w 339"/>
                  <a:gd name="T15" fmla="*/ 103 h 308"/>
                  <a:gd name="T16" fmla="*/ 221 w 339"/>
                  <a:gd name="T17" fmla="*/ 112 h 308"/>
                  <a:gd name="T18" fmla="*/ 194 w 339"/>
                  <a:gd name="T19" fmla="*/ 109 h 308"/>
                  <a:gd name="T20" fmla="*/ 180 w 339"/>
                  <a:gd name="T21" fmla="*/ 101 h 308"/>
                  <a:gd name="T22" fmla="*/ 164 w 339"/>
                  <a:gd name="T23" fmla="*/ 100 h 308"/>
                  <a:gd name="T24" fmla="*/ 147 w 339"/>
                  <a:gd name="T25" fmla="*/ 110 h 308"/>
                  <a:gd name="T26" fmla="*/ 101 w 339"/>
                  <a:gd name="T27" fmla="*/ 86 h 308"/>
                  <a:gd name="T28" fmla="*/ 66 w 339"/>
                  <a:gd name="T29" fmla="*/ 88 h 308"/>
                  <a:gd name="T30" fmla="*/ 54 w 339"/>
                  <a:gd name="T31" fmla="*/ 97 h 308"/>
                  <a:gd name="T32" fmla="*/ 36 w 339"/>
                  <a:gd name="T33" fmla="*/ 116 h 308"/>
                  <a:gd name="T34" fmla="*/ 23 w 339"/>
                  <a:gd name="T35" fmla="*/ 118 h 308"/>
                  <a:gd name="T36" fmla="*/ 12 w 339"/>
                  <a:gd name="T37" fmla="*/ 142 h 308"/>
                  <a:gd name="T38" fmla="*/ 5 w 339"/>
                  <a:gd name="T39" fmla="*/ 155 h 308"/>
                  <a:gd name="T40" fmla="*/ 12 w 339"/>
                  <a:gd name="T41" fmla="*/ 173 h 308"/>
                  <a:gd name="T42" fmla="*/ 26 w 339"/>
                  <a:gd name="T43" fmla="*/ 181 h 308"/>
                  <a:gd name="T44" fmla="*/ 41 w 339"/>
                  <a:gd name="T45" fmla="*/ 202 h 308"/>
                  <a:gd name="T46" fmla="*/ 47 w 339"/>
                  <a:gd name="T47" fmla="*/ 211 h 308"/>
                  <a:gd name="T48" fmla="*/ 48 w 339"/>
                  <a:gd name="T49" fmla="*/ 206 h 308"/>
                  <a:gd name="T50" fmla="*/ 57 w 339"/>
                  <a:gd name="T51" fmla="*/ 200 h 308"/>
                  <a:gd name="T52" fmla="*/ 89 w 339"/>
                  <a:gd name="T53" fmla="*/ 197 h 308"/>
                  <a:gd name="T54" fmla="*/ 108 w 339"/>
                  <a:gd name="T55" fmla="*/ 211 h 308"/>
                  <a:gd name="T56" fmla="*/ 108 w 339"/>
                  <a:gd name="T57" fmla="*/ 221 h 308"/>
                  <a:gd name="T58" fmla="*/ 125 w 339"/>
                  <a:gd name="T59" fmla="*/ 227 h 308"/>
                  <a:gd name="T60" fmla="*/ 113 w 339"/>
                  <a:gd name="T61" fmla="*/ 247 h 308"/>
                  <a:gd name="T62" fmla="*/ 99 w 339"/>
                  <a:gd name="T63" fmla="*/ 233 h 308"/>
                  <a:gd name="T64" fmla="*/ 87 w 339"/>
                  <a:gd name="T65" fmla="*/ 238 h 308"/>
                  <a:gd name="T66" fmla="*/ 74 w 339"/>
                  <a:gd name="T67" fmla="*/ 248 h 308"/>
                  <a:gd name="T68" fmla="*/ 77 w 339"/>
                  <a:gd name="T69" fmla="*/ 265 h 308"/>
                  <a:gd name="T70" fmla="*/ 87 w 339"/>
                  <a:gd name="T71" fmla="*/ 279 h 308"/>
                  <a:gd name="T72" fmla="*/ 102 w 339"/>
                  <a:gd name="T73" fmla="*/ 295 h 308"/>
                  <a:gd name="T74" fmla="*/ 134 w 339"/>
                  <a:gd name="T75" fmla="*/ 293 h 308"/>
                  <a:gd name="T76" fmla="*/ 152 w 339"/>
                  <a:gd name="T77" fmla="*/ 302 h 308"/>
                  <a:gd name="T78" fmla="*/ 153 w 339"/>
                  <a:gd name="T79" fmla="*/ 242 h 308"/>
                  <a:gd name="T80" fmla="*/ 170 w 339"/>
                  <a:gd name="T81" fmla="*/ 235 h 308"/>
                  <a:gd name="T82" fmla="*/ 188 w 339"/>
                  <a:gd name="T83" fmla="*/ 226 h 308"/>
                  <a:gd name="T84" fmla="*/ 206 w 339"/>
                  <a:gd name="T85" fmla="*/ 230 h 308"/>
                  <a:gd name="T86" fmla="*/ 230 w 339"/>
                  <a:gd name="T87" fmla="*/ 253 h 308"/>
                  <a:gd name="T88" fmla="*/ 254 w 339"/>
                  <a:gd name="T89" fmla="*/ 269 h 308"/>
                  <a:gd name="T90" fmla="*/ 287 w 339"/>
                  <a:gd name="T91" fmla="*/ 269 h 308"/>
                  <a:gd name="T92" fmla="*/ 303 w 339"/>
                  <a:gd name="T93" fmla="*/ 287 h 308"/>
                  <a:gd name="T94" fmla="*/ 321 w 339"/>
                  <a:gd name="T95" fmla="*/ 308 h 3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39" h="308">
                    <a:moveTo>
                      <a:pt x="339" y="0"/>
                    </a:moveTo>
                    <a:cubicBezTo>
                      <a:pt x="328" y="3"/>
                      <a:pt x="287" y="18"/>
                      <a:pt x="273" y="23"/>
                    </a:cubicBezTo>
                    <a:cubicBezTo>
                      <a:pt x="262" y="26"/>
                      <a:pt x="259" y="29"/>
                      <a:pt x="252" y="31"/>
                    </a:cubicBezTo>
                    <a:cubicBezTo>
                      <a:pt x="245" y="33"/>
                      <a:pt x="237" y="30"/>
                      <a:pt x="233" y="34"/>
                    </a:cubicBezTo>
                    <a:cubicBezTo>
                      <a:pt x="225" y="39"/>
                      <a:pt x="229" y="48"/>
                      <a:pt x="226" y="55"/>
                    </a:cubicBezTo>
                    <a:cubicBezTo>
                      <a:pt x="223" y="62"/>
                      <a:pt x="217" y="68"/>
                      <a:pt x="216" y="74"/>
                    </a:cubicBezTo>
                    <a:cubicBezTo>
                      <a:pt x="211" y="82"/>
                      <a:pt x="216" y="85"/>
                      <a:pt x="221" y="92"/>
                    </a:cubicBezTo>
                    <a:cubicBezTo>
                      <a:pt x="223" y="101"/>
                      <a:pt x="226" y="94"/>
                      <a:pt x="228" y="103"/>
                    </a:cubicBezTo>
                    <a:cubicBezTo>
                      <a:pt x="227" y="105"/>
                      <a:pt x="225" y="112"/>
                      <a:pt x="221" y="112"/>
                    </a:cubicBezTo>
                    <a:cubicBezTo>
                      <a:pt x="212" y="112"/>
                      <a:pt x="194" y="109"/>
                      <a:pt x="194" y="109"/>
                    </a:cubicBezTo>
                    <a:cubicBezTo>
                      <a:pt x="189" y="107"/>
                      <a:pt x="185" y="104"/>
                      <a:pt x="180" y="101"/>
                    </a:cubicBezTo>
                    <a:cubicBezTo>
                      <a:pt x="175" y="100"/>
                      <a:pt x="169" y="99"/>
                      <a:pt x="164" y="100"/>
                    </a:cubicBezTo>
                    <a:cubicBezTo>
                      <a:pt x="159" y="101"/>
                      <a:pt x="157" y="112"/>
                      <a:pt x="147" y="110"/>
                    </a:cubicBezTo>
                    <a:cubicBezTo>
                      <a:pt x="133" y="108"/>
                      <a:pt x="114" y="90"/>
                      <a:pt x="101" y="86"/>
                    </a:cubicBezTo>
                    <a:cubicBezTo>
                      <a:pt x="88" y="82"/>
                      <a:pt x="74" y="86"/>
                      <a:pt x="66" y="88"/>
                    </a:cubicBezTo>
                    <a:cubicBezTo>
                      <a:pt x="62" y="93"/>
                      <a:pt x="59" y="94"/>
                      <a:pt x="54" y="97"/>
                    </a:cubicBezTo>
                    <a:cubicBezTo>
                      <a:pt x="53" y="105"/>
                      <a:pt x="43" y="112"/>
                      <a:pt x="36" y="116"/>
                    </a:cubicBezTo>
                    <a:cubicBezTo>
                      <a:pt x="35" y="127"/>
                      <a:pt x="32" y="122"/>
                      <a:pt x="23" y="118"/>
                    </a:cubicBezTo>
                    <a:cubicBezTo>
                      <a:pt x="17" y="112"/>
                      <a:pt x="18" y="136"/>
                      <a:pt x="12" y="142"/>
                    </a:cubicBezTo>
                    <a:cubicBezTo>
                      <a:pt x="11" y="149"/>
                      <a:pt x="10" y="151"/>
                      <a:pt x="5" y="155"/>
                    </a:cubicBezTo>
                    <a:cubicBezTo>
                      <a:pt x="0" y="164"/>
                      <a:pt x="2" y="172"/>
                      <a:pt x="12" y="173"/>
                    </a:cubicBezTo>
                    <a:cubicBezTo>
                      <a:pt x="17" y="175"/>
                      <a:pt x="21" y="178"/>
                      <a:pt x="26" y="181"/>
                    </a:cubicBezTo>
                    <a:cubicBezTo>
                      <a:pt x="32" y="189"/>
                      <a:pt x="31" y="198"/>
                      <a:pt x="41" y="202"/>
                    </a:cubicBezTo>
                    <a:cubicBezTo>
                      <a:pt x="41" y="204"/>
                      <a:pt x="41" y="213"/>
                      <a:pt x="47" y="211"/>
                    </a:cubicBezTo>
                    <a:cubicBezTo>
                      <a:pt x="49" y="210"/>
                      <a:pt x="47" y="207"/>
                      <a:pt x="48" y="206"/>
                    </a:cubicBezTo>
                    <a:cubicBezTo>
                      <a:pt x="50" y="203"/>
                      <a:pt x="54" y="201"/>
                      <a:pt x="57" y="200"/>
                    </a:cubicBezTo>
                    <a:cubicBezTo>
                      <a:pt x="67" y="196"/>
                      <a:pt x="78" y="198"/>
                      <a:pt x="89" y="197"/>
                    </a:cubicBezTo>
                    <a:cubicBezTo>
                      <a:pt x="103" y="195"/>
                      <a:pt x="102" y="200"/>
                      <a:pt x="108" y="211"/>
                    </a:cubicBezTo>
                    <a:cubicBezTo>
                      <a:pt x="113" y="214"/>
                      <a:pt x="105" y="218"/>
                      <a:pt x="108" y="221"/>
                    </a:cubicBezTo>
                    <a:cubicBezTo>
                      <a:pt x="111" y="224"/>
                      <a:pt x="124" y="223"/>
                      <a:pt x="125" y="227"/>
                    </a:cubicBezTo>
                    <a:cubicBezTo>
                      <a:pt x="123" y="236"/>
                      <a:pt x="121" y="243"/>
                      <a:pt x="113" y="247"/>
                    </a:cubicBezTo>
                    <a:cubicBezTo>
                      <a:pt x="106" y="243"/>
                      <a:pt x="108" y="236"/>
                      <a:pt x="99" y="233"/>
                    </a:cubicBezTo>
                    <a:cubicBezTo>
                      <a:pt x="78" y="238"/>
                      <a:pt x="95" y="228"/>
                      <a:pt x="87" y="238"/>
                    </a:cubicBezTo>
                    <a:cubicBezTo>
                      <a:pt x="85" y="241"/>
                      <a:pt x="74" y="248"/>
                      <a:pt x="74" y="248"/>
                    </a:cubicBezTo>
                    <a:cubicBezTo>
                      <a:pt x="70" y="255"/>
                      <a:pt x="66" y="263"/>
                      <a:pt x="77" y="265"/>
                    </a:cubicBezTo>
                    <a:cubicBezTo>
                      <a:pt x="79" y="270"/>
                      <a:pt x="83" y="274"/>
                      <a:pt x="87" y="279"/>
                    </a:cubicBezTo>
                    <a:cubicBezTo>
                      <a:pt x="91" y="284"/>
                      <a:pt x="94" y="293"/>
                      <a:pt x="102" y="295"/>
                    </a:cubicBezTo>
                    <a:cubicBezTo>
                      <a:pt x="113" y="290"/>
                      <a:pt x="120" y="292"/>
                      <a:pt x="134" y="293"/>
                    </a:cubicBezTo>
                    <a:cubicBezTo>
                      <a:pt x="140" y="296"/>
                      <a:pt x="146" y="298"/>
                      <a:pt x="152" y="302"/>
                    </a:cubicBezTo>
                    <a:cubicBezTo>
                      <a:pt x="156" y="293"/>
                      <a:pt x="150" y="253"/>
                      <a:pt x="153" y="242"/>
                    </a:cubicBezTo>
                    <a:cubicBezTo>
                      <a:pt x="156" y="231"/>
                      <a:pt x="164" y="238"/>
                      <a:pt x="170" y="235"/>
                    </a:cubicBezTo>
                    <a:cubicBezTo>
                      <a:pt x="176" y="231"/>
                      <a:pt x="181" y="227"/>
                      <a:pt x="188" y="226"/>
                    </a:cubicBezTo>
                    <a:cubicBezTo>
                      <a:pt x="194" y="227"/>
                      <a:pt x="200" y="229"/>
                      <a:pt x="206" y="230"/>
                    </a:cubicBezTo>
                    <a:cubicBezTo>
                      <a:pt x="217" y="238"/>
                      <a:pt x="214" y="250"/>
                      <a:pt x="230" y="253"/>
                    </a:cubicBezTo>
                    <a:cubicBezTo>
                      <a:pt x="238" y="258"/>
                      <a:pt x="245" y="267"/>
                      <a:pt x="254" y="269"/>
                    </a:cubicBezTo>
                    <a:cubicBezTo>
                      <a:pt x="263" y="272"/>
                      <a:pt x="279" y="266"/>
                      <a:pt x="287" y="269"/>
                    </a:cubicBezTo>
                    <a:cubicBezTo>
                      <a:pt x="295" y="274"/>
                      <a:pt x="295" y="282"/>
                      <a:pt x="303" y="287"/>
                    </a:cubicBezTo>
                    <a:cubicBezTo>
                      <a:pt x="304" y="300"/>
                      <a:pt x="310" y="301"/>
                      <a:pt x="321" y="308"/>
                    </a:cubicBezTo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847052DF-BC12-4E50-A714-722F7675CAB4}"/>
                </a:ext>
              </a:extLst>
            </p:cNvPr>
            <p:cNvGrpSpPr/>
            <p:nvPr/>
          </p:nvGrpSpPr>
          <p:grpSpPr>
            <a:xfrm>
              <a:off x="4253557" y="2571662"/>
              <a:ext cx="231036" cy="515869"/>
              <a:chOff x="4253557" y="2571662"/>
              <a:chExt cx="231036" cy="515869"/>
            </a:xfrm>
            <a:grpFill/>
          </p:grpSpPr>
          <p:sp>
            <p:nvSpPr>
              <p:cNvPr id="12" name="Freeform 9">
                <a:extLst>
                  <a:ext uri="{FF2B5EF4-FFF2-40B4-BE49-F238E27FC236}">
                    <a16:creationId xmlns:a16="http://schemas.microsoft.com/office/drawing/2014/main" id="{D3325B80-1BD5-4D6E-9EEF-D8EBEB49D98B}"/>
                  </a:ext>
                </a:extLst>
              </p:cNvPr>
              <p:cNvSpPr/>
              <p:nvPr/>
            </p:nvSpPr>
            <p:spPr>
              <a:xfrm>
                <a:off x="4291306" y="2571662"/>
                <a:ext cx="28895" cy="48028"/>
              </a:xfrm>
              <a:custGeom>
                <a:avLst/>
                <a:gdLst>
                  <a:gd name="connsiteX0" fmla="*/ 0 w 45244"/>
                  <a:gd name="connsiteY0" fmla="*/ 23812 h 23812"/>
                  <a:gd name="connsiteX1" fmla="*/ 45244 w 45244"/>
                  <a:gd name="connsiteY1" fmla="*/ 0 h 23812"/>
                  <a:gd name="connsiteX2" fmla="*/ 0 w 45244"/>
                  <a:gd name="connsiteY2" fmla="*/ 23812 h 23812"/>
                  <a:gd name="connsiteX0" fmla="*/ 0 w 23813"/>
                  <a:gd name="connsiteY0" fmla="*/ 0 h 33338"/>
                  <a:gd name="connsiteX1" fmla="*/ 23813 w 23813"/>
                  <a:gd name="connsiteY1" fmla="*/ 33338 h 33338"/>
                  <a:gd name="connsiteX2" fmla="*/ 0 w 23813"/>
                  <a:gd name="connsiteY2" fmla="*/ 0 h 33338"/>
                  <a:gd name="connsiteX0" fmla="*/ 0 w 35942"/>
                  <a:gd name="connsiteY0" fmla="*/ 1209 h 55714"/>
                  <a:gd name="connsiteX1" fmla="*/ 23813 w 35942"/>
                  <a:gd name="connsiteY1" fmla="*/ 34547 h 55714"/>
                  <a:gd name="connsiteX2" fmla="*/ 0 w 35942"/>
                  <a:gd name="connsiteY2" fmla="*/ 1209 h 55714"/>
                  <a:gd name="connsiteX0" fmla="*/ 262 w 24331"/>
                  <a:gd name="connsiteY0" fmla="*/ 11 h 35874"/>
                  <a:gd name="connsiteX1" fmla="*/ 24075 w 24331"/>
                  <a:gd name="connsiteY1" fmla="*/ 33349 h 35874"/>
                  <a:gd name="connsiteX2" fmla="*/ 12116 w 24331"/>
                  <a:gd name="connsiteY2" fmla="*/ 29784 h 35874"/>
                  <a:gd name="connsiteX3" fmla="*/ 262 w 24331"/>
                  <a:gd name="connsiteY3" fmla="*/ 11 h 35874"/>
                  <a:gd name="connsiteX0" fmla="*/ 639 w 34065"/>
                  <a:gd name="connsiteY0" fmla="*/ 1389 h 36767"/>
                  <a:gd name="connsiteX1" fmla="*/ 33087 w 34065"/>
                  <a:gd name="connsiteY1" fmla="*/ 7946 h 36767"/>
                  <a:gd name="connsiteX2" fmla="*/ 24452 w 34065"/>
                  <a:gd name="connsiteY2" fmla="*/ 34727 h 36767"/>
                  <a:gd name="connsiteX3" fmla="*/ 12493 w 34065"/>
                  <a:gd name="connsiteY3" fmla="*/ 31162 h 36767"/>
                  <a:gd name="connsiteX4" fmla="*/ 639 w 34065"/>
                  <a:gd name="connsiteY4" fmla="*/ 1389 h 36767"/>
                  <a:gd name="connsiteX0" fmla="*/ 639 w 35387"/>
                  <a:gd name="connsiteY0" fmla="*/ 1389 h 44263"/>
                  <a:gd name="connsiteX1" fmla="*/ 33087 w 35387"/>
                  <a:gd name="connsiteY1" fmla="*/ 7946 h 44263"/>
                  <a:gd name="connsiteX2" fmla="*/ 31940 w 35387"/>
                  <a:gd name="connsiteY2" fmla="*/ 43432 h 44263"/>
                  <a:gd name="connsiteX3" fmla="*/ 12493 w 35387"/>
                  <a:gd name="connsiteY3" fmla="*/ 31162 h 44263"/>
                  <a:gd name="connsiteX4" fmla="*/ 639 w 35387"/>
                  <a:gd name="connsiteY4" fmla="*/ 1389 h 44263"/>
                  <a:gd name="connsiteX0" fmla="*/ 639 w 35118"/>
                  <a:gd name="connsiteY0" fmla="*/ 1389 h 60290"/>
                  <a:gd name="connsiteX1" fmla="*/ 33087 w 35118"/>
                  <a:gd name="connsiteY1" fmla="*/ 7946 h 60290"/>
                  <a:gd name="connsiteX2" fmla="*/ 31940 w 35118"/>
                  <a:gd name="connsiteY2" fmla="*/ 43432 h 60290"/>
                  <a:gd name="connsiteX3" fmla="*/ 18293 w 35118"/>
                  <a:gd name="connsiteY3" fmla="*/ 60021 h 60290"/>
                  <a:gd name="connsiteX4" fmla="*/ 12493 w 35118"/>
                  <a:gd name="connsiteY4" fmla="*/ 31162 h 60290"/>
                  <a:gd name="connsiteX5" fmla="*/ 639 w 35118"/>
                  <a:gd name="connsiteY5" fmla="*/ 1389 h 60290"/>
                  <a:gd name="connsiteX0" fmla="*/ 6372 w 24002"/>
                  <a:gd name="connsiteY0" fmla="*/ 12252 h 53744"/>
                  <a:gd name="connsiteX1" fmla="*/ 21971 w 24002"/>
                  <a:gd name="connsiteY1" fmla="*/ 1398 h 53744"/>
                  <a:gd name="connsiteX2" fmla="*/ 20824 w 24002"/>
                  <a:gd name="connsiteY2" fmla="*/ 36884 h 53744"/>
                  <a:gd name="connsiteX3" fmla="*/ 7177 w 24002"/>
                  <a:gd name="connsiteY3" fmla="*/ 53473 h 53744"/>
                  <a:gd name="connsiteX4" fmla="*/ 1377 w 24002"/>
                  <a:gd name="connsiteY4" fmla="*/ 24614 h 53744"/>
                  <a:gd name="connsiteX5" fmla="*/ 6372 w 24002"/>
                  <a:gd name="connsiteY5" fmla="*/ 12252 h 53744"/>
                  <a:gd name="connsiteX0" fmla="*/ 4848 w 24350"/>
                  <a:gd name="connsiteY0" fmla="*/ 1388 h 60289"/>
                  <a:gd name="connsiteX1" fmla="*/ 22319 w 24350"/>
                  <a:gd name="connsiteY1" fmla="*/ 7944 h 60289"/>
                  <a:gd name="connsiteX2" fmla="*/ 21172 w 24350"/>
                  <a:gd name="connsiteY2" fmla="*/ 43430 h 60289"/>
                  <a:gd name="connsiteX3" fmla="*/ 7525 w 24350"/>
                  <a:gd name="connsiteY3" fmla="*/ 60019 h 60289"/>
                  <a:gd name="connsiteX4" fmla="*/ 1725 w 24350"/>
                  <a:gd name="connsiteY4" fmla="*/ 31160 h 60289"/>
                  <a:gd name="connsiteX5" fmla="*/ 4848 w 24350"/>
                  <a:gd name="connsiteY5" fmla="*/ 1388 h 60289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24350" h="60289">
                    <a:moveTo>
                      <a:pt x="4848" y="1388"/>
                    </a:moveTo>
                    <a:cubicBezTo>
                      <a:pt x="8280" y="-2481"/>
                      <a:pt x="18350" y="2388"/>
                      <a:pt x="22319" y="7944"/>
                    </a:cubicBezTo>
                    <a:cubicBezTo>
                      <a:pt x="26288" y="13500"/>
                      <a:pt x="23638" y="34751"/>
                      <a:pt x="21172" y="43430"/>
                    </a:cubicBezTo>
                    <a:cubicBezTo>
                      <a:pt x="18706" y="52109"/>
                      <a:pt x="10766" y="62064"/>
                      <a:pt x="7525" y="60019"/>
                    </a:cubicBezTo>
                    <a:cubicBezTo>
                      <a:pt x="4284" y="57974"/>
                      <a:pt x="4667" y="38030"/>
                      <a:pt x="1725" y="31160"/>
                    </a:cubicBezTo>
                    <a:cubicBezTo>
                      <a:pt x="-2244" y="25604"/>
                      <a:pt x="1416" y="5257"/>
                      <a:pt x="4848" y="1388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3156">
                  <a:defRPr/>
                </a:pPr>
                <a:endParaRPr lang="en-US" sz="1837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3" name="Freeform 244">
                <a:extLst>
                  <a:ext uri="{FF2B5EF4-FFF2-40B4-BE49-F238E27FC236}">
                    <a16:creationId xmlns:a16="http://schemas.microsoft.com/office/drawing/2014/main" id="{230F5FC1-4A5E-46BA-862C-E419D50AA9C2}"/>
                  </a:ext>
                </a:extLst>
              </p:cNvPr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4253557" y="2644602"/>
                <a:ext cx="231036" cy="442929"/>
              </a:xfrm>
              <a:custGeom>
                <a:avLst/>
                <a:gdLst>
                  <a:gd name="connsiteX0" fmla="*/ 23812 w 247650"/>
                  <a:gd name="connsiteY0" fmla="*/ 317472 h 526236"/>
                  <a:gd name="connsiteX1" fmla="*/ 60325 w 247650"/>
                  <a:gd name="connsiteY1" fmla="*/ 336156 h 526236"/>
                  <a:gd name="connsiteX2" fmla="*/ 66675 w 247650"/>
                  <a:gd name="connsiteY2" fmla="*/ 350169 h 526236"/>
                  <a:gd name="connsiteX3" fmla="*/ 77787 w 247650"/>
                  <a:gd name="connsiteY3" fmla="*/ 384422 h 526236"/>
                  <a:gd name="connsiteX4" fmla="*/ 52387 w 247650"/>
                  <a:gd name="connsiteY4" fmla="*/ 395321 h 526236"/>
                  <a:gd name="connsiteX5" fmla="*/ 20637 w 247650"/>
                  <a:gd name="connsiteY5" fmla="*/ 389093 h 526236"/>
                  <a:gd name="connsiteX6" fmla="*/ 0 w 247650"/>
                  <a:gd name="connsiteY6" fmla="*/ 370409 h 526236"/>
                  <a:gd name="connsiteX7" fmla="*/ 4762 w 247650"/>
                  <a:gd name="connsiteY7" fmla="*/ 351726 h 526236"/>
                  <a:gd name="connsiteX8" fmla="*/ 23812 w 247650"/>
                  <a:gd name="connsiteY8" fmla="*/ 317472 h 526236"/>
                  <a:gd name="connsiteX9" fmla="*/ 147637 w 247650"/>
                  <a:gd name="connsiteY9" fmla="*/ 143069 h 526236"/>
                  <a:gd name="connsiteX10" fmla="*/ 150812 w 247650"/>
                  <a:gd name="connsiteY10" fmla="*/ 181947 h 526236"/>
                  <a:gd name="connsiteX11" fmla="*/ 122237 w 247650"/>
                  <a:gd name="connsiteY11" fmla="*/ 219269 h 526236"/>
                  <a:gd name="connsiteX12" fmla="*/ 174625 w 247650"/>
                  <a:gd name="connsiteY12" fmla="*/ 228600 h 526236"/>
                  <a:gd name="connsiteX13" fmla="*/ 152400 w 247650"/>
                  <a:gd name="connsiteY13" fmla="*/ 275253 h 526236"/>
                  <a:gd name="connsiteX14" fmla="*/ 161925 w 247650"/>
                  <a:gd name="connsiteY14" fmla="*/ 298580 h 526236"/>
                  <a:gd name="connsiteX15" fmla="*/ 174625 w 247650"/>
                  <a:gd name="connsiteY15" fmla="*/ 320351 h 526236"/>
                  <a:gd name="connsiteX16" fmla="*/ 185738 w 247650"/>
                  <a:gd name="connsiteY16" fmla="*/ 345233 h 526236"/>
                  <a:gd name="connsiteX17" fmla="*/ 214313 w 247650"/>
                  <a:gd name="connsiteY17" fmla="*/ 377890 h 526236"/>
                  <a:gd name="connsiteX18" fmla="*/ 223838 w 247650"/>
                  <a:gd name="connsiteY18" fmla="*/ 405882 h 526236"/>
                  <a:gd name="connsiteX19" fmla="*/ 247650 w 247650"/>
                  <a:gd name="connsiteY19" fmla="*/ 450980 h 526236"/>
                  <a:gd name="connsiteX20" fmla="*/ 219075 w 247650"/>
                  <a:gd name="connsiteY20" fmla="*/ 469641 h 526236"/>
                  <a:gd name="connsiteX21" fmla="*/ 236538 w 247650"/>
                  <a:gd name="connsiteY21" fmla="*/ 492968 h 526236"/>
                  <a:gd name="connsiteX22" fmla="*/ 204788 w 247650"/>
                  <a:gd name="connsiteY22" fmla="*/ 499188 h 526236"/>
                  <a:gd name="connsiteX23" fmla="*/ 150812 w 247650"/>
                  <a:gd name="connsiteY23" fmla="*/ 502298 h 526236"/>
                  <a:gd name="connsiteX24" fmla="*/ 127000 w 247650"/>
                  <a:gd name="connsiteY24" fmla="*/ 513184 h 526236"/>
                  <a:gd name="connsiteX25" fmla="*/ 98425 w 247650"/>
                  <a:gd name="connsiteY25" fmla="*/ 520959 h 526236"/>
                  <a:gd name="connsiteX26" fmla="*/ 76200 w 247650"/>
                  <a:gd name="connsiteY26" fmla="*/ 522515 h 526236"/>
                  <a:gd name="connsiteX27" fmla="*/ 61912 w 247650"/>
                  <a:gd name="connsiteY27" fmla="*/ 520959 h 526236"/>
                  <a:gd name="connsiteX28" fmla="*/ 69850 w 247650"/>
                  <a:gd name="connsiteY28" fmla="*/ 517849 h 526236"/>
                  <a:gd name="connsiteX29" fmla="*/ 98425 w 247650"/>
                  <a:gd name="connsiteY29" fmla="*/ 494523 h 526236"/>
                  <a:gd name="connsiteX30" fmla="*/ 112712 w 247650"/>
                  <a:gd name="connsiteY30" fmla="*/ 466531 h 526236"/>
                  <a:gd name="connsiteX31" fmla="*/ 93662 w 247650"/>
                  <a:gd name="connsiteY31" fmla="*/ 446314 h 526236"/>
                  <a:gd name="connsiteX32" fmla="*/ 107950 w 247650"/>
                  <a:gd name="connsiteY32" fmla="*/ 413657 h 526236"/>
                  <a:gd name="connsiteX33" fmla="*/ 104824 w 247650"/>
                  <a:gd name="connsiteY33" fmla="*/ 405857 h 526236"/>
                  <a:gd name="connsiteX34" fmla="*/ 136525 w 247650"/>
                  <a:gd name="connsiteY34" fmla="*/ 404327 h 526236"/>
                  <a:gd name="connsiteX35" fmla="*/ 138112 w 247650"/>
                  <a:gd name="connsiteY35" fmla="*/ 371669 h 526236"/>
                  <a:gd name="connsiteX36" fmla="*/ 127000 w 247650"/>
                  <a:gd name="connsiteY36" fmla="*/ 348343 h 526236"/>
                  <a:gd name="connsiteX37" fmla="*/ 128587 w 247650"/>
                  <a:gd name="connsiteY37" fmla="*/ 335902 h 526236"/>
                  <a:gd name="connsiteX38" fmla="*/ 90487 w 247650"/>
                  <a:gd name="connsiteY38" fmla="*/ 329682 h 526236"/>
                  <a:gd name="connsiteX39" fmla="*/ 60325 w 247650"/>
                  <a:gd name="connsiteY39" fmla="*/ 284584 h 526236"/>
                  <a:gd name="connsiteX40" fmla="*/ 61912 w 247650"/>
                  <a:gd name="connsiteY40" fmla="*/ 259702 h 526236"/>
                  <a:gd name="connsiteX41" fmla="*/ 36512 w 247650"/>
                  <a:gd name="connsiteY41" fmla="*/ 241041 h 526236"/>
                  <a:gd name="connsiteX42" fmla="*/ 38100 w 247650"/>
                  <a:gd name="connsiteY42" fmla="*/ 200608 h 526236"/>
                  <a:gd name="connsiteX43" fmla="*/ 61912 w 247650"/>
                  <a:gd name="connsiteY43" fmla="*/ 186612 h 526236"/>
                  <a:gd name="connsiteX44" fmla="*/ 74191 w 247650"/>
                  <a:gd name="connsiteY44" fmla="*/ 210230 h 526236"/>
                  <a:gd name="connsiteX45" fmla="*/ 76200 w 247650"/>
                  <a:gd name="connsiteY45" fmla="*/ 203718 h 526236"/>
                  <a:gd name="connsiteX46" fmla="*/ 104775 w 247650"/>
                  <a:gd name="connsiteY46" fmla="*/ 180392 h 526236"/>
                  <a:gd name="connsiteX47" fmla="*/ 128587 w 247650"/>
                  <a:gd name="connsiteY47" fmla="*/ 161730 h 526236"/>
                  <a:gd name="connsiteX48" fmla="*/ 147637 w 247650"/>
                  <a:gd name="connsiteY48" fmla="*/ 143069 h 526236"/>
                  <a:gd name="connsiteX49" fmla="*/ 195263 w 247650"/>
                  <a:gd name="connsiteY49" fmla="*/ 69980 h 526236"/>
                  <a:gd name="connsiteX50" fmla="*/ 204788 w 247650"/>
                  <a:gd name="connsiteY50" fmla="*/ 88641 h 526236"/>
                  <a:gd name="connsiteX51" fmla="*/ 193676 w 247650"/>
                  <a:gd name="connsiteY51" fmla="*/ 119743 h 526236"/>
                  <a:gd name="connsiteX52" fmla="*/ 179388 w 247650"/>
                  <a:gd name="connsiteY52" fmla="*/ 139960 h 526236"/>
                  <a:gd name="connsiteX53" fmla="*/ 174625 w 247650"/>
                  <a:gd name="connsiteY53" fmla="*/ 147735 h 526236"/>
                  <a:gd name="connsiteX54" fmla="*/ 176213 w 247650"/>
                  <a:gd name="connsiteY54" fmla="*/ 138404 h 526236"/>
                  <a:gd name="connsiteX55" fmla="*/ 179388 w 247650"/>
                  <a:gd name="connsiteY55" fmla="*/ 111968 h 526236"/>
                  <a:gd name="connsiteX56" fmla="*/ 176213 w 247650"/>
                  <a:gd name="connsiteY56" fmla="*/ 83976 h 526236"/>
                  <a:gd name="connsiteX57" fmla="*/ 195263 w 247650"/>
                  <a:gd name="connsiteY57" fmla="*/ 69980 h 526236"/>
                  <a:gd name="connsiteX58" fmla="*/ 46038 w 247650"/>
                  <a:gd name="connsiteY58" fmla="*/ 0 h 526236"/>
                  <a:gd name="connsiteX59" fmla="*/ 50800 w 247650"/>
                  <a:gd name="connsiteY59" fmla="*/ 51318 h 526236"/>
                  <a:gd name="connsiteX60" fmla="*/ 44798 w 247650"/>
                  <a:gd name="connsiteY60" fmla="*/ 49350 h 526236"/>
                  <a:gd name="connsiteX61" fmla="*/ 52388 w 247650"/>
                  <a:gd name="connsiteY61" fmla="*/ 37322 h 526236"/>
                  <a:gd name="connsiteX62" fmla="*/ 36513 w 247650"/>
                  <a:gd name="connsiteY62" fmla="*/ 23326 h 526236"/>
                  <a:gd name="connsiteX63" fmla="*/ 46038 w 247650"/>
                  <a:gd name="connsiteY63" fmla="*/ 0 h 526236"/>
                  <a:gd name="connsiteX0" fmla="*/ 23812 w 247650"/>
                  <a:gd name="connsiteY0" fmla="*/ 317472 h 526236"/>
                  <a:gd name="connsiteX1" fmla="*/ 60325 w 247650"/>
                  <a:gd name="connsiteY1" fmla="*/ 336156 h 526236"/>
                  <a:gd name="connsiteX2" fmla="*/ 66675 w 247650"/>
                  <a:gd name="connsiteY2" fmla="*/ 350169 h 526236"/>
                  <a:gd name="connsiteX3" fmla="*/ 77787 w 247650"/>
                  <a:gd name="connsiteY3" fmla="*/ 384422 h 526236"/>
                  <a:gd name="connsiteX4" fmla="*/ 52387 w 247650"/>
                  <a:gd name="connsiteY4" fmla="*/ 395321 h 526236"/>
                  <a:gd name="connsiteX5" fmla="*/ 20637 w 247650"/>
                  <a:gd name="connsiteY5" fmla="*/ 389093 h 526236"/>
                  <a:gd name="connsiteX6" fmla="*/ 0 w 247650"/>
                  <a:gd name="connsiteY6" fmla="*/ 370409 h 526236"/>
                  <a:gd name="connsiteX7" fmla="*/ 4762 w 247650"/>
                  <a:gd name="connsiteY7" fmla="*/ 351726 h 526236"/>
                  <a:gd name="connsiteX8" fmla="*/ 23812 w 247650"/>
                  <a:gd name="connsiteY8" fmla="*/ 317472 h 526236"/>
                  <a:gd name="connsiteX9" fmla="*/ 147637 w 247650"/>
                  <a:gd name="connsiteY9" fmla="*/ 143069 h 526236"/>
                  <a:gd name="connsiteX10" fmla="*/ 150812 w 247650"/>
                  <a:gd name="connsiteY10" fmla="*/ 181947 h 526236"/>
                  <a:gd name="connsiteX11" fmla="*/ 122237 w 247650"/>
                  <a:gd name="connsiteY11" fmla="*/ 219269 h 526236"/>
                  <a:gd name="connsiteX12" fmla="*/ 174625 w 247650"/>
                  <a:gd name="connsiteY12" fmla="*/ 228600 h 526236"/>
                  <a:gd name="connsiteX13" fmla="*/ 152400 w 247650"/>
                  <a:gd name="connsiteY13" fmla="*/ 275253 h 526236"/>
                  <a:gd name="connsiteX14" fmla="*/ 161925 w 247650"/>
                  <a:gd name="connsiteY14" fmla="*/ 298580 h 526236"/>
                  <a:gd name="connsiteX15" fmla="*/ 174625 w 247650"/>
                  <a:gd name="connsiteY15" fmla="*/ 320351 h 526236"/>
                  <a:gd name="connsiteX16" fmla="*/ 185738 w 247650"/>
                  <a:gd name="connsiteY16" fmla="*/ 345233 h 526236"/>
                  <a:gd name="connsiteX17" fmla="*/ 214313 w 247650"/>
                  <a:gd name="connsiteY17" fmla="*/ 377890 h 526236"/>
                  <a:gd name="connsiteX18" fmla="*/ 223838 w 247650"/>
                  <a:gd name="connsiteY18" fmla="*/ 405882 h 526236"/>
                  <a:gd name="connsiteX19" fmla="*/ 247650 w 247650"/>
                  <a:gd name="connsiteY19" fmla="*/ 450980 h 526236"/>
                  <a:gd name="connsiteX20" fmla="*/ 219075 w 247650"/>
                  <a:gd name="connsiteY20" fmla="*/ 469641 h 526236"/>
                  <a:gd name="connsiteX21" fmla="*/ 236538 w 247650"/>
                  <a:gd name="connsiteY21" fmla="*/ 492968 h 526236"/>
                  <a:gd name="connsiteX22" fmla="*/ 204788 w 247650"/>
                  <a:gd name="connsiteY22" fmla="*/ 499188 h 526236"/>
                  <a:gd name="connsiteX23" fmla="*/ 150812 w 247650"/>
                  <a:gd name="connsiteY23" fmla="*/ 502298 h 526236"/>
                  <a:gd name="connsiteX24" fmla="*/ 127000 w 247650"/>
                  <a:gd name="connsiteY24" fmla="*/ 513184 h 526236"/>
                  <a:gd name="connsiteX25" fmla="*/ 98425 w 247650"/>
                  <a:gd name="connsiteY25" fmla="*/ 520959 h 526236"/>
                  <a:gd name="connsiteX26" fmla="*/ 76200 w 247650"/>
                  <a:gd name="connsiteY26" fmla="*/ 522515 h 526236"/>
                  <a:gd name="connsiteX27" fmla="*/ 61912 w 247650"/>
                  <a:gd name="connsiteY27" fmla="*/ 520959 h 526236"/>
                  <a:gd name="connsiteX28" fmla="*/ 69850 w 247650"/>
                  <a:gd name="connsiteY28" fmla="*/ 517849 h 526236"/>
                  <a:gd name="connsiteX29" fmla="*/ 98425 w 247650"/>
                  <a:gd name="connsiteY29" fmla="*/ 494523 h 526236"/>
                  <a:gd name="connsiteX30" fmla="*/ 112712 w 247650"/>
                  <a:gd name="connsiteY30" fmla="*/ 466531 h 526236"/>
                  <a:gd name="connsiteX31" fmla="*/ 93662 w 247650"/>
                  <a:gd name="connsiteY31" fmla="*/ 446314 h 526236"/>
                  <a:gd name="connsiteX32" fmla="*/ 107950 w 247650"/>
                  <a:gd name="connsiteY32" fmla="*/ 413657 h 526236"/>
                  <a:gd name="connsiteX33" fmla="*/ 104824 w 247650"/>
                  <a:gd name="connsiteY33" fmla="*/ 405857 h 526236"/>
                  <a:gd name="connsiteX34" fmla="*/ 136525 w 247650"/>
                  <a:gd name="connsiteY34" fmla="*/ 404327 h 526236"/>
                  <a:gd name="connsiteX35" fmla="*/ 138112 w 247650"/>
                  <a:gd name="connsiteY35" fmla="*/ 371669 h 526236"/>
                  <a:gd name="connsiteX36" fmla="*/ 127000 w 247650"/>
                  <a:gd name="connsiteY36" fmla="*/ 348343 h 526236"/>
                  <a:gd name="connsiteX37" fmla="*/ 128587 w 247650"/>
                  <a:gd name="connsiteY37" fmla="*/ 335902 h 526236"/>
                  <a:gd name="connsiteX38" fmla="*/ 90487 w 247650"/>
                  <a:gd name="connsiteY38" fmla="*/ 329682 h 526236"/>
                  <a:gd name="connsiteX39" fmla="*/ 60325 w 247650"/>
                  <a:gd name="connsiteY39" fmla="*/ 284584 h 526236"/>
                  <a:gd name="connsiteX40" fmla="*/ 61912 w 247650"/>
                  <a:gd name="connsiteY40" fmla="*/ 259702 h 526236"/>
                  <a:gd name="connsiteX41" fmla="*/ 36512 w 247650"/>
                  <a:gd name="connsiteY41" fmla="*/ 241041 h 526236"/>
                  <a:gd name="connsiteX42" fmla="*/ 38100 w 247650"/>
                  <a:gd name="connsiteY42" fmla="*/ 200608 h 526236"/>
                  <a:gd name="connsiteX43" fmla="*/ 61912 w 247650"/>
                  <a:gd name="connsiteY43" fmla="*/ 186612 h 526236"/>
                  <a:gd name="connsiteX44" fmla="*/ 74191 w 247650"/>
                  <a:gd name="connsiteY44" fmla="*/ 210230 h 526236"/>
                  <a:gd name="connsiteX45" fmla="*/ 76200 w 247650"/>
                  <a:gd name="connsiteY45" fmla="*/ 203718 h 526236"/>
                  <a:gd name="connsiteX46" fmla="*/ 104775 w 247650"/>
                  <a:gd name="connsiteY46" fmla="*/ 180392 h 526236"/>
                  <a:gd name="connsiteX47" fmla="*/ 128587 w 247650"/>
                  <a:gd name="connsiteY47" fmla="*/ 161730 h 526236"/>
                  <a:gd name="connsiteX48" fmla="*/ 147637 w 247650"/>
                  <a:gd name="connsiteY48" fmla="*/ 143069 h 526236"/>
                  <a:gd name="connsiteX49" fmla="*/ 195263 w 247650"/>
                  <a:gd name="connsiteY49" fmla="*/ 69980 h 526236"/>
                  <a:gd name="connsiteX50" fmla="*/ 204788 w 247650"/>
                  <a:gd name="connsiteY50" fmla="*/ 88641 h 526236"/>
                  <a:gd name="connsiteX51" fmla="*/ 193676 w 247650"/>
                  <a:gd name="connsiteY51" fmla="*/ 119743 h 526236"/>
                  <a:gd name="connsiteX52" fmla="*/ 179388 w 247650"/>
                  <a:gd name="connsiteY52" fmla="*/ 139960 h 526236"/>
                  <a:gd name="connsiteX53" fmla="*/ 174625 w 247650"/>
                  <a:gd name="connsiteY53" fmla="*/ 147735 h 526236"/>
                  <a:gd name="connsiteX54" fmla="*/ 176213 w 247650"/>
                  <a:gd name="connsiteY54" fmla="*/ 138404 h 526236"/>
                  <a:gd name="connsiteX55" fmla="*/ 179388 w 247650"/>
                  <a:gd name="connsiteY55" fmla="*/ 111968 h 526236"/>
                  <a:gd name="connsiteX56" fmla="*/ 176213 w 247650"/>
                  <a:gd name="connsiteY56" fmla="*/ 83976 h 526236"/>
                  <a:gd name="connsiteX57" fmla="*/ 195263 w 247650"/>
                  <a:gd name="connsiteY57" fmla="*/ 69980 h 526236"/>
                  <a:gd name="connsiteX58" fmla="*/ 46038 w 247650"/>
                  <a:gd name="connsiteY58" fmla="*/ 0 h 526236"/>
                  <a:gd name="connsiteX59" fmla="*/ 50800 w 247650"/>
                  <a:gd name="connsiteY59" fmla="*/ 51318 h 526236"/>
                  <a:gd name="connsiteX60" fmla="*/ 44798 w 247650"/>
                  <a:gd name="connsiteY60" fmla="*/ 49350 h 526236"/>
                  <a:gd name="connsiteX61" fmla="*/ 36513 w 247650"/>
                  <a:gd name="connsiteY61" fmla="*/ 23326 h 526236"/>
                  <a:gd name="connsiteX62" fmla="*/ 46038 w 247650"/>
                  <a:gd name="connsiteY62" fmla="*/ 0 h 526236"/>
                  <a:gd name="connsiteX0" fmla="*/ 23812 w 247650"/>
                  <a:gd name="connsiteY0" fmla="*/ 294146 h 502910"/>
                  <a:gd name="connsiteX1" fmla="*/ 60325 w 247650"/>
                  <a:gd name="connsiteY1" fmla="*/ 312830 h 502910"/>
                  <a:gd name="connsiteX2" fmla="*/ 66675 w 247650"/>
                  <a:gd name="connsiteY2" fmla="*/ 326843 h 502910"/>
                  <a:gd name="connsiteX3" fmla="*/ 77787 w 247650"/>
                  <a:gd name="connsiteY3" fmla="*/ 361096 h 502910"/>
                  <a:gd name="connsiteX4" fmla="*/ 52387 w 247650"/>
                  <a:gd name="connsiteY4" fmla="*/ 371995 h 502910"/>
                  <a:gd name="connsiteX5" fmla="*/ 20637 w 247650"/>
                  <a:gd name="connsiteY5" fmla="*/ 365767 h 502910"/>
                  <a:gd name="connsiteX6" fmla="*/ 0 w 247650"/>
                  <a:gd name="connsiteY6" fmla="*/ 347083 h 502910"/>
                  <a:gd name="connsiteX7" fmla="*/ 4762 w 247650"/>
                  <a:gd name="connsiteY7" fmla="*/ 328400 h 502910"/>
                  <a:gd name="connsiteX8" fmla="*/ 23812 w 247650"/>
                  <a:gd name="connsiteY8" fmla="*/ 294146 h 502910"/>
                  <a:gd name="connsiteX9" fmla="*/ 147637 w 247650"/>
                  <a:gd name="connsiteY9" fmla="*/ 119743 h 502910"/>
                  <a:gd name="connsiteX10" fmla="*/ 150812 w 247650"/>
                  <a:gd name="connsiteY10" fmla="*/ 158621 h 502910"/>
                  <a:gd name="connsiteX11" fmla="*/ 122237 w 247650"/>
                  <a:gd name="connsiteY11" fmla="*/ 195943 h 502910"/>
                  <a:gd name="connsiteX12" fmla="*/ 174625 w 247650"/>
                  <a:gd name="connsiteY12" fmla="*/ 205274 h 502910"/>
                  <a:gd name="connsiteX13" fmla="*/ 152400 w 247650"/>
                  <a:gd name="connsiteY13" fmla="*/ 251927 h 502910"/>
                  <a:gd name="connsiteX14" fmla="*/ 161925 w 247650"/>
                  <a:gd name="connsiteY14" fmla="*/ 275254 h 502910"/>
                  <a:gd name="connsiteX15" fmla="*/ 174625 w 247650"/>
                  <a:gd name="connsiteY15" fmla="*/ 297025 h 502910"/>
                  <a:gd name="connsiteX16" fmla="*/ 185738 w 247650"/>
                  <a:gd name="connsiteY16" fmla="*/ 321907 h 502910"/>
                  <a:gd name="connsiteX17" fmla="*/ 214313 w 247650"/>
                  <a:gd name="connsiteY17" fmla="*/ 354564 h 502910"/>
                  <a:gd name="connsiteX18" fmla="*/ 223838 w 247650"/>
                  <a:gd name="connsiteY18" fmla="*/ 382556 h 502910"/>
                  <a:gd name="connsiteX19" fmla="*/ 247650 w 247650"/>
                  <a:gd name="connsiteY19" fmla="*/ 427654 h 502910"/>
                  <a:gd name="connsiteX20" fmla="*/ 219075 w 247650"/>
                  <a:gd name="connsiteY20" fmla="*/ 446315 h 502910"/>
                  <a:gd name="connsiteX21" fmla="*/ 236538 w 247650"/>
                  <a:gd name="connsiteY21" fmla="*/ 469642 h 502910"/>
                  <a:gd name="connsiteX22" fmla="*/ 204788 w 247650"/>
                  <a:gd name="connsiteY22" fmla="*/ 475862 h 502910"/>
                  <a:gd name="connsiteX23" fmla="*/ 150812 w 247650"/>
                  <a:gd name="connsiteY23" fmla="*/ 478972 h 502910"/>
                  <a:gd name="connsiteX24" fmla="*/ 127000 w 247650"/>
                  <a:gd name="connsiteY24" fmla="*/ 489858 h 502910"/>
                  <a:gd name="connsiteX25" fmla="*/ 98425 w 247650"/>
                  <a:gd name="connsiteY25" fmla="*/ 497633 h 502910"/>
                  <a:gd name="connsiteX26" fmla="*/ 76200 w 247650"/>
                  <a:gd name="connsiteY26" fmla="*/ 499189 h 502910"/>
                  <a:gd name="connsiteX27" fmla="*/ 61912 w 247650"/>
                  <a:gd name="connsiteY27" fmla="*/ 497633 h 502910"/>
                  <a:gd name="connsiteX28" fmla="*/ 69850 w 247650"/>
                  <a:gd name="connsiteY28" fmla="*/ 494523 h 502910"/>
                  <a:gd name="connsiteX29" fmla="*/ 98425 w 247650"/>
                  <a:gd name="connsiteY29" fmla="*/ 471197 h 502910"/>
                  <a:gd name="connsiteX30" fmla="*/ 112712 w 247650"/>
                  <a:gd name="connsiteY30" fmla="*/ 443205 h 502910"/>
                  <a:gd name="connsiteX31" fmla="*/ 93662 w 247650"/>
                  <a:gd name="connsiteY31" fmla="*/ 422988 h 502910"/>
                  <a:gd name="connsiteX32" fmla="*/ 107950 w 247650"/>
                  <a:gd name="connsiteY32" fmla="*/ 390331 h 502910"/>
                  <a:gd name="connsiteX33" fmla="*/ 104824 w 247650"/>
                  <a:gd name="connsiteY33" fmla="*/ 382531 h 502910"/>
                  <a:gd name="connsiteX34" fmla="*/ 136525 w 247650"/>
                  <a:gd name="connsiteY34" fmla="*/ 381001 h 502910"/>
                  <a:gd name="connsiteX35" fmla="*/ 138112 w 247650"/>
                  <a:gd name="connsiteY35" fmla="*/ 348343 h 502910"/>
                  <a:gd name="connsiteX36" fmla="*/ 127000 w 247650"/>
                  <a:gd name="connsiteY36" fmla="*/ 325017 h 502910"/>
                  <a:gd name="connsiteX37" fmla="*/ 128587 w 247650"/>
                  <a:gd name="connsiteY37" fmla="*/ 312576 h 502910"/>
                  <a:gd name="connsiteX38" fmla="*/ 90487 w 247650"/>
                  <a:gd name="connsiteY38" fmla="*/ 306356 h 502910"/>
                  <a:gd name="connsiteX39" fmla="*/ 60325 w 247650"/>
                  <a:gd name="connsiteY39" fmla="*/ 261258 h 502910"/>
                  <a:gd name="connsiteX40" fmla="*/ 61912 w 247650"/>
                  <a:gd name="connsiteY40" fmla="*/ 236376 h 502910"/>
                  <a:gd name="connsiteX41" fmla="*/ 36512 w 247650"/>
                  <a:gd name="connsiteY41" fmla="*/ 217715 h 502910"/>
                  <a:gd name="connsiteX42" fmla="*/ 38100 w 247650"/>
                  <a:gd name="connsiteY42" fmla="*/ 177282 h 502910"/>
                  <a:gd name="connsiteX43" fmla="*/ 61912 w 247650"/>
                  <a:gd name="connsiteY43" fmla="*/ 163286 h 502910"/>
                  <a:gd name="connsiteX44" fmla="*/ 74191 w 247650"/>
                  <a:gd name="connsiteY44" fmla="*/ 186904 h 502910"/>
                  <a:gd name="connsiteX45" fmla="*/ 76200 w 247650"/>
                  <a:gd name="connsiteY45" fmla="*/ 180392 h 502910"/>
                  <a:gd name="connsiteX46" fmla="*/ 104775 w 247650"/>
                  <a:gd name="connsiteY46" fmla="*/ 157066 h 502910"/>
                  <a:gd name="connsiteX47" fmla="*/ 128587 w 247650"/>
                  <a:gd name="connsiteY47" fmla="*/ 138404 h 502910"/>
                  <a:gd name="connsiteX48" fmla="*/ 147637 w 247650"/>
                  <a:gd name="connsiteY48" fmla="*/ 119743 h 502910"/>
                  <a:gd name="connsiteX49" fmla="*/ 195263 w 247650"/>
                  <a:gd name="connsiteY49" fmla="*/ 46654 h 502910"/>
                  <a:gd name="connsiteX50" fmla="*/ 204788 w 247650"/>
                  <a:gd name="connsiteY50" fmla="*/ 65315 h 502910"/>
                  <a:gd name="connsiteX51" fmla="*/ 193676 w 247650"/>
                  <a:gd name="connsiteY51" fmla="*/ 96417 h 502910"/>
                  <a:gd name="connsiteX52" fmla="*/ 179388 w 247650"/>
                  <a:gd name="connsiteY52" fmla="*/ 116634 h 502910"/>
                  <a:gd name="connsiteX53" fmla="*/ 174625 w 247650"/>
                  <a:gd name="connsiteY53" fmla="*/ 124409 h 502910"/>
                  <a:gd name="connsiteX54" fmla="*/ 176213 w 247650"/>
                  <a:gd name="connsiteY54" fmla="*/ 115078 h 502910"/>
                  <a:gd name="connsiteX55" fmla="*/ 179388 w 247650"/>
                  <a:gd name="connsiteY55" fmla="*/ 88642 h 502910"/>
                  <a:gd name="connsiteX56" fmla="*/ 176213 w 247650"/>
                  <a:gd name="connsiteY56" fmla="*/ 60650 h 502910"/>
                  <a:gd name="connsiteX57" fmla="*/ 195263 w 247650"/>
                  <a:gd name="connsiteY57" fmla="*/ 46654 h 502910"/>
                  <a:gd name="connsiteX58" fmla="*/ 36513 w 247650"/>
                  <a:gd name="connsiteY58" fmla="*/ 0 h 502910"/>
                  <a:gd name="connsiteX59" fmla="*/ 50800 w 247650"/>
                  <a:gd name="connsiteY59" fmla="*/ 27992 h 502910"/>
                  <a:gd name="connsiteX60" fmla="*/ 44798 w 247650"/>
                  <a:gd name="connsiteY60" fmla="*/ 26024 h 502910"/>
                  <a:gd name="connsiteX61" fmla="*/ 36513 w 247650"/>
                  <a:gd name="connsiteY61" fmla="*/ 0 h 502910"/>
                  <a:gd name="connsiteX0" fmla="*/ 23812 w 247650"/>
                  <a:gd name="connsiteY0" fmla="*/ 294146 h 502910"/>
                  <a:gd name="connsiteX1" fmla="*/ 60325 w 247650"/>
                  <a:gd name="connsiteY1" fmla="*/ 312830 h 502910"/>
                  <a:gd name="connsiteX2" fmla="*/ 66675 w 247650"/>
                  <a:gd name="connsiteY2" fmla="*/ 326843 h 502910"/>
                  <a:gd name="connsiteX3" fmla="*/ 77787 w 247650"/>
                  <a:gd name="connsiteY3" fmla="*/ 361096 h 502910"/>
                  <a:gd name="connsiteX4" fmla="*/ 52387 w 247650"/>
                  <a:gd name="connsiteY4" fmla="*/ 371995 h 502910"/>
                  <a:gd name="connsiteX5" fmla="*/ 20637 w 247650"/>
                  <a:gd name="connsiteY5" fmla="*/ 365767 h 502910"/>
                  <a:gd name="connsiteX6" fmla="*/ 0 w 247650"/>
                  <a:gd name="connsiteY6" fmla="*/ 347083 h 502910"/>
                  <a:gd name="connsiteX7" fmla="*/ 4762 w 247650"/>
                  <a:gd name="connsiteY7" fmla="*/ 328400 h 502910"/>
                  <a:gd name="connsiteX8" fmla="*/ 23812 w 247650"/>
                  <a:gd name="connsiteY8" fmla="*/ 294146 h 502910"/>
                  <a:gd name="connsiteX9" fmla="*/ 147637 w 247650"/>
                  <a:gd name="connsiteY9" fmla="*/ 119743 h 502910"/>
                  <a:gd name="connsiteX10" fmla="*/ 150812 w 247650"/>
                  <a:gd name="connsiteY10" fmla="*/ 158621 h 502910"/>
                  <a:gd name="connsiteX11" fmla="*/ 122237 w 247650"/>
                  <a:gd name="connsiteY11" fmla="*/ 195943 h 502910"/>
                  <a:gd name="connsiteX12" fmla="*/ 174625 w 247650"/>
                  <a:gd name="connsiteY12" fmla="*/ 205274 h 502910"/>
                  <a:gd name="connsiteX13" fmla="*/ 152400 w 247650"/>
                  <a:gd name="connsiteY13" fmla="*/ 251927 h 502910"/>
                  <a:gd name="connsiteX14" fmla="*/ 161925 w 247650"/>
                  <a:gd name="connsiteY14" fmla="*/ 275254 h 502910"/>
                  <a:gd name="connsiteX15" fmla="*/ 174625 w 247650"/>
                  <a:gd name="connsiteY15" fmla="*/ 297025 h 502910"/>
                  <a:gd name="connsiteX16" fmla="*/ 185738 w 247650"/>
                  <a:gd name="connsiteY16" fmla="*/ 321907 h 502910"/>
                  <a:gd name="connsiteX17" fmla="*/ 214313 w 247650"/>
                  <a:gd name="connsiteY17" fmla="*/ 354564 h 502910"/>
                  <a:gd name="connsiteX18" fmla="*/ 223838 w 247650"/>
                  <a:gd name="connsiteY18" fmla="*/ 382556 h 502910"/>
                  <a:gd name="connsiteX19" fmla="*/ 247650 w 247650"/>
                  <a:gd name="connsiteY19" fmla="*/ 427654 h 502910"/>
                  <a:gd name="connsiteX20" fmla="*/ 219075 w 247650"/>
                  <a:gd name="connsiteY20" fmla="*/ 446315 h 502910"/>
                  <a:gd name="connsiteX21" fmla="*/ 236538 w 247650"/>
                  <a:gd name="connsiteY21" fmla="*/ 469642 h 502910"/>
                  <a:gd name="connsiteX22" fmla="*/ 204788 w 247650"/>
                  <a:gd name="connsiteY22" fmla="*/ 475862 h 502910"/>
                  <a:gd name="connsiteX23" fmla="*/ 150812 w 247650"/>
                  <a:gd name="connsiteY23" fmla="*/ 478972 h 502910"/>
                  <a:gd name="connsiteX24" fmla="*/ 127000 w 247650"/>
                  <a:gd name="connsiteY24" fmla="*/ 489858 h 502910"/>
                  <a:gd name="connsiteX25" fmla="*/ 98425 w 247650"/>
                  <a:gd name="connsiteY25" fmla="*/ 497633 h 502910"/>
                  <a:gd name="connsiteX26" fmla="*/ 76200 w 247650"/>
                  <a:gd name="connsiteY26" fmla="*/ 499189 h 502910"/>
                  <a:gd name="connsiteX27" fmla="*/ 61912 w 247650"/>
                  <a:gd name="connsiteY27" fmla="*/ 497633 h 502910"/>
                  <a:gd name="connsiteX28" fmla="*/ 69850 w 247650"/>
                  <a:gd name="connsiteY28" fmla="*/ 494523 h 502910"/>
                  <a:gd name="connsiteX29" fmla="*/ 98425 w 247650"/>
                  <a:gd name="connsiteY29" fmla="*/ 471197 h 502910"/>
                  <a:gd name="connsiteX30" fmla="*/ 112712 w 247650"/>
                  <a:gd name="connsiteY30" fmla="*/ 443205 h 502910"/>
                  <a:gd name="connsiteX31" fmla="*/ 93662 w 247650"/>
                  <a:gd name="connsiteY31" fmla="*/ 422988 h 502910"/>
                  <a:gd name="connsiteX32" fmla="*/ 107950 w 247650"/>
                  <a:gd name="connsiteY32" fmla="*/ 390331 h 502910"/>
                  <a:gd name="connsiteX33" fmla="*/ 104824 w 247650"/>
                  <a:gd name="connsiteY33" fmla="*/ 382531 h 502910"/>
                  <a:gd name="connsiteX34" fmla="*/ 136525 w 247650"/>
                  <a:gd name="connsiteY34" fmla="*/ 381001 h 502910"/>
                  <a:gd name="connsiteX35" fmla="*/ 138112 w 247650"/>
                  <a:gd name="connsiteY35" fmla="*/ 348343 h 502910"/>
                  <a:gd name="connsiteX36" fmla="*/ 127000 w 247650"/>
                  <a:gd name="connsiteY36" fmla="*/ 325017 h 502910"/>
                  <a:gd name="connsiteX37" fmla="*/ 128587 w 247650"/>
                  <a:gd name="connsiteY37" fmla="*/ 312576 h 502910"/>
                  <a:gd name="connsiteX38" fmla="*/ 90487 w 247650"/>
                  <a:gd name="connsiteY38" fmla="*/ 306356 h 502910"/>
                  <a:gd name="connsiteX39" fmla="*/ 60325 w 247650"/>
                  <a:gd name="connsiteY39" fmla="*/ 261258 h 502910"/>
                  <a:gd name="connsiteX40" fmla="*/ 61912 w 247650"/>
                  <a:gd name="connsiteY40" fmla="*/ 236376 h 502910"/>
                  <a:gd name="connsiteX41" fmla="*/ 36512 w 247650"/>
                  <a:gd name="connsiteY41" fmla="*/ 217715 h 502910"/>
                  <a:gd name="connsiteX42" fmla="*/ 38100 w 247650"/>
                  <a:gd name="connsiteY42" fmla="*/ 177282 h 502910"/>
                  <a:gd name="connsiteX43" fmla="*/ 61912 w 247650"/>
                  <a:gd name="connsiteY43" fmla="*/ 163286 h 502910"/>
                  <a:gd name="connsiteX44" fmla="*/ 74191 w 247650"/>
                  <a:gd name="connsiteY44" fmla="*/ 186904 h 502910"/>
                  <a:gd name="connsiteX45" fmla="*/ 76200 w 247650"/>
                  <a:gd name="connsiteY45" fmla="*/ 180392 h 502910"/>
                  <a:gd name="connsiteX46" fmla="*/ 104775 w 247650"/>
                  <a:gd name="connsiteY46" fmla="*/ 157066 h 502910"/>
                  <a:gd name="connsiteX47" fmla="*/ 128587 w 247650"/>
                  <a:gd name="connsiteY47" fmla="*/ 138404 h 502910"/>
                  <a:gd name="connsiteX48" fmla="*/ 147637 w 247650"/>
                  <a:gd name="connsiteY48" fmla="*/ 119743 h 502910"/>
                  <a:gd name="connsiteX49" fmla="*/ 195263 w 247650"/>
                  <a:gd name="connsiteY49" fmla="*/ 46654 h 502910"/>
                  <a:gd name="connsiteX50" fmla="*/ 204788 w 247650"/>
                  <a:gd name="connsiteY50" fmla="*/ 65315 h 502910"/>
                  <a:gd name="connsiteX51" fmla="*/ 193676 w 247650"/>
                  <a:gd name="connsiteY51" fmla="*/ 96417 h 502910"/>
                  <a:gd name="connsiteX52" fmla="*/ 179388 w 247650"/>
                  <a:gd name="connsiteY52" fmla="*/ 116634 h 502910"/>
                  <a:gd name="connsiteX53" fmla="*/ 174625 w 247650"/>
                  <a:gd name="connsiteY53" fmla="*/ 124409 h 502910"/>
                  <a:gd name="connsiteX54" fmla="*/ 176213 w 247650"/>
                  <a:gd name="connsiteY54" fmla="*/ 115078 h 502910"/>
                  <a:gd name="connsiteX55" fmla="*/ 179388 w 247650"/>
                  <a:gd name="connsiteY55" fmla="*/ 88642 h 502910"/>
                  <a:gd name="connsiteX56" fmla="*/ 176213 w 247650"/>
                  <a:gd name="connsiteY56" fmla="*/ 60650 h 502910"/>
                  <a:gd name="connsiteX57" fmla="*/ 195263 w 247650"/>
                  <a:gd name="connsiteY57" fmla="*/ 46654 h 502910"/>
                  <a:gd name="connsiteX58" fmla="*/ 36513 w 247650"/>
                  <a:gd name="connsiteY58" fmla="*/ 0 h 502910"/>
                  <a:gd name="connsiteX59" fmla="*/ 50800 w 247650"/>
                  <a:gd name="connsiteY59" fmla="*/ 27992 h 502910"/>
                  <a:gd name="connsiteX60" fmla="*/ 36513 w 247650"/>
                  <a:gd name="connsiteY60" fmla="*/ 0 h 502910"/>
                  <a:gd name="connsiteX0" fmla="*/ 23812 w 247650"/>
                  <a:gd name="connsiteY0" fmla="*/ 247492 h 456256"/>
                  <a:gd name="connsiteX1" fmla="*/ 60325 w 247650"/>
                  <a:gd name="connsiteY1" fmla="*/ 266176 h 456256"/>
                  <a:gd name="connsiteX2" fmla="*/ 66675 w 247650"/>
                  <a:gd name="connsiteY2" fmla="*/ 280189 h 456256"/>
                  <a:gd name="connsiteX3" fmla="*/ 77787 w 247650"/>
                  <a:gd name="connsiteY3" fmla="*/ 314442 h 456256"/>
                  <a:gd name="connsiteX4" fmla="*/ 52387 w 247650"/>
                  <a:gd name="connsiteY4" fmla="*/ 325341 h 456256"/>
                  <a:gd name="connsiteX5" fmla="*/ 20637 w 247650"/>
                  <a:gd name="connsiteY5" fmla="*/ 319113 h 456256"/>
                  <a:gd name="connsiteX6" fmla="*/ 0 w 247650"/>
                  <a:gd name="connsiteY6" fmla="*/ 300429 h 456256"/>
                  <a:gd name="connsiteX7" fmla="*/ 4762 w 247650"/>
                  <a:gd name="connsiteY7" fmla="*/ 281746 h 456256"/>
                  <a:gd name="connsiteX8" fmla="*/ 23812 w 247650"/>
                  <a:gd name="connsiteY8" fmla="*/ 247492 h 456256"/>
                  <a:gd name="connsiteX9" fmla="*/ 147637 w 247650"/>
                  <a:gd name="connsiteY9" fmla="*/ 73089 h 456256"/>
                  <a:gd name="connsiteX10" fmla="*/ 150812 w 247650"/>
                  <a:gd name="connsiteY10" fmla="*/ 111967 h 456256"/>
                  <a:gd name="connsiteX11" fmla="*/ 122237 w 247650"/>
                  <a:gd name="connsiteY11" fmla="*/ 149289 h 456256"/>
                  <a:gd name="connsiteX12" fmla="*/ 174625 w 247650"/>
                  <a:gd name="connsiteY12" fmla="*/ 158620 h 456256"/>
                  <a:gd name="connsiteX13" fmla="*/ 152400 w 247650"/>
                  <a:gd name="connsiteY13" fmla="*/ 205273 h 456256"/>
                  <a:gd name="connsiteX14" fmla="*/ 161925 w 247650"/>
                  <a:gd name="connsiteY14" fmla="*/ 228600 h 456256"/>
                  <a:gd name="connsiteX15" fmla="*/ 174625 w 247650"/>
                  <a:gd name="connsiteY15" fmla="*/ 250371 h 456256"/>
                  <a:gd name="connsiteX16" fmla="*/ 185738 w 247650"/>
                  <a:gd name="connsiteY16" fmla="*/ 275253 h 456256"/>
                  <a:gd name="connsiteX17" fmla="*/ 214313 w 247650"/>
                  <a:gd name="connsiteY17" fmla="*/ 307910 h 456256"/>
                  <a:gd name="connsiteX18" fmla="*/ 223838 w 247650"/>
                  <a:gd name="connsiteY18" fmla="*/ 335902 h 456256"/>
                  <a:gd name="connsiteX19" fmla="*/ 247650 w 247650"/>
                  <a:gd name="connsiteY19" fmla="*/ 381000 h 456256"/>
                  <a:gd name="connsiteX20" fmla="*/ 219075 w 247650"/>
                  <a:gd name="connsiteY20" fmla="*/ 399661 h 456256"/>
                  <a:gd name="connsiteX21" fmla="*/ 236538 w 247650"/>
                  <a:gd name="connsiteY21" fmla="*/ 422988 h 456256"/>
                  <a:gd name="connsiteX22" fmla="*/ 204788 w 247650"/>
                  <a:gd name="connsiteY22" fmla="*/ 429208 h 456256"/>
                  <a:gd name="connsiteX23" fmla="*/ 150812 w 247650"/>
                  <a:gd name="connsiteY23" fmla="*/ 432318 h 456256"/>
                  <a:gd name="connsiteX24" fmla="*/ 127000 w 247650"/>
                  <a:gd name="connsiteY24" fmla="*/ 443204 h 456256"/>
                  <a:gd name="connsiteX25" fmla="*/ 98425 w 247650"/>
                  <a:gd name="connsiteY25" fmla="*/ 450979 h 456256"/>
                  <a:gd name="connsiteX26" fmla="*/ 76200 w 247650"/>
                  <a:gd name="connsiteY26" fmla="*/ 452535 h 456256"/>
                  <a:gd name="connsiteX27" fmla="*/ 61912 w 247650"/>
                  <a:gd name="connsiteY27" fmla="*/ 450979 h 456256"/>
                  <a:gd name="connsiteX28" fmla="*/ 69850 w 247650"/>
                  <a:gd name="connsiteY28" fmla="*/ 447869 h 456256"/>
                  <a:gd name="connsiteX29" fmla="*/ 98425 w 247650"/>
                  <a:gd name="connsiteY29" fmla="*/ 424543 h 456256"/>
                  <a:gd name="connsiteX30" fmla="*/ 112712 w 247650"/>
                  <a:gd name="connsiteY30" fmla="*/ 396551 h 456256"/>
                  <a:gd name="connsiteX31" fmla="*/ 93662 w 247650"/>
                  <a:gd name="connsiteY31" fmla="*/ 376334 h 456256"/>
                  <a:gd name="connsiteX32" fmla="*/ 107950 w 247650"/>
                  <a:gd name="connsiteY32" fmla="*/ 343677 h 456256"/>
                  <a:gd name="connsiteX33" fmla="*/ 104824 w 247650"/>
                  <a:gd name="connsiteY33" fmla="*/ 335877 h 456256"/>
                  <a:gd name="connsiteX34" fmla="*/ 136525 w 247650"/>
                  <a:gd name="connsiteY34" fmla="*/ 334347 h 456256"/>
                  <a:gd name="connsiteX35" fmla="*/ 138112 w 247650"/>
                  <a:gd name="connsiteY35" fmla="*/ 301689 h 456256"/>
                  <a:gd name="connsiteX36" fmla="*/ 127000 w 247650"/>
                  <a:gd name="connsiteY36" fmla="*/ 278363 h 456256"/>
                  <a:gd name="connsiteX37" fmla="*/ 128587 w 247650"/>
                  <a:gd name="connsiteY37" fmla="*/ 265922 h 456256"/>
                  <a:gd name="connsiteX38" fmla="*/ 90487 w 247650"/>
                  <a:gd name="connsiteY38" fmla="*/ 259702 h 456256"/>
                  <a:gd name="connsiteX39" fmla="*/ 60325 w 247650"/>
                  <a:gd name="connsiteY39" fmla="*/ 214604 h 456256"/>
                  <a:gd name="connsiteX40" fmla="*/ 61912 w 247650"/>
                  <a:gd name="connsiteY40" fmla="*/ 189722 h 456256"/>
                  <a:gd name="connsiteX41" fmla="*/ 36512 w 247650"/>
                  <a:gd name="connsiteY41" fmla="*/ 171061 h 456256"/>
                  <a:gd name="connsiteX42" fmla="*/ 38100 w 247650"/>
                  <a:gd name="connsiteY42" fmla="*/ 130628 h 456256"/>
                  <a:gd name="connsiteX43" fmla="*/ 61912 w 247650"/>
                  <a:gd name="connsiteY43" fmla="*/ 116632 h 456256"/>
                  <a:gd name="connsiteX44" fmla="*/ 74191 w 247650"/>
                  <a:gd name="connsiteY44" fmla="*/ 140250 h 456256"/>
                  <a:gd name="connsiteX45" fmla="*/ 76200 w 247650"/>
                  <a:gd name="connsiteY45" fmla="*/ 133738 h 456256"/>
                  <a:gd name="connsiteX46" fmla="*/ 104775 w 247650"/>
                  <a:gd name="connsiteY46" fmla="*/ 110412 h 456256"/>
                  <a:gd name="connsiteX47" fmla="*/ 128587 w 247650"/>
                  <a:gd name="connsiteY47" fmla="*/ 91750 h 456256"/>
                  <a:gd name="connsiteX48" fmla="*/ 147637 w 247650"/>
                  <a:gd name="connsiteY48" fmla="*/ 73089 h 456256"/>
                  <a:gd name="connsiteX49" fmla="*/ 195263 w 247650"/>
                  <a:gd name="connsiteY49" fmla="*/ 0 h 456256"/>
                  <a:gd name="connsiteX50" fmla="*/ 204788 w 247650"/>
                  <a:gd name="connsiteY50" fmla="*/ 18661 h 456256"/>
                  <a:gd name="connsiteX51" fmla="*/ 193676 w 247650"/>
                  <a:gd name="connsiteY51" fmla="*/ 49763 h 456256"/>
                  <a:gd name="connsiteX52" fmla="*/ 179388 w 247650"/>
                  <a:gd name="connsiteY52" fmla="*/ 69980 h 456256"/>
                  <a:gd name="connsiteX53" fmla="*/ 174625 w 247650"/>
                  <a:gd name="connsiteY53" fmla="*/ 77755 h 456256"/>
                  <a:gd name="connsiteX54" fmla="*/ 176213 w 247650"/>
                  <a:gd name="connsiteY54" fmla="*/ 68424 h 456256"/>
                  <a:gd name="connsiteX55" fmla="*/ 179388 w 247650"/>
                  <a:gd name="connsiteY55" fmla="*/ 41988 h 456256"/>
                  <a:gd name="connsiteX56" fmla="*/ 176213 w 247650"/>
                  <a:gd name="connsiteY56" fmla="*/ 13996 h 456256"/>
                  <a:gd name="connsiteX57" fmla="*/ 195263 w 247650"/>
                  <a:gd name="connsiteY57" fmla="*/ 0 h 45625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</a:cxnLst>
                <a:rect l="l" t="t" r="r" b="b"/>
                <a:pathLst>
                  <a:path w="247650" h="456256">
                    <a:moveTo>
                      <a:pt x="23812" y="247492"/>
                    </a:moveTo>
                    <a:cubicBezTo>
                      <a:pt x="33337" y="244378"/>
                      <a:pt x="53975" y="261505"/>
                      <a:pt x="60325" y="266176"/>
                    </a:cubicBezTo>
                    <a:cubicBezTo>
                      <a:pt x="66675" y="270847"/>
                      <a:pt x="61912" y="272404"/>
                      <a:pt x="66675" y="280189"/>
                    </a:cubicBezTo>
                    <a:cubicBezTo>
                      <a:pt x="69850" y="287974"/>
                      <a:pt x="79375" y="306657"/>
                      <a:pt x="77787" y="314442"/>
                    </a:cubicBezTo>
                    <a:lnTo>
                      <a:pt x="52387" y="325341"/>
                    </a:lnTo>
                    <a:lnTo>
                      <a:pt x="20637" y="319113"/>
                    </a:lnTo>
                    <a:lnTo>
                      <a:pt x="0" y="300429"/>
                    </a:lnTo>
                    <a:lnTo>
                      <a:pt x="4762" y="281746"/>
                    </a:lnTo>
                    <a:lnTo>
                      <a:pt x="23812" y="247492"/>
                    </a:lnTo>
                    <a:close/>
                    <a:moveTo>
                      <a:pt x="147637" y="73089"/>
                    </a:moveTo>
                    <a:cubicBezTo>
                      <a:pt x="161925" y="90195"/>
                      <a:pt x="155575" y="77754"/>
                      <a:pt x="150812" y="111967"/>
                    </a:cubicBezTo>
                    <a:cubicBezTo>
                      <a:pt x="133350" y="122852"/>
                      <a:pt x="133350" y="135293"/>
                      <a:pt x="122237" y="149289"/>
                    </a:cubicBezTo>
                    <a:cubicBezTo>
                      <a:pt x="139700" y="153955"/>
                      <a:pt x="158750" y="149289"/>
                      <a:pt x="174625" y="158620"/>
                    </a:cubicBezTo>
                    <a:cubicBezTo>
                      <a:pt x="169862" y="172616"/>
                      <a:pt x="160337" y="194387"/>
                      <a:pt x="152400" y="205273"/>
                    </a:cubicBezTo>
                    <a:cubicBezTo>
                      <a:pt x="157162" y="214604"/>
                      <a:pt x="160337" y="219269"/>
                      <a:pt x="161925" y="228600"/>
                    </a:cubicBezTo>
                    <a:cubicBezTo>
                      <a:pt x="165100" y="236375"/>
                      <a:pt x="169862" y="242595"/>
                      <a:pt x="174625" y="250371"/>
                    </a:cubicBezTo>
                    <a:cubicBezTo>
                      <a:pt x="187325" y="259702"/>
                      <a:pt x="177800" y="264367"/>
                      <a:pt x="185738" y="275253"/>
                    </a:cubicBezTo>
                    <a:cubicBezTo>
                      <a:pt x="203200" y="284583"/>
                      <a:pt x="211138" y="287693"/>
                      <a:pt x="214313" y="307910"/>
                    </a:cubicBezTo>
                    <a:cubicBezTo>
                      <a:pt x="219075" y="320351"/>
                      <a:pt x="222250" y="321906"/>
                      <a:pt x="223838" y="335902"/>
                    </a:cubicBezTo>
                    <a:cubicBezTo>
                      <a:pt x="228600" y="348343"/>
                      <a:pt x="247650" y="370114"/>
                      <a:pt x="247650" y="381000"/>
                    </a:cubicBezTo>
                    <a:cubicBezTo>
                      <a:pt x="247650" y="391885"/>
                      <a:pt x="219075" y="390330"/>
                      <a:pt x="219075" y="399661"/>
                    </a:cubicBezTo>
                    <a:cubicBezTo>
                      <a:pt x="207963" y="405881"/>
                      <a:pt x="242888" y="413657"/>
                      <a:pt x="236538" y="422988"/>
                    </a:cubicBezTo>
                    <a:cubicBezTo>
                      <a:pt x="222250" y="424543"/>
                      <a:pt x="217488" y="426098"/>
                      <a:pt x="204788" y="429208"/>
                    </a:cubicBezTo>
                    <a:cubicBezTo>
                      <a:pt x="187325" y="427653"/>
                      <a:pt x="168275" y="424543"/>
                      <a:pt x="150812" y="432318"/>
                    </a:cubicBezTo>
                    <a:cubicBezTo>
                      <a:pt x="138112" y="433873"/>
                      <a:pt x="134937" y="433873"/>
                      <a:pt x="127000" y="443204"/>
                    </a:cubicBezTo>
                    <a:cubicBezTo>
                      <a:pt x="117475" y="446314"/>
                      <a:pt x="107950" y="447869"/>
                      <a:pt x="98425" y="450979"/>
                    </a:cubicBezTo>
                    <a:cubicBezTo>
                      <a:pt x="90487" y="450979"/>
                      <a:pt x="84137" y="450979"/>
                      <a:pt x="76200" y="452535"/>
                    </a:cubicBezTo>
                    <a:cubicBezTo>
                      <a:pt x="74612" y="452535"/>
                      <a:pt x="61912" y="461865"/>
                      <a:pt x="61912" y="450979"/>
                    </a:cubicBezTo>
                    <a:cubicBezTo>
                      <a:pt x="61912" y="447869"/>
                      <a:pt x="66675" y="449424"/>
                      <a:pt x="69850" y="447869"/>
                    </a:cubicBezTo>
                    <a:cubicBezTo>
                      <a:pt x="90487" y="446314"/>
                      <a:pt x="93662" y="443204"/>
                      <a:pt x="98425" y="424543"/>
                    </a:cubicBezTo>
                    <a:cubicBezTo>
                      <a:pt x="107950" y="412102"/>
                      <a:pt x="109537" y="416767"/>
                      <a:pt x="112712" y="396551"/>
                    </a:cubicBezTo>
                    <a:cubicBezTo>
                      <a:pt x="96837" y="394996"/>
                      <a:pt x="84137" y="394996"/>
                      <a:pt x="93662" y="376334"/>
                    </a:cubicBezTo>
                    <a:cubicBezTo>
                      <a:pt x="115887" y="368559"/>
                      <a:pt x="111125" y="362338"/>
                      <a:pt x="107950" y="343677"/>
                    </a:cubicBezTo>
                    <a:lnTo>
                      <a:pt x="104824" y="335877"/>
                    </a:lnTo>
                    <a:cubicBezTo>
                      <a:pt x="105569" y="335804"/>
                      <a:pt x="117475" y="353008"/>
                      <a:pt x="136525" y="334347"/>
                    </a:cubicBezTo>
                    <a:cubicBezTo>
                      <a:pt x="144462" y="326571"/>
                      <a:pt x="138112" y="312575"/>
                      <a:pt x="138112" y="301689"/>
                    </a:cubicBezTo>
                    <a:cubicBezTo>
                      <a:pt x="136525" y="289249"/>
                      <a:pt x="128587" y="290804"/>
                      <a:pt x="127000" y="278363"/>
                    </a:cubicBezTo>
                    <a:cubicBezTo>
                      <a:pt x="125412" y="272142"/>
                      <a:pt x="134937" y="269032"/>
                      <a:pt x="128587" y="265922"/>
                    </a:cubicBezTo>
                    <a:cubicBezTo>
                      <a:pt x="122717" y="260789"/>
                      <a:pt x="81223" y="253219"/>
                      <a:pt x="90487" y="259702"/>
                    </a:cubicBezTo>
                    <a:cubicBezTo>
                      <a:pt x="109537" y="256591"/>
                      <a:pt x="58737" y="228600"/>
                      <a:pt x="60325" y="214604"/>
                    </a:cubicBezTo>
                    <a:cubicBezTo>
                      <a:pt x="46037" y="211493"/>
                      <a:pt x="57150" y="202163"/>
                      <a:pt x="61912" y="189722"/>
                    </a:cubicBezTo>
                    <a:cubicBezTo>
                      <a:pt x="53975" y="178836"/>
                      <a:pt x="38100" y="186612"/>
                      <a:pt x="36512" y="171061"/>
                    </a:cubicBezTo>
                    <a:cubicBezTo>
                      <a:pt x="38100" y="158620"/>
                      <a:pt x="34925" y="143069"/>
                      <a:pt x="38100" y="130628"/>
                    </a:cubicBezTo>
                    <a:cubicBezTo>
                      <a:pt x="49212" y="124408"/>
                      <a:pt x="49212" y="119742"/>
                      <a:pt x="61912" y="116632"/>
                    </a:cubicBezTo>
                    <a:cubicBezTo>
                      <a:pt x="70247" y="120131"/>
                      <a:pt x="72330" y="139376"/>
                      <a:pt x="74191" y="140250"/>
                    </a:cubicBezTo>
                    <a:lnTo>
                      <a:pt x="76200" y="133738"/>
                    </a:lnTo>
                    <a:cubicBezTo>
                      <a:pt x="90487" y="125963"/>
                      <a:pt x="84137" y="113522"/>
                      <a:pt x="104775" y="110412"/>
                    </a:cubicBezTo>
                    <a:cubicBezTo>
                      <a:pt x="125412" y="111967"/>
                      <a:pt x="127000" y="111967"/>
                      <a:pt x="128587" y="91750"/>
                    </a:cubicBezTo>
                    <a:cubicBezTo>
                      <a:pt x="133350" y="82420"/>
                      <a:pt x="139700" y="80865"/>
                      <a:pt x="147637" y="73089"/>
                    </a:cubicBezTo>
                    <a:close/>
                    <a:moveTo>
                      <a:pt x="195263" y="0"/>
                    </a:moveTo>
                    <a:cubicBezTo>
                      <a:pt x="195263" y="13996"/>
                      <a:pt x="201613" y="3110"/>
                      <a:pt x="204788" y="18661"/>
                    </a:cubicBezTo>
                    <a:cubicBezTo>
                      <a:pt x="201613" y="34212"/>
                      <a:pt x="195263" y="29547"/>
                      <a:pt x="193676" y="49763"/>
                    </a:cubicBezTo>
                    <a:cubicBezTo>
                      <a:pt x="182563" y="55984"/>
                      <a:pt x="180975" y="57539"/>
                      <a:pt x="179388" y="69980"/>
                    </a:cubicBezTo>
                    <a:cubicBezTo>
                      <a:pt x="177800" y="73090"/>
                      <a:pt x="177800" y="79310"/>
                      <a:pt x="174625" y="77755"/>
                    </a:cubicBezTo>
                    <a:cubicBezTo>
                      <a:pt x="171450" y="76200"/>
                      <a:pt x="176213" y="71535"/>
                      <a:pt x="176213" y="68424"/>
                    </a:cubicBezTo>
                    <a:cubicBezTo>
                      <a:pt x="177800" y="59094"/>
                      <a:pt x="177800" y="51318"/>
                      <a:pt x="179388" y="41988"/>
                    </a:cubicBezTo>
                    <a:cubicBezTo>
                      <a:pt x="174625" y="32657"/>
                      <a:pt x="174625" y="24882"/>
                      <a:pt x="176213" y="13996"/>
                    </a:cubicBezTo>
                    <a:cubicBezTo>
                      <a:pt x="188913" y="12441"/>
                      <a:pt x="185738" y="7776"/>
                      <a:pt x="195263" y="0"/>
                    </a:cubicBez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/>
              <a:lstStyle/>
              <a:p>
                <a:pPr defTabSz="913156">
                  <a:defRPr/>
                </a:pPr>
                <a:endParaRPr lang="en-CA" sz="1837">
                  <a:solidFill>
                    <a:prstClr val="black"/>
                  </a:solidFill>
                  <a:latin typeface="Calibri"/>
                </a:endParaRPr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3865DA92-2B28-4FDD-A436-C320E2392B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3793" y="888279"/>
            <a:ext cx="5486400" cy="762000"/>
          </a:xfrm>
        </p:spPr>
        <p:txBody>
          <a:bodyPr>
            <a:normAutofit fontScale="90000"/>
          </a:bodyPr>
          <a:lstStyle/>
          <a:p>
            <a:r>
              <a:rPr lang="en-US" sz="40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plement</a:t>
            </a:r>
            <a:br>
              <a:rPr lang="en-US" sz="40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31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E0E7809-BCF7-4756-B26D-5CB044F90FF9}"/>
              </a:ext>
            </a:extLst>
          </p:cNvPr>
          <p:cNvPicPr>
            <a:picLocks noChangeAspect="1"/>
          </p:cNvPicPr>
          <p:nvPr/>
        </p:nvPicPr>
        <p:blipFill>
          <a:blip r:embed="rId171"/>
          <a:stretch>
            <a:fillRect/>
          </a:stretch>
        </p:blipFill>
        <p:spPr>
          <a:xfrm>
            <a:off x="9417592" y="888280"/>
            <a:ext cx="2096086" cy="64155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68AAAF0-0DA4-4EB5-9F6D-111386137D4C}"/>
              </a:ext>
            </a:extLst>
          </p:cNvPr>
          <p:cNvSpPr txBox="1"/>
          <p:nvPr/>
        </p:nvSpPr>
        <p:spPr>
          <a:xfrm>
            <a:off x="2994025" y="2023190"/>
            <a:ext cx="9197975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09630"/>
            <a:endParaRPr lang="en-US" sz="2400" b="1" dirty="0">
              <a:solidFill>
                <a:prstClr val="black"/>
              </a:solidFill>
              <a:latin typeface="Calibri"/>
            </a:endParaRPr>
          </a:p>
          <a:p>
            <a:pPr marL="285764" indent="-285764" defTabSz="60963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prstClr val="black"/>
                </a:solidFill>
                <a:latin typeface="Calibri"/>
              </a:rPr>
              <a:t>Scale program in countries (Phase 1 to target 12-18 countries)</a:t>
            </a:r>
          </a:p>
          <a:p>
            <a:pPr marL="285764" indent="-285764" defTabSz="609630">
              <a:buFont typeface="Arial" panose="020B0604020202020204" pitchFamily="34" charset="0"/>
              <a:buChar char="•"/>
            </a:pPr>
            <a:endParaRPr lang="en-US" sz="2400" b="1" dirty="0">
              <a:solidFill>
                <a:prstClr val="black"/>
              </a:solidFill>
              <a:latin typeface="Calibri"/>
            </a:endParaRPr>
          </a:p>
          <a:p>
            <a:pPr marL="285764" indent="-285764" defTabSz="60963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prstClr val="black"/>
                </a:solidFill>
                <a:latin typeface="Calibri"/>
              </a:rPr>
              <a:t>Build capacity building for AI for health programs</a:t>
            </a:r>
          </a:p>
          <a:p>
            <a:pPr marL="285764" indent="-285764" defTabSz="609630">
              <a:buFont typeface="Arial" panose="020B0604020202020204" pitchFamily="34" charset="0"/>
              <a:buChar char="•"/>
            </a:pPr>
            <a:endParaRPr lang="en-US" sz="2400" b="1" dirty="0">
              <a:solidFill>
                <a:prstClr val="black"/>
              </a:solidFill>
              <a:latin typeface="Calibri"/>
            </a:endParaRPr>
          </a:p>
          <a:p>
            <a:pPr marL="285764" indent="-285764" defTabSz="609630">
              <a:buFont typeface="Arial" panose="020B0604020202020204" pitchFamily="34" charset="0"/>
              <a:buChar char="•"/>
            </a:pPr>
            <a:r>
              <a:rPr lang="en-US" sz="2400" b="1" dirty="0">
                <a:solidFill>
                  <a:prstClr val="black"/>
                </a:solidFill>
                <a:latin typeface="Calibri"/>
              </a:rPr>
              <a:t>Build sustainability models</a:t>
            </a:r>
          </a:p>
          <a:p>
            <a:pPr marL="285764" indent="-285764" defTabSz="609630">
              <a:buFont typeface="Arial" panose="020B0604020202020204" pitchFamily="34" charset="0"/>
              <a:buChar char="•"/>
            </a:pPr>
            <a:endParaRPr lang="en-US" sz="2400" b="1" dirty="0">
              <a:solidFill>
                <a:prstClr val="black"/>
              </a:solidFill>
              <a:latin typeface="Calibri"/>
            </a:endParaRPr>
          </a:p>
          <a:p>
            <a:pPr marL="285764" indent="-285764" defTabSz="609630">
              <a:buFont typeface="Arial" panose="020B0604020202020204" pitchFamily="34" charset="0"/>
              <a:buChar char="•"/>
            </a:pPr>
            <a:endParaRPr lang="en-US" sz="2400" b="1" dirty="0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7" name="Picture 12" descr="Chart, graph, increasing icon">
            <a:extLst>
              <a:ext uri="{FF2B5EF4-FFF2-40B4-BE49-F238E27FC236}">
                <a16:creationId xmlns:a16="http://schemas.microsoft.com/office/drawing/2014/main" id="{A26785DD-5735-409E-AF30-B3A5AF99845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7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96001" y="653872"/>
            <a:ext cx="541087" cy="5551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716650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65DA92-2B28-4FDD-A436-C320E2392B6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93793" y="888279"/>
            <a:ext cx="5486400" cy="762000"/>
          </a:xfrm>
        </p:spPr>
        <p:txBody>
          <a:bodyPr>
            <a:normAutofit fontScale="90000"/>
          </a:bodyPr>
          <a:lstStyle/>
          <a:p>
            <a:r>
              <a:rPr lang="en-US" sz="4000" b="1" dirty="0">
                <a:solidFill>
                  <a:srgbClr val="0070C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vernance structure</a:t>
            </a:r>
            <a:br>
              <a:rPr lang="en-US" sz="40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3100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E0E7809-BCF7-4756-B26D-5CB044F90F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17592" y="888280"/>
            <a:ext cx="2096086" cy="641554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F68AAAF0-0DA4-4EB5-9F6D-111386137D4C}"/>
              </a:ext>
            </a:extLst>
          </p:cNvPr>
          <p:cNvSpPr txBox="1"/>
          <p:nvPr/>
        </p:nvSpPr>
        <p:spPr>
          <a:xfrm>
            <a:off x="2035011" y="1633420"/>
            <a:ext cx="9197975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64" indent="-285764" defTabSz="609630">
              <a:buFont typeface="Arial" panose="020B0604020202020204" pitchFamily="34" charset="0"/>
              <a:buChar char="•"/>
              <a:defRPr/>
            </a:pPr>
            <a:endParaRPr lang="en-US" sz="2400" b="1" dirty="0">
              <a:solidFill>
                <a:prstClr val="black"/>
              </a:solidFill>
              <a:latin typeface="Calibri"/>
            </a:endParaRPr>
          </a:p>
          <a:p>
            <a:pPr marL="285764" indent="-285764" defTabSz="609630"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prstClr val="black"/>
                </a:solidFill>
                <a:latin typeface="Calibri"/>
              </a:rPr>
              <a:t>Steering committee : WHO(3) + ITU (3) Senior members</a:t>
            </a:r>
          </a:p>
          <a:p>
            <a:pPr marL="285764" indent="-285764" defTabSz="609630">
              <a:buFont typeface="Arial" panose="020B0604020202020204" pitchFamily="34" charset="0"/>
              <a:buChar char="•"/>
              <a:defRPr/>
            </a:pPr>
            <a:endParaRPr lang="en-US" sz="2400" b="1" dirty="0">
              <a:solidFill>
                <a:prstClr val="black"/>
              </a:solidFill>
              <a:latin typeface="Calibri"/>
            </a:endParaRPr>
          </a:p>
          <a:p>
            <a:pPr marL="285764" indent="-285764" defTabSz="609630"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prstClr val="black"/>
                </a:solidFill>
                <a:latin typeface="Calibri"/>
              </a:rPr>
              <a:t>Associate committee (Associate members)</a:t>
            </a:r>
          </a:p>
          <a:p>
            <a:pPr marL="285764" indent="-285764" defTabSz="609630">
              <a:buFont typeface="Arial" panose="020B0604020202020204" pitchFamily="34" charset="0"/>
              <a:buChar char="•"/>
              <a:defRPr/>
            </a:pPr>
            <a:endParaRPr lang="en-US" sz="2400" b="1" dirty="0">
              <a:solidFill>
                <a:prstClr val="black"/>
              </a:solidFill>
              <a:latin typeface="Calibri"/>
            </a:endParaRPr>
          </a:p>
          <a:p>
            <a:pPr marL="285764" indent="-285764" defTabSz="609630"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prstClr val="black"/>
                </a:solidFill>
                <a:latin typeface="Calibri"/>
              </a:rPr>
              <a:t>Informal expert groups : Topic and area experts</a:t>
            </a:r>
          </a:p>
          <a:p>
            <a:pPr marL="285764" indent="-285764" defTabSz="609630">
              <a:buFont typeface="Arial" panose="020B0604020202020204" pitchFamily="34" charset="0"/>
              <a:buChar char="•"/>
              <a:defRPr/>
            </a:pPr>
            <a:endParaRPr lang="en-US" sz="2400" b="1" dirty="0">
              <a:solidFill>
                <a:prstClr val="black"/>
              </a:solidFill>
              <a:latin typeface="Calibri"/>
            </a:endParaRPr>
          </a:p>
          <a:p>
            <a:pPr marL="285764" indent="-285764" defTabSz="609630">
              <a:buFont typeface="Arial" panose="020B0604020202020204" pitchFamily="34" charset="0"/>
              <a:buChar char="•"/>
              <a:defRPr/>
            </a:pPr>
            <a:r>
              <a:rPr lang="en-US" sz="2400" b="1" dirty="0">
                <a:solidFill>
                  <a:prstClr val="black"/>
                </a:solidFill>
                <a:latin typeface="Calibri"/>
              </a:rPr>
              <a:t>Partners : Donors, developers, other stakeholders</a:t>
            </a:r>
          </a:p>
          <a:p>
            <a:pPr marL="285764" indent="-285764" defTabSz="609630">
              <a:buFont typeface="Arial" panose="020B0604020202020204" pitchFamily="34" charset="0"/>
              <a:buChar char="•"/>
              <a:defRPr/>
            </a:pPr>
            <a:endParaRPr lang="en-US" sz="2400" b="1" dirty="0">
              <a:solidFill>
                <a:prstClr val="black"/>
              </a:solidFill>
              <a:latin typeface="Calibri"/>
            </a:endParaRPr>
          </a:p>
          <a:p>
            <a:pPr marL="285764" indent="-285764" defTabSz="609630">
              <a:buFont typeface="Arial" panose="020B0604020202020204" pitchFamily="34" charset="0"/>
              <a:buChar char="•"/>
              <a:defRPr/>
            </a:pPr>
            <a:endParaRPr lang="en-US" sz="2400" b="1" dirty="0">
              <a:solidFill>
                <a:prstClr val="black"/>
              </a:solidFill>
              <a:latin typeface="Calibri"/>
            </a:endParaRPr>
          </a:p>
          <a:p>
            <a:pPr defTabSz="609630"/>
            <a:r>
              <a:rPr lang="en-US" sz="2400" b="1" dirty="0">
                <a:solidFill>
                  <a:prstClr val="black"/>
                </a:solidFill>
                <a:latin typeface="Calibri"/>
              </a:rPr>
              <a:t>Managed by joint secretariat between WHO, ITU, Associate members</a:t>
            </a:r>
          </a:p>
          <a:p>
            <a:pPr marL="285764" indent="-285764" defTabSz="609630">
              <a:buFont typeface="Arial" panose="020B0604020202020204" pitchFamily="34" charset="0"/>
              <a:buChar char="•"/>
              <a:defRPr/>
            </a:pPr>
            <a:endParaRPr lang="en-US" sz="2400" b="1" dirty="0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21269254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42" name="Picture 18" descr="https://cdn-images-1.medium.com/max/1600/1*CNfkeCbvvYnDPKUqvImrow.jpeg">
            <a:extLst>
              <a:ext uri="{FF2B5EF4-FFF2-40B4-BE49-F238E27FC236}">
                <a16:creationId xmlns:a16="http://schemas.microsoft.com/office/drawing/2014/main" id="{6F8CB01E-8FFB-4565-BE95-C3BBB153509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524001" y="1"/>
            <a:ext cx="5076056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1524000" y="5507935"/>
            <a:ext cx="9144000" cy="276999"/>
          </a:xfrm>
          <a:prstGeom prst="rect">
            <a:avLst/>
          </a:prstGeom>
          <a:noFill/>
          <a:ln>
            <a:noFill/>
          </a:ln>
          <a:effectLst/>
        </p:spPr>
        <p:txBody>
          <a:bodyPr lIns="0" tIns="0" rIns="0" bIns="0" anchor="ctr">
            <a:spAutoFit/>
          </a:bodyPr>
          <a:lstStyle/>
          <a:p>
            <a:pPr defTabSz="914446">
              <a:defRPr/>
            </a:pPr>
            <a:endParaRPr lang="en-US">
              <a:solidFill>
                <a:srgbClr val="000000"/>
              </a:solidFill>
              <a:latin typeface="Calibri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16B4690-46F0-4882-A841-629D2B8B41F2}"/>
              </a:ext>
            </a:extLst>
          </p:cNvPr>
          <p:cNvSpPr txBox="1"/>
          <p:nvPr/>
        </p:nvSpPr>
        <p:spPr>
          <a:xfrm>
            <a:off x="7104113" y="1797786"/>
            <a:ext cx="4920873" cy="184665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174409" lvl="0" indent="-174409" defTabSz="456108">
              <a:spcBef>
                <a:spcPct val="20000"/>
              </a:spcBef>
              <a:buFont typeface="Arial"/>
              <a:buChar char="•"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741168" lvl="1" indent="-285067" defTabSz="456108">
              <a:spcBef>
                <a:spcPct val="20000"/>
              </a:spcBef>
              <a:buFont typeface="Arial"/>
              <a:buChar char="–"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2pPr>
            <a:lvl3pPr marL="1140259" lvl="2" indent="-228050" defTabSz="456108">
              <a:spcBef>
                <a:spcPct val="20000"/>
              </a:spcBef>
              <a:buFont typeface="Arial"/>
              <a:buChar char="•"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3pPr>
            <a:lvl4pPr marL="1596362" lvl="3" indent="-228050" defTabSz="456108">
              <a:spcBef>
                <a:spcPct val="20000"/>
              </a:spcBef>
              <a:buFont typeface="Arial"/>
              <a:buChar char="–"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4pPr>
            <a:lvl5pPr marL="2052468" lvl="4" indent="-228050" defTabSz="456108">
              <a:spcBef>
                <a:spcPct val="20000"/>
              </a:spcBef>
              <a:buFont typeface="Arial"/>
              <a:buChar char="»"/>
              <a:defRPr sz="1400">
                <a:solidFill>
                  <a:schemeClr val="tx1">
                    <a:lumMod val="50000"/>
                    <a:lumOff val="50000"/>
                  </a:schemeClr>
                </a:solidFill>
              </a:defRPr>
            </a:lvl5pPr>
            <a:lvl6pPr marL="2508568" indent="-228050" defTabSz="456108">
              <a:spcBef>
                <a:spcPct val="20000"/>
              </a:spcBef>
              <a:buFont typeface="Arial"/>
              <a:buChar char="•"/>
              <a:defRPr sz="2000"/>
            </a:lvl6pPr>
            <a:lvl7pPr marL="2964673" indent="-228050" defTabSz="456108">
              <a:spcBef>
                <a:spcPct val="20000"/>
              </a:spcBef>
              <a:buFont typeface="Arial"/>
              <a:buChar char="•"/>
              <a:defRPr sz="2000"/>
            </a:lvl7pPr>
            <a:lvl8pPr marL="3420776" indent="-228050" defTabSz="456108">
              <a:spcBef>
                <a:spcPct val="20000"/>
              </a:spcBef>
              <a:buFont typeface="Arial"/>
              <a:buChar char="•"/>
              <a:defRPr sz="2000"/>
            </a:lvl8pPr>
            <a:lvl9pPr marL="3876878" indent="-228050" defTabSz="456108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marL="0" indent="0" algn="ctr" defTabSz="456131">
              <a:buNone/>
              <a:defRPr/>
            </a:pPr>
            <a:r>
              <a:rPr lang="en-US" sz="2400" dirty="0">
                <a:solidFill>
                  <a:prstClr val="white">
                    <a:lumMod val="50000"/>
                    <a:lumOff val="50000"/>
                  </a:prstClr>
                </a:solidFill>
                <a:latin typeface="Calibri"/>
              </a:rPr>
              <a:t>“I firmly believe that technology has a pivotal role to play in helping the world achieve Universal Health Coverage”</a:t>
            </a:r>
          </a:p>
          <a:p>
            <a:pPr marL="0" indent="0" algn="ctr" defTabSz="456131">
              <a:buNone/>
              <a:defRPr/>
            </a:pPr>
            <a:endParaRPr lang="en-US" dirty="0">
              <a:solidFill>
                <a:prstClr val="white">
                  <a:lumMod val="50000"/>
                  <a:lumOff val="50000"/>
                </a:prstClr>
              </a:solidFill>
              <a:latin typeface="Calibri"/>
            </a:endParaRPr>
          </a:p>
          <a:p>
            <a:pPr marL="0" indent="0" algn="ctr" defTabSz="456131">
              <a:buNone/>
              <a:defRPr/>
            </a:pPr>
            <a:r>
              <a:rPr lang="en-US" dirty="0">
                <a:solidFill>
                  <a:prstClr val="white">
                    <a:lumMod val="50000"/>
                    <a:lumOff val="50000"/>
                  </a:prstClr>
                </a:solidFill>
                <a:latin typeface="Calibri"/>
              </a:rPr>
              <a:t>@</a:t>
            </a:r>
            <a:r>
              <a:rPr lang="en-US" dirty="0" err="1">
                <a:solidFill>
                  <a:prstClr val="white">
                    <a:lumMod val="50000"/>
                    <a:lumOff val="50000"/>
                  </a:prstClr>
                </a:solidFill>
                <a:latin typeface="Calibri"/>
              </a:rPr>
              <a:t>DrTedros</a:t>
            </a:r>
            <a:r>
              <a:rPr lang="en-US" dirty="0">
                <a:solidFill>
                  <a:prstClr val="white">
                    <a:lumMod val="50000"/>
                    <a:lumOff val="50000"/>
                  </a:prstClr>
                </a:solidFill>
                <a:latin typeface="Calibri"/>
              </a:rPr>
              <a:t> to #ITUWTDC, 2018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5791C24-2013-4DA8-A1AE-3AE807210DCE}"/>
              </a:ext>
            </a:extLst>
          </p:cNvPr>
          <p:cNvSpPr txBox="1"/>
          <p:nvPr/>
        </p:nvSpPr>
        <p:spPr>
          <a:xfrm>
            <a:off x="7298499" y="5437160"/>
            <a:ext cx="4818345" cy="1198832"/>
          </a:xfrm>
          <a:prstGeom prst="rect">
            <a:avLst/>
          </a:prstGeom>
          <a:noFill/>
        </p:spPr>
        <p:txBody>
          <a:bodyPr wrap="square" lIns="89957" tIns="44979" rIns="89957" bIns="44979" rtlCol="0">
            <a:spAutoFit/>
          </a:bodyPr>
          <a:lstStyle/>
          <a:p>
            <a:pPr algn="ctr" defTabSz="898642"/>
            <a:r>
              <a:rPr lang="en-US" sz="3600" b="1" dirty="0">
                <a:solidFill>
                  <a:srgbClr val="B2DFF4"/>
                </a:solidFill>
                <a:latin typeface="Arial Black" panose="020B0A04020102020204" pitchFamily="34" charset="0"/>
                <a:cs typeface="Arial" pitchFamily="34" charset="0"/>
                <a:sym typeface="Avenir Next Medium"/>
              </a:rPr>
              <a:t>Lets work together…</a:t>
            </a:r>
          </a:p>
        </p:txBody>
      </p:sp>
    </p:spTree>
    <p:extLst>
      <p:ext uri="{BB962C8B-B14F-4D97-AF65-F5344CB8AC3E}">
        <p14:creationId xmlns:p14="http://schemas.microsoft.com/office/powerpoint/2010/main" val="431799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no10EhakaVhcboSgtuS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1dWNwiZkiCyKDYKm9ZF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fxIboXLEmNM_qQRpW1x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07Hpj4I0y19YsdO.jfA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skzH3KYEOG6GeEenzY_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lLP_Kw10EiAwW.i2q1lI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Je2_KID8EK7pRf1V_X8J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Scw5y9U0qkDD5P70UCG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YHU.Oo9k2Hm.5PseFsI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ApASNuQE2vq63eQVkkc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p8ouQXO.02fUXE.BulVk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XNYGdI70SiqiCU.3rsf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pys9L6hUiWkl1NM6WtN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pcw6fX4_U6jrLzFy5kho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OD_dgDrEyDB1MyJ0MeR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54pnsDESUqvvr.JkBu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Mh.s12uEuAhzXjxUQPA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EfnkVIb0q_2d9_ygO6J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_6pfkv.E.jv9oVj7l9T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BhIXHYiEWKxeAPzzxAm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3FTgv6weU2gXcqslcq0Z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XwBi98pEKMlxGnoMFx6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9KICvMv0eX7Lai35joG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ynsKaT10W3cef.hdd4J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mEYp9o10yLpZfsRHIB3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PF2FqMKUy3PhAPuWk0x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b7I5G5WEUiz3HkyEjumf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let2lowxkyfGX_lF3iCM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h5d.xMLESEW140OyfHK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MCW.6VKUC4uUDJ5dSo9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Eeu1t.ikygWBC75BSHG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io54H_tXEacP.lGpSlAH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bhtNJ60SixxnASG4t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c_u6NRWq0CCz3nlEk0XL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qCacPIHkODWpUgUB7vg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3KQm_D1.0G4C78Q8Gqn8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xMeFfF5YEqohmdJDtixs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zTAwCcPoUi03MUO8KXWt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DLRL17jUqjcyWmCXTAS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9Eck4YSukq1tImpuIYpM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W_Qixhe0Kv1fvX_eWGU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v6pjJrOUOBHL1Bj3XIF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3CBAz2Jkubfj6VEhvAm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okrsNv0WHcDbsn0tj3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juhxu4L2ESXoHARSb_5s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w8P_rN50OK8PAEoZqiZ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fQGyaG5EW9FlbP4a.s5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PsEGkc4EGMpwnK0Sxc5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i3WZEUqE6aSuodHNH_B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AOqpzzI0OirYZQwU1Qq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OtxcveqEm1OI711P89y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C1q7ZtfqUKkI3p1MmyXH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4hqMkfaUOmpNAfVdCX0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bFU91eas0WZGndblp3Wh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1TtT2nM0UClZ4bP64ucE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p1lz.FqNkqk2GuejqurZ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Z5F3Xk.1kS8_vZ5h8PPd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pS.lKYRNUyXKFPGFaP5F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XLqWYDekWWw1MkBZHr9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3jZcGSIeEeH2l6hJgG2d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wBTkg_DUup8HrDyYrkt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jsFhM3LEKf9xvrhD_W8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9MObm5i5kWfUiRRanXAh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7SP.xSBkOoiejxgaAm0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boZ5KJ04EyGKOE8HhiXI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Zm9Ekr0k6jhdSNEktFH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hr34W1UGyV9.9kTS0U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orOsEfNE6t29auzgcCs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0mEsBsiUyqbn8Cxo8Za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yD_qzvpk6SRMTFs6UrWA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HRAErd0EmHp8gvIcKA8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S_4hWU0X0SF7vriqR8MH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cP496rzEmONj6aqek9t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_ueGP2ZkObX80AYfaX7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Gvm0_05L0q4tf0qWxnLF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Al6hG.U9E2ItGTbVJuII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vK5.9R.ESyYJ5ponpb8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7Qq3b69ekynddmqKa69_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w4AQgzQOUOrpfB4P5WZuw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TPNUn.cUOLAm5x.St.k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acovmYakudFpprGIeHe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n9MFREROkKQoU1kjhCMI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bEUIz6IZEC_ldfvrGDd4g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HlEVHaGDkeRuu64YBKDm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bSwE1zj0CP_fgf9B5nt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6PyeI3IE6S0M2eReOO_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J6Pp6f1E6H403_CbR.q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9Mg4riyEkS_QMCEOF3FJ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UXDaGSpU.6AqdaBLD5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.2uFxfrM06cZHM9bQnVd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vp9t5o2kWcLX8smRvuT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Kf2.dlfk21bwSmJIuHe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5RI2YytW0GUvvslVy0_p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QhFv8yTkKII7SrkGJ_I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pxJ1O800KEDslRldcv4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CTs_yxUyDfc04Nxhht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HrL_pCfkWs14l_1Fnnt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9MDRiumBkKdJZzLadZLS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Unrl3PRkW_Y6PBvSyHM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Pnl6cpWEuJokcgkOW73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ptIGWLjk2vf3ZSZ2lP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YjZ0sa.ES0qBNGqdq_J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3Oc4kXHdUOw2bzbmhQ9h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rLbh5Zr0OS2BXqccSJR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.tm3D2WUmY9U2blibVv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OLWlmKee0aGrxsgVV_U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5M.UvczEUSInlNmq2XYd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LW4.5.N0.UK6WQkNGWg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f_0xYKakevL_XlPU.mu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3Yl2lIYkeh4eNXUyld0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guLmm73k2TJzgWO8t3t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YnUS7KEy0Wy4LvVjnZZI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6xYyJjmkmBS4TRXyVj6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MJ_Qyos1UWL6Hs_Le9CI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o1AYvbXwk.ljBLwUvqv1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roabJ860W_763Br5gAR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HsEOp0Y0WvGfuFPq8up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kqKTRzz0SRX8e7THNHb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bexrnnrEqLnspXI5q37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9VxcrmHUaHNzE9ty2.T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HdtZZoIUSQO2_49fWgH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oG5E1Wy0y8qORDIKKTW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dorHcTOEO1TAFKbcGTQ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jZfTsGDUCAbgU1Gsmh3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gN2AFTgUuwOEdDvFnFc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lPuxGS7FUOHHRW1ABbM_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qDM.bQHw0yw4ecjd34vz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TYOQm51OEit0Nq.l7CKQ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Vl63LZJUiMy0GUjoqq9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z.mfczH2EOPdHbYoxaCI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yY.1whLs0mqh6FAekjPn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7uATfKjrkyBwFNENJb5.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fECq5ZmUe3NUi7HtBU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2C5My91D0C6qG8zKmDBA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wjFqF1dTk6VgUOWfkR4u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FBRi02s0y2x_tigc7TC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WhivrtYUS2AzlvPFh0u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V8Xam7RkEe2ukDc50nXU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7QeAIQruEKAvri4Gaw38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M4lqxHNScClQHBBt.RzJ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Z8ibBfIEm6DibkEtFTH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hO.vKPESkGqXLJR8Ol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hbnsF9j4k6gTg1oXmMwy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HIOz2hukeezzokvQo2.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DageqekY0yE2foY3LduQ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wKke0zEKzJzUtg8o9d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tsVrsYN0qKAUM7ctbEO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7NPSuFFl0CruMzI2rslK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nGL4T8bUe68Q24MPf3_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AQz.QZIk.eNw_iFJ81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vpjd4l4kaOC2g3B3xOV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nTn1K7C8UybPV5z_1fFy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STrMePsvU.R1gzB5iTQI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Gcww7k8X0.opKYof7lxu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qIL8yviUSaapgErZX6o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K8jScy4HkmxMcbk8ebhg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jQXrvHbk.2_AzHLJqHx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LCCd20UoUSO9pkiMbyOW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9q3p6i3UKqxTL7JgOjt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iQ9RonEd0al7oo0HtExA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eNjOTWlRUe1iRG42Ppoe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Itr6WKJUq3KvPfHg8qb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hdn9sS9EGP7wQIzS.jA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4YcVjdnI0W5VlOnR3C7Y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0A4wv8a0adMpj5eUUe4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SDzXQg8b0KWfKrEOm8Mm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NuEM2k0.TTJNA0gxEM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Mdy1eR_0uVi6bMzdHJH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Z4pU9PkU6FhRjz81vdu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_jKQV21ESdZGRZQFIVPg"/>
</p:tagLst>
</file>

<file path=ppt/theme/theme1.xml><?xml version="1.0" encoding="utf-8"?>
<a:theme xmlns:a="http://schemas.openxmlformats.org/drawingml/2006/main" name="Office 主题​​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GAI4H-P-000_PPT-Template-16x9 (1).pptx" id="{72FCC53A-509C-4EB6-959A-663D50647B4C}" vid="{5B430A4E-06E2-42FE-86AD-20A99DDD16B3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Telenor">
  <a:themeElements>
    <a:clrScheme name="Custom 40">
      <a:dk1>
        <a:sysClr val="windowText" lastClr="000000"/>
      </a:dk1>
      <a:lt1>
        <a:sysClr val="window" lastClr="FFFFFF"/>
      </a:lt1>
      <a:dk2>
        <a:srgbClr val="15A8E0"/>
      </a:dk2>
      <a:lt2>
        <a:srgbClr val="E6F5FC"/>
      </a:lt2>
      <a:accent1>
        <a:srgbClr val="B2DFF4"/>
      </a:accent1>
      <a:accent2>
        <a:srgbClr val="1B5882"/>
      </a:accent2>
      <a:accent3>
        <a:srgbClr val="4AB7E6"/>
      </a:accent3>
      <a:accent4>
        <a:srgbClr val="1C89CF"/>
      </a:accent4>
      <a:accent5>
        <a:srgbClr val="BBF7FD"/>
      </a:accent5>
      <a:accent6>
        <a:srgbClr val="F47724"/>
      </a:accent6>
      <a:hlink>
        <a:srgbClr val="FFFFFF"/>
      </a:hlink>
      <a:folHlink>
        <a:srgbClr val="F7BA2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D863A2280E3F84C93CB7D95B3AE289B" ma:contentTypeVersion="2" ma:contentTypeDescription="Create a new document." ma:contentTypeScope="" ma:versionID="7e530ecd20c263b95f6042ee110165eb">
  <xsd:schema xmlns:xsd="http://www.w3.org/2001/XMLSchema" xmlns:xs="http://www.w3.org/2001/XMLSchema" xmlns:p="http://schemas.microsoft.com/office/2006/metadata/properties" xmlns:ns1="http://schemas.microsoft.com/sharepoint/v3" xmlns:ns2="1aaea1ea-72e4-4374-b05e-72e2f16fb7ae" targetNamespace="http://schemas.microsoft.com/office/2006/metadata/properties" ma:root="true" ma:fieldsID="55e75d33b50fbf3f19c1feb9a309975b" ns1:_="" ns2:_="">
    <xsd:import namespace="http://schemas.microsoft.com/sharepoint/v3"/>
    <xsd:import namespace="1aaea1ea-72e4-4374-b05e-72e2f16fb7ae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description="Scheduling Start Date is a site column created by the Publishing feature. It is used to specify the date and time on which this page will first appear to site visitors." ma:hidden="true" ma:internalName="PublishingStartDate">
      <xsd:simpleType>
        <xsd:restriction base="dms:Unknown"/>
      </xsd:simpleType>
    </xsd:element>
    <xsd:element name="PublishingExpirationDate" ma:index="9" nillable="true" ma:displayName="Scheduling End Date" ma:description="Scheduling End Date is a site column created by the Publishing feature. It is used to specify the date and time on which this page will no longer appear to site visitors.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aaea1ea-72e4-4374-b05e-72e2f16fb7a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D8290D50-0BBE-4D50-89CD-19A604F0377E}"/>
</file>

<file path=customXml/itemProps2.xml><?xml version="1.0" encoding="utf-8"?>
<ds:datastoreItem xmlns:ds="http://schemas.openxmlformats.org/officeDocument/2006/customXml" ds:itemID="{263EDF69-883F-4630-8D5D-47FF3AA110B2}"/>
</file>

<file path=customXml/itemProps3.xml><?xml version="1.0" encoding="utf-8"?>
<ds:datastoreItem xmlns:ds="http://schemas.openxmlformats.org/officeDocument/2006/customXml" ds:itemID="{8D757891-533E-4B08-9CC2-432445C0232A}"/>
</file>

<file path=docProps/app.xml><?xml version="1.0" encoding="utf-8"?>
<Properties xmlns="http://schemas.openxmlformats.org/officeDocument/2006/extended-properties" xmlns:vt="http://schemas.openxmlformats.org/officeDocument/2006/docPropsVTypes">
  <Template>FGAI4H-P-000_PPT-Template-16x9 (1)</Template>
  <TotalTime>2</TotalTime>
  <Words>487</Words>
  <Application>Microsoft Office PowerPoint</Application>
  <PresentationFormat>Widescreen</PresentationFormat>
  <Paragraphs>81</Paragraphs>
  <Slides>8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21" baseType="lpstr">
      <vt:lpstr>等线</vt:lpstr>
      <vt:lpstr>Arial</vt:lpstr>
      <vt:lpstr>Arial Black</vt:lpstr>
      <vt:lpstr>Arimo</vt:lpstr>
      <vt:lpstr>Calibri</vt:lpstr>
      <vt:lpstr>Calibri Light</vt:lpstr>
      <vt:lpstr>Cooper Hewitt</vt:lpstr>
      <vt:lpstr>Cooper Hewitt Bold</vt:lpstr>
      <vt:lpstr>Georgia</vt:lpstr>
      <vt:lpstr>Office 主题​​</vt:lpstr>
      <vt:lpstr>Office Theme</vt:lpstr>
      <vt:lpstr>4_Telenor</vt:lpstr>
      <vt:lpstr>think-cell Slide</vt:lpstr>
      <vt:lpstr>PowerPoint Presentation</vt:lpstr>
      <vt:lpstr>Global Initiative on AI for health WHO ITU +  Partners</vt:lpstr>
      <vt:lpstr>PowerPoint Presentation</vt:lpstr>
      <vt:lpstr>Enable </vt:lpstr>
      <vt:lpstr>Facilitate </vt:lpstr>
      <vt:lpstr>Implement </vt:lpstr>
      <vt:lpstr>Governance structure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itial considerations on a Global Initiative on AI for health (GI-AI4H)</dc:title>
  <dc:creator>TSB (HT)</dc:creator>
  <cp:lastModifiedBy>TSB (HT)</cp:lastModifiedBy>
  <cp:revision>1</cp:revision>
  <cp:lastPrinted>2019-04-04T08:49:31Z</cp:lastPrinted>
  <dcterms:created xsi:type="dcterms:W3CDTF">2022-09-22T08:28:00Z</dcterms:created>
  <dcterms:modified xsi:type="dcterms:W3CDTF">2022-09-22T08:30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D863A2280E3F84C93CB7D95B3AE289B</vt:lpwstr>
  </property>
</Properties>
</file>